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6.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7.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8.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omments/modernComment_15C_69F5D9EB.xml" ContentType="application/vnd.ms-powerpoint.comment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2.xml" ContentType="application/vnd.openxmlformats-officedocument.presentationml.notesSlide+xml"/>
  <Override PartName="/ppt/comments/modernComment_15E_2430067F.xml" ContentType="application/vnd.ms-powerpoint.comments+xml"/>
  <Override PartName="/ppt/comments/modernComment_7FFFCA37_23B74910.xml" ContentType="application/vnd.ms-powerpoint.comments+xml"/>
  <Override PartName="/ppt/notesSlides/notesSlide3.xml" ContentType="application/vnd.openxmlformats-officedocument.presentationml.notesSlide+xml"/>
  <Override PartName="/ppt/comments/modernComment_7FFFCAAF_995886DD.xml" ContentType="application/vnd.ms-powerpoint.comments+xml"/>
  <Override PartName="/ppt/notesSlides/notesSlide4.xml" ContentType="application/vnd.openxmlformats-officedocument.presentationml.notesSlide+xml"/>
  <Override PartName="/ppt/comments/modernComment_162_11C04FE2.xml" ContentType="application/vnd.ms-powerpoint.comments+xml"/>
  <Override PartName="/ppt/notesSlides/notesSlide5.xml" ContentType="application/vnd.openxmlformats-officedocument.presentationml.notesSlide+xml"/>
  <Override PartName="/ppt/comments/modernComment_160_EDAAB926.xml" ContentType="application/vnd.ms-powerpoint.comments+xml"/>
  <Override PartName="/ppt/comments/modernComment_163_E253D62F.xml" ContentType="application/vnd.ms-powerpoint.comments+xml"/>
  <Override PartName="/ppt/comments/modernComment_168_474D60D7.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8.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B6_BDAF78BA.xml" ContentType="application/vnd.ms-powerpoint.comments+xml"/>
  <Override PartName="/ppt/comments/modernComment_3A0_94AD22AF.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15.xml" ContentType="application/vnd.openxmlformats-officedocument.presentationml.notesSlide+xml"/>
  <Override PartName="/ppt/comments/modernComment_7FFFFEF9_AB43E293.xml" ContentType="application/vnd.ms-powerpoint.comments+xml"/>
  <Override PartName="/ppt/tags/tag252.xml" ContentType="application/vnd.openxmlformats-officedocument.presentationml.tags+xml"/>
  <Override PartName="/ppt/notesSlides/notesSlide16.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1AB_1BBF689C.xml" ContentType="application/vnd.ms-powerpoint.comments+xml"/>
  <Override PartName="/ppt/comments/modernComment_1AC_8F461FB6.xml" ContentType="application/vnd.ms-powerpoint.comments+xml"/>
  <Override PartName="/ppt/comments/modernComment_1AD_C0A163F8.xml" ContentType="application/vnd.ms-powerpoint.comments+xml"/>
  <Override PartName="/ppt/notesSlides/notesSlide21.xml" ContentType="application/vnd.openxmlformats-officedocument.presentationml.notesSlide+xml"/>
  <Override PartName="/ppt/tags/tag291.xml" ContentType="application/vnd.openxmlformats-officedocument.presentationml.tags+xml"/>
  <Override PartName="/ppt/comments/modernComment_7FFFFEF8_0.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25" r:id="rId6"/>
    <p:sldMasterId id="2147484057" r:id="rId7"/>
    <p:sldMasterId id="2147484090" r:id="rId8"/>
    <p:sldMasterId id="2147484188" r:id="rId9"/>
    <p:sldMasterId id="2147484305" r:id="rId10"/>
    <p:sldMasterId id="2147484527" r:id="rId11"/>
    <p:sldMasterId id="2147484623" r:id="rId12"/>
    <p:sldMasterId id="2147484720" r:id="rId13"/>
  </p:sldMasterIdLst>
  <p:notesMasterIdLst>
    <p:notesMasterId r:id="rId69"/>
  </p:notesMasterIdLst>
  <p:handoutMasterIdLst>
    <p:handoutMasterId r:id="rId70"/>
  </p:handoutMasterIdLst>
  <p:sldIdLst>
    <p:sldId id="783" r:id="rId14"/>
    <p:sldId id="348" r:id="rId15"/>
    <p:sldId id="2147479056" r:id="rId16"/>
    <p:sldId id="350" r:id="rId17"/>
    <p:sldId id="2147483605" r:id="rId18"/>
    <p:sldId id="2147469879" r:id="rId19"/>
    <p:sldId id="2147469999" r:id="rId20"/>
    <p:sldId id="354" r:id="rId21"/>
    <p:sldId id="352" r:id="rId22"/>
    <p:sldId id="355" r:id="rId23"/>
    <p:sldId id="2147483606" r:id="rId24"/>
    <p:sldId id="360" r:id="rId25"/>
    <p:sldId id="434" r:id="rId26"/>
    <p:sldId id="371" r:id="rId27"/>
    <p:sldId id="305" r:id="rId28"/>
    <p:sldId id="2147483607" r:id="rId29"/>
    <p:sldId id="388" r:id="rId30"/>
    <p:sldId id="279" r:id="rId31"/>
    <p:sldId id="435" r:id="rId32"/>
    <p:sldId id="358" r:id="rId33"/>
    <p:sldId id="359" r:id="rId34"/>
    <p:sldId id="418" r:id="rId35"/>
    <p:sldId id="419" r:id="rId36"/>
    <p:sldId id="420" r:id="rId37"/>
    <p:sldId id="423" r:id="rId38"/>
    <p:sldId id="424" r:id="rId39"/>
    <p:sldId id="425" r:id="rId40"/>
    <p:sldId id="2147483609" r:id="rId41"/>
    <p:sldId id="438" r:id="rId42"/>
    <p:sldId id="928" r:id="rId43"/>
    <p:sldId id="2147483513" r:id="rId44"/>
    <p:sldId id="4421" r:id="rId45"/>
    <p:sldId id="2147470344" r:id="rId46"/>
    <p:sldId id="625" r:id="rId47"/>
    <p:sldId id="2147483511" r:id="rId48"/>
    <p:sldId id="2147483385" r:id="rId49"/>
    <p:sldId id="1820" r:id="rId50"/>
    <p:sldId id="2147483388" r:id="rId51"/>
    <p:sldId id="275" r:id="rId52"/>
    <p:sldId id="2147483603" r:id="rId53"/>
    <p:sldId id="2147483561" r:id="rId54"/>
    <p:sldId id="290" r:id="rId55"/>
    <p:sldId id="261" r:id="rId56"/>
    <p:sldId id="2147483612" r:id="rId57"/>
    <p:sldId id="2147483386" r:id="rId58"/>
    <p:sldId id="2147483610" r:id="rId59"/>
    <p:sldId id="427" r:id="rId60"/>
    <p:sldId id="428" r:id="rId61"/>
    <p:sldId id="429" r:id="rId62"/>
    <p:sldId id="430" r:id="rId63"/>
    <p:sldId id="2147483608" r:id="rId64"/>
    <p:sldId id="283" r:id="rId65"/>
    <p:sldId id="2147483604" r:id="rId66"/>
    <p:sldId id="2147483384" r:id="rId67"/>
    <p:sldId id="257" r:id="rId68"/>
  </p:sldIdLst>
  <p:sldSz cx="12192000" cy="6858000"/>
  <p:notesSz cx="7315200" cy="9601200"/>
  <p:custDataLst>
    <p:tags r:id="rId71"/>
  </p:custDataLst>
  <p:defaultTextStyle>
    <a:defPPr>
      <a:defRPr lang="en-US"/>
    </a:defPPr>
    <a:lvl1pPr marL="0" algn="l" defTabSz="1088333" rtl="0" eaLnBrk="1" latinLnBrk="0" hangingPunct="1">
      <a:defRPr sz="2133" kern="1200">
        <a:solidFill>
          <a:schemeClr val="tx1"/>
        </a:solidFill>
        <a:latin typeface="+mn-lt"/>
        <a:ea typeface="+mn-ea"/>
        <a:cs typeface="+mn-cs"/>
      </a:defRPr>
    </a:lvl1pPr>
    <a:lvl2pPr marL="544166" algn="l" defTabSz="1088333" rtl="0" eaLnBrk="1" latinLnBrk="0" hangingPunct="1">
      <a:defRPr sz="2133" kern="1200">
        <a:solidFill>
          <a:schemeClr val="tx1"/>
        </a:solidFill>
        <a:latin typeface="+mn-lt"/>
        <a:ea typeface="+mn-ea"/>
        <a:cs typeface="+mn-cs"/>
      </a:defRPr>
    </a:lvl2pPr>
    <a:lvl3pPr marL="1088333" algn="l" defTabSz="1088333" rtl="0" eaLnBrk="1" latinLnBrk="0" hangingPunct="1">
      <a:defRPr sz="2133" kern="1200">
        <a:solidFill>
          <a:schemeClr val="tx1"/>
        </a:solidFill>
        <a:latin typeface="+mn-lt"/>
        <a:ea typeface="+mn-ea"/>
        <a:cs typeface="+mn-cs"/>
      </a:defRPr>
    </a:lvl3pPr>
    <a:lvl4pPr marL="1632498" algn="l" defTabSz="1088333" rtl="0" eaLnBrk="1" latinLnBrk="0" hangingPunct="1">
      <a:defRPr sz="2133" kern="1200">
        <a:solidFill>
          <a:schemeClr val="tx1"/>
        </a:solidFill>
        <a:latin typeface="+mn-lt"/>
        <a:ea typeface="+mn-ea"/>
        <a:cs typeface="+mn-cs"/>
      </a:defRPr>
    </a:lvl4pPr>
    <a:lvl5pPr marL="2176666" algn="l" defTabSz="1088333" rtl="0" eaLnBrk="1" latinLnBrk="0" hangingPunct="1">
      <a:defRPr sz="2133" kern="1200">
        <a:solidFill>
          <a:schemeClr val="tx1"/>
        </a:solidFill>
        <a:latin typeface="+mn-lt"/>
        <a:ea typeface="+mn-ea"/>
        <a:cs typeface="+mn-cs"/>
      </a:defRPr>
    </a:lvl5pPr>
    <a:lvl6pPr marL="2720832" algn="l" defTabSz="1088333" rtl="0" eaLnBrk="1" latinLnBrk="0" hangingPunct="1">
      <a:defRPr sz="2133" kern="1200">
        <a:solidFill>
          <a:schemeClr val="tx1"/>
        </a:solidFill>
        <a:latin typeface="+mn-lt"/>
        <a:ea typeface="+mn-ea"/>
        <a:cs typeface="+mn-cs"/>
      </a:defRPr>
    </a:lvl6pPr>
    <a:lvl7pPr marL="3264997" algn="l" defTabSz="1088333" rtl="0" eaLnBrk="1" latinLnBrk="0" hangingPunct="1">
      <a:defRPr sz="2133" kern="1200">
        <a:solidFill>
          <a:schemeClr val="tx1"/>
        </a:solidFill>
        <a:latin typeface="+mn-lt"/>
        <a:ea typeface="+mn-ea"/>
        <a:cs typeface="+mn-cs"/>
      </a:defRPr>
    </a:lvl7pPr>
    <a:lvl8pPr marL="3809163" algn="l" defTabSz="1088333" rtl="0" eaLnBrk="1" latinLnBrk="0" hangingPunct="1">
      <a:defRPr sz="2133" kern="1200">
        <a:solidFill>
          <a:schemeClr val="tx1"/>
        </a:solidFill>
        <a:latin typeface="+mn-lt"/>
        <a:ea typeface="+mn-ea"/>
        <a:cs typeface="+mn-cs"/>
      </a:defRPr>
    </a:lvl8pPr>
    <a:lvl9pPr marL="4353330" algn="l" defTabSz="1088333" rtl="0" eaLnBrk="1" latinLnBrk="0" hangingPunct="1">
      <a:defRPr sz="2133"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D9E486E-2F1A-41BB-B609-A4352821C7C9}">
          <p14:sldIdLst>
            <p14:sldId id="783"/>
            <p14:sldId id="348"/>
            <p14:sldId id="2147479056"/>
            <p14:sldId id="350"/>
            <p14:sldId id="2147483605"/>
            <p14:sldId id="2147469879"/>
            <p14:sldId id="2147469999"/>
            <p14:sldId id="354"/>
            <p14:sldId id="352"/>
            <p14:sldId id="355"/>
            <p14:sldId id="2147483606"/>
          </p14:sldIdLst>
        </p14:section>
        <p14:section name="Financial Systems Landsacpe" id="{1BD8F84B-62DB-4EA1-B11C-6CD6C22D8736}">
          <p14:sldIdLst>
            <p14:sldId id="360"/>
            <p14:sldId id="434"/>
            <p14:sldId id="371"/>
            <p14:sldId id="305"/>
            <p14:sldId id="2147483607"/>
            <p14:sldId id="388"/>
            <p14:sldId id="279"/>
            <p14:sldId id="435"/>
            <p14:sldId id="358"/>
            <p14:sldId id="359"/>
          </p14:sldIdLst>
        </p14:section>
        <p14:section name="Tool" id="{5DBE661E-680F-4728-A858-13DC6CC47208}">
          <p14:sldIdLst>
            <p14:sldId id="418"/>
            <p14:sldId id="419"/>
            <p14:sldId id="420"/>
            <p14:sldId id="423"/>
            <p14:sldId id="424"/>
            <p14:sldId id="425"/>
            <p14:sldId id="2147483609"/>
          </p14:sldIdLst>
        </p14:section>
        <p14:section name="OTHER TECHNOLOGY TOPICS" id="{168B4E46-D583-4BA6-98E3-672E9134166A}">
          <p14:sldIdLst>
            <p14:sldId id="438"/>
          </p14:sldIdLst>
        </p14:section>
        <p14:section name="Infrastructure" id="{07AA5189-D293-459C-B891-3AABE0362CC8}">
          <p14:sldIdLst>
            <p14:sldId id="928"/>
            <p14:sldId id="2147483513"/>
            <p14:sldId id="4421"/>
            <p14:sldId id="2147470344"/>
            <p14:sldId id="625"/>
            <p14:sldId id="2147483511"/>
            <p14:sldId id="2147483385"/>
            <p14:sldId id="1820"/>
          </p14:sldIdLst>
        </p14:section>
        <p14:section name="AI/CoPilot" id="{442E483B-E5B4-42A5-85C4-03A7213A7F64}">
          <p14:sldIdLst>
            <p14:sldId id="2147483388"/>
            <p14:sldId id="275"/>
            <p14:sldId id="2147483603"/>
            <p14:sldId id="2147483561"/>
            <p14:sldId id="290"/>
            <p14:sldId id="261"/>
          </p14:sldIdLst>
        </p14:section>
        <p14:section name="Tech Topics Breakout" id="{6AB779D6-6CA7-4583-9020-6683B5BC9970}">
          <p14:sldIdLst>
            <p14:sldId id="2147483612"/>
            <p14:sldId id="2147483386"/>
            <p14:sldId id="2147483610"/>
          </p14:sldIdLst>
        </p14:section>
        <p14:section name="Q&amp;A and Close" id="{52AE8387-2445-4547-93F6-0C94473042FF}">
          <p14:sldIdLst>
            <p14:sldId id="427"/>
            <p14:sldId id="428"/>
            <p14:sldId id="429"/>
            <p14:sldId id="430"/>
            <p14:sldId id="2147483608"/>
          </p14:sldIdLst>
        </p14:section>
        <p14:section name="Resources" id="{17EFC4DC-6934-446D-91F7-D132FC35661C}">
          <p14:sldIdLst>
            <p14:sldId id="283"/>
            <p14:sldId id="2147483604"/>
          </p14:sldIdLst>
        </p14:section>
        <p14:section name="GovCon" id="{1E1E6521-E90D-434B-9D81-FC7B43FC45E6}">
          <p14:sldIdLst>
            <p14:sldId id="2147483384"/>
            <p14:sldId id="257"/>
          </p14:sldIdLst>
        </p14:section>
      </p14:sectionLst>
    </p:ext>
    <p:ext uri="{EFAFB233-063F-42B5-8137-9DF3F51BA10A}">
      <p15:sldGuideLst xmlns:p15="http://schemas.microsoft.com/office/powerpoint/2012/main">
        <p15:guide id="1" orient="horz" pos="5169" userDrawn="1">
          <p15:clr>
            <a:srgbClr val="A4A3A4"/>
          </p15:clr>
        </p15:guide>
        <p15:guide id="13" pos="384" userDrawn="1">
          <p15:clr>
            <a:srgbClr val="A4A3A4"/>
          </p15:clr>
        </p15:guide>
        <p15:guide id="14" orient="horz" pos="528" userDrawn="1">
          <p15:clr>
            <a:srgbClr val="A4A3A4"/>
          </p15:clr>
        </p15:guide>
        <p15:guide id="15" pos="7152" userDrawn="1">
          <p15:clr>
            <a:srgbClr val="A4A3A4"/>
          </p15:clr>
        </p15:guide>
        <p15:guide id="16" orient="horz" pos="379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68E52C-8FFD-5CF6-DD1B-108D987E5F49}" name="Smith, Graydon" initials="SG" userId="S::E050384@mcgladrey.rsm.net::ff311a8f-c80c-4871-b000-ab1bce1b2f59" providerId="AD"/>
  <p188:author id="{F419E06D-BB14-6DE8-F1AC-1D7596BF4DBC}" name="Boroughf, Bryan" initials="BB" userId="S::E080413@mcgladrey.rsm.net::83e550ac-2227-416a-bdaa-7228974104b5" providerId="AD"/>
  <p188:author id="{B4861993-9BCB-444D-966B-320DC4CF360D}" name="Coker-Fergusson, Tanya" initials="CFT" userId="S::E057108@mcgladrey.rsm.net::1d560439-6222-4bb3-859d-99bcd5c57d4a" providerId="AD"/>
  <p188:author id="{310A0FF1-E770-FC1D-6C7A-2A04EDFB5784}" name="Broyles, Traci" initials="BT" userId="S::E069582@mcgladrey.rsm.net::b2698ddf-8c2c-40b3-bb05-465447aa1b1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1C22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829209-2C3F-4E72-ACD2-29EC4CB1F39A}" v="35" dt="2025-11-20T23:23:04.807"/>
    <p1510:client id="{A4EC20BB-7A2A-44D8-BCE0-B938248D25CE}" v="1434" dt="2025-11-21T15:06:23.946"/>
    <p1510:client id="{C2A87856-E7F8-4352-97F2-62DEFD6C4867}" v="181" dt="2025-11-20T23:20:21.6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BA24547-FF8A-488F-B7F6-04F02A133BBC}" styleName="dba24547-ff8a-488f-b7f6-04f02a133bbc">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insideH>
            <a:ln>
              <a:noFill/>
            </a:ln>
          </a:insideH>
        </a:tcBdr>
        <a:fill>
          <a:solidFill>
            <a:srgbClr val="009CDE"/>
          </a:solidFill>
        </a:fill>
      </a:tcStyle>
    </a:firstCol>
    <a:lastRow>
      <a:tcStyle>
        <a:tcBdr>
          <a:top>
            <a:ln w="6350" cmpd="sng">
              <a:solidFill>
                <a:srgbClr val="009CDE"/>
              </a:solidFill>
            </a:ln>
          </a:top>
          <a:bottom>
            <a:ln w="6350" cmpd="sng">
              <a:solidFill>
                <a:srgbClr val="009CDE"/>
              </a:solidFill>
            </a:ln>
          </a:bottom>
          <a:insideH>
            <a:ln>
              <a:noFill/>
            </a:ln>
          </a:insideH>
        </a:tcBdr>
      </a:tcStyle>
    </a:lastRow>
    <a:seCell>
      <a:tcStyle>
        <a:tcBdr/>
        <a:fill>
          <a:solidFill>
            <a:srgbClr val="FFFFFF"/>
          </a:solidFill>
        </a:fill>
      </a:tcStyle>
    </a:seCell>
    <a:swCell>
      <a:tcStyle>
        <a:tcBdr>
          <a:top>
            <a:ln>
              <a:noFill/>
            </a:ln>
          </a:top>
          <a:bottom>
            <a:ln>
              <a:noFill/>
            </a:ln>
          </a:bottom>
        </a:tcBdr>
        <a:fill>
          <a:solidFill>
            <a:srgbClr val="009CDE"/>
          </a:solidFill>
        </a:fill>
      </a:tcStyle>
    </a:swCell>
    <a:firstRow>
      <a:tcStyle>
        <a:tcBdr>
          <a:top>
            <a:ln w="6350" cmpd="sng">
              <a:solidFill>
                <a:srgbClr val="009CDE"/>
              </a:solidFill>
            </a:ln>
          </a:top>
          <a:bottom>
            <a:ln w="6350" cmpd="sng">
              <a:solidFill>
                <a:srgbClr val="009CDE"/>
              </a:solidFill>
            </a:ln>
          </a:bottom>
          <a:insideH>
            <a:ln>
              <a:noFill/>
            </a:ln>
          </a:insideH>
        </a:tcBdr>
      </a:tcStyle>
    </a:firstRow>
    <a:neCell>
      <a:tcStyle>
        <a:tcBdr/>
        <a:fill>
          <a:solidFill>
            <a:srgbClr val="FFFFFF"/>
          </a:solidFill>
        </a:fill>
      </a:tcStyle>
    </a:neCell>
    <a:nwCell>
      <a:tcStyle>
        <a:tcBdr>
          <a:top>
            <a:ln>
              <a:noFill/>
            </a:ln>
          </a:top>
          <a:bottom>
            <a:ln>
              <a:noFill/>
            </a:ln>
          </a:bottom>
        </a:tcBdr>
        <a:fill>
          <a:solidFill>
            <a:srgbClr val="009CDE"/>
          </a:solidFill>
        </a:fill>
      </a:tcStyle>
    </a:nwCell>
  </a:tblStyle>
  <a:tblStyle styleId="{DC6F096F-1466-486D-A04B-78242CF88781}" styleName="dc6f096f-1466-486d-a04b-78242cf8878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E911F8DE-09DE-4D3F-9B88-1F5D2C457508}" styleName="e911f8de-09de-4d3f-9b88-1f5d2c457508">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EDBEA93F-815C-4B1A-8C7C-F3831C9B07B9}" styleName="edbea93f-815c-4b1a-8c7c-f3831c9b07b9">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1D21CB69-994C-457E-B847-62692C085D8F}" styleName="1d21cb69-994c-457e-b847-62692c085d8f">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56CD20F1-27F4-4CD2-B873-D07F7C561F66}" styleName="56cd20f1-27f4-4cd2-b873-d07f7c561f66">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insideH>
            <a:ln w="6350" cmpd="sng">
              <a:solidFill>
                <a:srgbClr val="FFFFFF"/>
              </a:solidFill>
            </a:ln>
          </a:insideH>
        </a:tcBdr>
        <a:fill>
          <a:solidFill>
            <a:srgbClr val="009CDE"/>
          </a:solidFill>
        </a:fill>
      </a:tcStyle>
    </a:firstCol>
    <a:lastRow>
      <a:tcStyle>
        <a:tcBdr>
          <a:top>
            <a:ln w="6350" cmpd="sng">
              <a:solidFill>
                <a:srgbClr val="009CDE"/>
              </a:solidFill>
            </a:ln>
          </a:top>
          <a:bottom>
            <a:ln w="6350" cmpd="sng">
              <a:solidFill>
                <a:srgbClr val="009CDE"/>
              </a:solidFill>
            </a:ln>
          </a:bottom>
          <a:insideH>
            <a:ln>
              <a:noFill/>
            </a:ln>
          </a:insideH>
        </a:tcBdr>
      </a:tcStyle>
    </a:lastRow>
    <a:seCell>
      <a:tcStyle>
        <a:tcBdr/>
        <a:fill>
          <a:solidFill>
            <a:srgbClr val="FFFFFF"/>
          </a:solidFill>
        </a:fill>
      </a:tcStyle>
    </a:seCell>
    <a:swCell>
      <a:tcStyle>
        <a:tcBdr>
          <a:top>
            <a:ln w="6350" cmpd="sng">
              <a:solidFill>
                <a:srgbClr val="FFFFFF"/>
              </a:solidFill>
            </a:ln>
          </a:top>
        </a:tcBdr>
        <a:fill>
          <a:solidFill>
            <a:srgbClr val="009CDE"/>
          </a:solidFill>
        </a:fill>
      </a:tcStyle>
    </a:swCell>
    <a:firstRow>
      <a:tcStyle>
        <a:tcBdr>
          <a:top>
            <a:ln w="6350" cmpd="sng">
              <a:solidFill>
                <a:srgbClr val="009CDE"/>
              </a:solidFill>
            </a:ln>
          </a:top>
          <a:bottom>
            <a:ln w="6350" cmpd="sng">
              <a:solidFill>
                <a:srgbClr val="009CDE"/>
              </a:solidFill>
            </a:ln>
          </a:bottom>
          <a:insideH>
            <a:ln>
              <a:noFill/>
            </a:ln>
          </a:insideH>
        </a:tcBdr>
      </a:tcStyle>
    </a:firstRow>
    <a:neCell>
      <a:tcStyle>
        <a:tcBdr/>
        <a:fill>
          <a:solidFill>
            <a:srgbClr val="FFFFFF"/>
          </a:solidFill>
        </a:fill>
      </a:tcStyle>
    </a:neCell>
    <a:nwCell>
      <a:tcStyle>
        <a:tcBdr>
          <a:bottom>
            <a:ln w="6350" cmpd="sng">
              <a:solidFill>
                <a:srgbClr val="FFFFFF"/>
              </a:solidFill>
            </a:ln>
          </a:bottom>
        </a:tcBdr>
        <a:fill>
          <a:solidFill>
            <a:srgbClr val="009CDE"/>
          </a:solidFill>
        </a:fill>
      </a:tcStyle>
    </a:nwCell>
  </a:tblStyle>
  <a:tblStyle styleId="{142CFCE1-FEA8-4CD9-BF6C-D3B6875F0734}" styleName="142cfce1-fea8-4cd9-bf6c-d3b6875f0734">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FBE87947-1891-45DB-A00C-629A563F7E6B}" styleName="fbe87947-1891-45db-a00c-629a563f7e6b">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C29B217C-DAEC-411A-96B1-C6FC1FA338C0}" styleName="c29b217c-daec-411a-96b1-c6fc1fa338c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2F4CCBC7-F3DA-4C00-BD7B-ED428473148A}" styleName="2f4ccbc7-f3da-4c00-bd7b-ed428473148a">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643F977B-F079-4397-8D86-51591ADDF623}" styleName="643f977b-f079-4397-8d86-51591addf623">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4952F030-87B8-4E4C-9B6B-4A30ED7013CC}" styleName="4952f030-87b8-4e4c-9b6b-4a30ed7013c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38FC4C4A-508C-43DC-8610-67881CD74049}" styleName="38fc4c4a-508c-43dc-8610-67881cd74049">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7AFACA34-002D-4917-BA9A-B18ABD91B4F2}" styleName="7afaca34-002d-4917-ba9a-b18abd91b4f2">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1602D979-ABDC-416C-BD1C-0780B0EBC764}" styleName="1602d979-abdc-416c-bd1c-0780b0ebc764">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7FAB6696-FBC1-46E1-BAFF-C595DCC24298}" styleName="7fab6696-fbc1-46e1-baff-c595dcc24298">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796AAD35-9D3E-414A-B891-6C9573AF6E98}" styleName="796aad35-9d3e-414a-b891-6c9573af6e98">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7DE15D74-DD80-4559-AB2E-B0BD288B63D7}" styleName="7de15d74-dd80-4559-ab2e-b0bd288b63d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9064E7C5-B88C-4E1E-B9B8-88CDBBDEA358}" styleName="9064e7c5-b88c-4e1e-b9b8-88cdbbdea358">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3A541A3E-470B-4975-B484-4679B729EE0E}" styleName="3a541a3e-470b-4975-b484-4679b729ee0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308CF626-8C34-418D-A409-51962704DCFC}" styleName="308cf626-8c34-418d-a409-51962704dcf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2641E5A0-3653-4B07-9321-A4758BF91CCD}" styleName="2641e5a0-3653-4b07-9321-a4758bf91ccd">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85DCA237-631D-459A-83FB-73CD0F3B7BAB}" styleName="85dca237-631d-459a-83fb-73cd0f3b7bab">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01BB4859-04DF-4718-A221-3A0BD6B32947}" styleName="01bb4859-04df-4718-a221-3a0bd6b3294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8965CE78-5E27-4517-88A9-AD8E8C0D3D1C}" styleName="8965ce78-5e27-4517-88a9-ad8e8c0d3d1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880F9910-CB8D-4DC6-8BBA-AB6D8DC15271}" styleName="880f9910-cb8d-4dc6-8bba-ab6d8dc1527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DFD1F946-3158-45D5-B937-C67F78ACDE65}" styleName="dfd1f946-3158-45d5-b937-c67f78acde65">
    <a:tblBg>
      <a:fill>
        <a:noFill/>
      </a:fill>
    </a:tblBg>
    <a:wholeTbl>
      <a:tcStyle>
        <a:tcBdr>
          <a:left>
            <a:ln>
              <a:noFill/>
            </a:ln>
          </a:left>
          <a:right>
            <a:ln>
              <a:noFill/>
            </a:ln>
          </a:right>
          <a:top>
            <a:ln>
              <a:noFill/>
            </a:ln>
          </a:top>
          <a:bottom>
            <a:ln>
              <a:noFill/>
            </a:ln>
          </a:bottom>
          <a:insideH>
            <a:ln w="6350" cmpd="sng">
              <a:solidFill>
                <a:srgbClr val="B7B9BA"/>
              </a:solid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B7B9BA"/>
              </a:solidFill>
            </a:ln>
          </a:top>
          <a:bottom>
            <a:ln w="19050" cmpd="sng">
              <a:solidFill>
                <a:srgbClr val="009CDE"/>
              </a:solidFill>
            </a:ln>
          </a:bottom>
          <a:insideH>
            <a:ln>
              <a:noFill/>
            </a:ln>
          </a:insideH>
        </a:tcBdr>
      </a:tcStyle>
    </a:lastRow>
    <a:seCell>
      <a:tcStyle>
        <a:tcBdr/>
        <a:fill>
          <a:solidFill>
            <a:srgbClr val="FFFFFF"/>
          </a:solidFill>
        </a:fill>
      </a:tcStyle>
    </a:seCell>
    <a:swCell>
      <a:tcStyle>
        <a:tcBdr/>
        <a:fill>
          <a:solidFill>
            <a:srgbClr val="FFFFFF"/>
          </a:solidFill>
        </a:fill>
      </a:tcStyle>
    </a:swCell>
    <a:firstRow>
      <a:tcStyle>
        <a:tcBdr>
          <a:top>
            <a:ln w="19050" cmpd="sng">
              <a:solidFill>
                <a:srgbClr val="009CDE"/>
              </a:solidFill>
            </a:ln>
          </a:top>
          <a:bottom>
            <a:ln w="12700" cmpd="sng">
              <a:solidFill>
                <a:srgbClr val="009CDE"/>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D62893B2-4E35-4FE0-8775-1B505DA3B16D}" styleName="d62893b2-4e35-4fe0-8775-1b505da3b16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98D7F1"/>
          </a:solidFill>
        </a:fill>
      </a:tcStyle>
    </a:wholeTbl>
    <a:band2H>
      <a:tcStyle>
        <a:tcBdr/>
        <a:fill>
          <a:solidFill>
            <a:srgbClr val="D4E7F7"/>
          </a:solidFill>
        </a:fill>
      </a:tcStyle>
    </a:band2H>
    <a:lastCol>
      <a:tcStyle>
        <a:tcBdr/>
      </a:tcStyle>
    </a:lastCol>
    <a:firstCol>
      <a:tcStyle>
        <a:tcBdr/>
      </a:tcStyle>
    </a:firstCol>
    <a:lastRow>
      <a:tcStyle>
        <a:tcBdr/>
      </a:tcStyle>
    </a:lastRow>
    <a:seCell>
      <a:tcStyle>
        <a:tcBdr/>
        <a:fill>
          <a:solidFill>
            <a:srgbClr val="98D7F1"/>
          </a:solidFill>
        </a:fill>
      </a:tcStyle>
    </a:seCell>
    <a:swCell>
      <a:tcStyle>
        <a:tcBdr/>
        <a:fill>
          <a:solidFill>
            <a:srgbClr val="98D7F1"/>
          </a:solidFill>
        </a:fill>
      </a:tcStyle>
    </a:swCell>
    <a:firstRow>
      <a:tcStyle>
        <a:tcBdr/>
      </a:tcStyle>
    </a:firstRow>
    <a:neCell>
      <a:tcStyle>
        <a:tcBdr/>
        <a:fill>
          <a:solidFill>
            <a:srgbClr val="98D7F1"/>
          </a:solidFill>
        </a:fill>
      </a:tcStyle>
    </a:neCell>
    <a:nwCell>
      <a:tcStyle>
        <a:tcBdr/>
        <a:fill>
          <a:solidFill>
            <a:srgbClr val="98D7F1"/>
          </a:solidFill>
        </a:fill>
      </a:tcStyle>
    </a:nwCell>
  </a:tblStyle>
  <a:tblStyle styleId="{6FA7D0A2-700F-4D0D-9D72-06140AB9307C}" styleName="6fa7d0a2-700f-4d0d-9d72-06140ab9307c">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98D7F1"/>
          </a:solidFill>
        </a:fill>
      </a:tcStyle>
    </a:wholeTbl>
    <a:band2H>
      <a:tcStyle>
        <a:tcBdr/>
        <a:fill>
          <a:solidFill>
            <a:srgbClr val="D4E7F7"/>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98D7F1"/>
          </a:solidFill>
        </a:fill>
      </a:tcStyle>
    </a:seCell>
    <a:swCell>
      <a:tcStyle>
        <a:tcBdr/>
        <a:fill>
          <a:solidFill>
            <a:srgbClr val="98D7F1"/>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BE1BF6CC-8815-4C3D-B036-E1A15D33C0A1}" styleName="be1bf6cc-8815-4c3d-b036-e1a15d33c0a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D8EBD6"/>
          </a:solidFill>
        </a:fill>
      </a:tcStyle>
    </a:band2H>
    <a:lastCol>
      <a:tcStyle>
        <a:tcBdr/>
      </a:tcStyle>
    </a:lastCol>
    <a:firstCol>
      <a:tcStyle>
        <a:tcBdr/>
      </a:tcStyle>
    </a:firstCol>
    <a:lastRow>
      <a:tcStyle>
        <a:tcBdr>
          <a:bottom>
            <a:ln w="6350" cmpd="sng">
              <a:solidFill>
                <a:srgbClr val="3F9C35"/>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3F9C35"/>
          </a:solidFill>
        </a:fill>
      </a:tcStyle>
    </a:firstRow>
    <a:neCell>
      <a:tcStyle>
        <a:tcBdr/>
        <a:fill>
          <a:solidFill>
            <a:srgbClr val="3F9C35"/>
          </a:solidFill>
        </a:fill>
      </a:tcStyle>
    </a:neCell>
    <a:nwCell>
      <a:tcStyle>
        <a:tcBdr/>
        <a:fill>
          <a:solidFill>
            <a:srgbClr val="3F9C35"/>
          </a:solidFill>
        </a:fill>
      </a:tcStyle>
    </a:nwCell>
  </a:tblStyle>
  <a:tblStyle styleId="{25AFDDE9-5421-4C09-A5EC-2EC062BBD637}" styleName="25afdde9-5421-4c09-a5ec-2ec062bbd637">
    <a:tblBg>
      <a:fill>
        <a:noFill/>
      </a:fill>
    </a:tblBg>
    <a:wholeTbl>
      <a:tcStyle>
        <a:tcBdr>
          <a:left>
            <a:ln>
              <a:noFill/>
            </a:ln>
          </a:left>
          <a:right>
            <a:ln>
              <a:noFill/>
            </a:ln>
          </a:right>
          <a:top>
            <a:ln>
              <a:noFill/>
            </a:ln>
          </a:top>
          <a:bottom>
            <a:ln>
              <a:noFill/>
            </a:ln>
          </a:bottom>
          <a:insideH>
            <a:ln w="12700" cmpd="sng">
              <a:solidFill>
                <a:srgbClr val="888B8D"/>
              </a:solidFill>
              <a:prstDash val="dot"/>
            </a:ln>
          </a:insideH>
          <a:insideV>
            <a:ln w="12700" cmpd="sng">
              <a:solidFill>
                <a:srgbClr val="888B8D"/>
              </a:solidFill>
              <a:prstDash val="dot"/>
            </a:ln>
          </a:insideV>
        </a:tcBdr>
        <a:fill>
          <a:solidFill>
            <a:srgbClr val="FFFFFF"/>
          </a:solidFill>
        </a:fill>
      </a:tcStyle>
    </a:wholeTbl>
    <a:band2H>
      <a:tcStyle>
        <a:tcBdr/>
      </a:tcStyle>
    </a:band2H>
    <a:lastCol>
      <a:tcStyle>
        <a:tcBdr>
          <a:left>
            <a:ln w="12700" cmpd="sng">
              <a:solidFill>
                <a:srgbClr val="888B8D"/>
              </a:solidFill>
              <a:prstDash val="dot"/>
            </a:ln>
          </a:left>
          <a:right>
            <a:ln w="12700" cmpd="sng">
              <a:solidFill>
                <a:srgbClr val="888B8D"/>
              </a:solidFill>
              <a:prstDash val="dot"/>
            </a:ln>
          </a:right>
          <a:insideV>
            <a:ln>
              <a:noFill/>
            </a:ln>
          </a:insideV>
        </a:tcBdr>
      </a:tcStyle>
    </a:lastCol>
    <a:firstCol>
      <a:tcStyle>
        <a:tcBdr>
          <a:left>
            <a:ln w="12700" cmpd="sng">
              <a:solidFill>
                <a:srgbClr val="888B8D"/>
              </a:solidFill>
              <a:prstDash val="dot"/>
            </a:ln>
          </a:left>
          <a:right>
            <a:ln w="12700" cmpd="sng">
              <a:solidFill>
                <a:srgbClr val="888B8D"/>
              </a:solidFill>
              <a:prstDash val="dot"/>
            </a:ln>
          </a:right>
          <a:insideV>
            <a:ln>
              <a:noFill/>
            </a:ln>
          </a:insideV>
        </a:tcBdr>
      </a:tcStyle>
    </a:firstCol>
    <a:lastRow>
      <a:tcStyle>
        <a:tcBdr>
          <a:top>
            <a:ln w="12700" cmpd="sng">
              <a:solidFill>
                <a:srgbClr val="888B8D"/>
              </a:solidFill>
              <a:prstDash val="dot"/>
            </a:ln>
          </a:top>
          <a:bottom>
            <a:ln w="12700" cmpd="sng">
              <a:solidFill>
                <a:srgbClr val="888B8D"/>
              </a:solidFill>
              <a:prstDash val="dot"/>
            </a:ln>
          </a:bottom>
          <a:insideH>
            <a:ln>
              <a:noFill/>
            </a:ln>
          </a:insideH>
        </a:tcBdr>
      </a:tcStyle>
    </a:lastRow>
    <a:seCell>
      <a:tcStyle>
        <a:tcBdr/>
        <a:fill>
          <a:solidFill>
            <a:srgbClr val="FFFFFF"/>
          </a:solidFill>
        </a:fill>
      </a:tcStyle>
    </a:seCell>
    <a:swCell>
      <a:tcStyle>
        <a:tcBdr/>
        <a:fill>
          <a:solidFill>
            <a:srgbClr val="FFFFFF"/>
          </a:solidFill>
        </a:fill>
      </a:tcStyle>
    </a:swCell>
    <a:firstRow>
      <a:tcStyle>
        <a:tcBdr>
          <a:top>
            <a:ln w="12700" cmpd="sng">
              <a:solidFill>
                <a:srgbClr val="009CDE"/>
              </a:solidFill>
            </a:ln>
          </a:top>
          <a:bottom>
            <a:ln w="12700" cmpd="sng">
              <a:solidFill>
                <a:srgbClr val="009CDE"/>
              </a:solidFill>
            </a:ln>
          </a:bottom>
          <a:insideH>
            <a:ln>
              <a:noFill/>
            </a:ln>
          </a:insideH>
          <a:insideV>
            <a:ln w="12700" cmpd="sng">
              <a:solidFill>
                <a:srgbClr val="FFFFFF"/>
              </a:solidFill>
            </a:ln>
          </a:insideV>
        </a:tcBdr>
        <a:fill>
          <a:solidFill>
            <a:srgbClr val="009CDE"/>
          </a:solidFill>
        </a:fill>
      </a:tcStyle>
    </a:firstRow>
    <a:neCell>
      <a:tcStyle>
        <a:tcBdr>
          <a:left>
            <a:ln w="12700" cmpd="sng">
              <a:solidFill>
                <a:srgbClr val="FFFFFF"/>
              </a:solidFill>
            </a:ln>
          </a:left>
          <a:right>
            <a:ln w="12700" cmpd="sng">
              <a:solidFill>
                <a:srgbClr val="009CDE"/>
              </a:solidFill>
            </a:ln>
          </a:right>
          <a:insideV>
            <a:ln>
              <a:noFill/>
            </a:ln>
          </a:insideV>
        </a:tcBdr>
        <a:fill>
          <a:solidFill>
            <a:srgbClr val="009CDE"/>
          </a:solidFill>
        </a:fill>
      </a:tcStyle>
    </a:neCell>
    <a:nwCell>
      <a:tcStyle>
        <a:tcBdr>
          <a:left>
            <a:ln w="12700" cmpd="sng">
              <a:solidFill>
                <a:srgbClr val="009CDE"/>
              </a:solidFill>
            </a:ln>
          </a:left>
          <a:right>
            <a:ln w="12700" cmpd="sng">
              <a:solidFill>
                <a:srgbClr val="FFFFFF"/>
              </a:solidFill>
            </a:ln>
          </a:right>
          <a:insideV>
            <a:ln>
              <a:noFill/>
            </a:ln>
          </a:insideV>
        </a:tcBdr>
        <a:fill>
          <a:solidFill>
            <a:srgbClr val="009CDE"/>
          </a:solidFill>
        </a:fill>
      </a:tcStyle>
    </a:nwCell>
  </a:tblStyle>
  <a:tblStyle styleId="{CA2E0FAF-096B-4B1B-8A28-E5FCA2A313F5}" styleName="ca2e0faf-096b-4b1b-8a28-e5fca2a313f5">
    <a:tblBg>
      <a:fill>
        <a:noFill/>
      </a:fill>
    </a:tblBg>
    <a:wholeTbl>
      <a:tcStyle>
        <a:tcBdr>
          <a:left>
            <a:ln>
              <a:noFill/>
            </a:ln>
          </a:left>
          <a:right>
            <a:ln>
              <a:noFill/>
            </a:ln>
          </a:right>
          <a:top>
            <a:ln>
              <a:noFill/>
            </a:ln>
          </a:top>
          <a:bottom>
            <a:ln>
              <a:noFill/>
            </a:ln>
          </a:bottom>
          <a:insideH>
            <a:ln w="12700" cmpd="sng">
              <a:solidFill>
                <a:srgbClr val="888B8D"/>
              </a:solidFill>
              <a:prstDash val="dot"/>
            </a:ln>
          </a:insideH>
          <a:insideV>
            <a:ln w="12700" cmpd="sng">
              <a:solidFill>
                <a:srgbClr val="888B8D"/>
              </a:solidFill>
              <a:prstDash val="dot"/>
            </a:ln>
          </a:insideV>
        </a:tcBdr>
        <a:fill>
          <a:solidFill>
            <a:srgbClr val="FFFFFF"/>
          </a:solidFill>
        </a:fill>
      </a:tcStyle>
    </a:wholeTbl>
    <a:band2H>
      <a:tcStyle>
        <a:tcBdr/>
      </a:tcStyle>
    </a:band2H>
    <a:lastCol>
      <a:tcStyle>
        <a:tcBdr>
          <a:left>
            <a:ln w="12700" cmpd="sng">
              <a:solidFill>
                <a:srgbClr val="888B8D"/>
              </a:solidFill>
              <a:prstDash val="dot"/>
            </a:ln>
          </a:left>
          <a:right>
            <a:ln w="12700" cmpd="sng">
              <a:solidFill>
                <a:srgbClr val="888B8D"/>
              </a:solidFill>
              <a:prstDash val="dot"/>
            </a:ln>
          </a:right>
          <a:insideV>
            <a:ln>
              <a:noFill/>
            </a:ln>
          </a:insideV>
        </a:tcBdr>
      </a:tcStyle>
    </a:lastCol>
    <a:firstCol>
      <a:tcStyle>
        <a:tcBdr>
          <a:left>
            <a:ln w="12700" cmpd="sng">
              <a:solidFill>
                <a:srgbClr val="888B8D"/>
              </a:solidFill>
              <a:prstDash val="dot"/>
            </a:ln>
          </a:left>
          <a:right>
            <a:ln w="12700" cmpd="sng">
              <a:solidFill>
                <a:srgbClr val="888B8D"/>
              </a:solidFill>
              <a:prstDash val="dot"/>
            </a:ln>
          </a:right>
          <a:insideV>
            <a:ln>
              <a:noFill/>
            </a:ln>
          </a:insideV>
        </a:tcBdr>
      </a:tcStyle>
    </a:firstCol>
    <a:lastRow>
      <a:tcStyle>
        <a:tcBdr>
          <a:top>
            <a:ln w="12700" cmpd="sng">
              <a:solidFill>
                <a:srgbClr val="888B8D"/>
              </a:solidFill>
              <a:prstDash val="dot"/>
            </a:ln>
          </a:top>
          <a:bottom>
            <a:ln w="12700" cmpd="sng">
              <a:solidFill>
                <a:srgbClr val="888B8D"/>
              </a:solidFill>
              <a:prstDash val="dot"/>
            </a:ln>
          </a:bottom>
          <a:insideH>
            <a:ln>
              <a:noFill/>
            </a:ln>
          </a:insideH>
        </a:tcBdr>
      </a:tcStyle>
    </a:lastRow>
    <a:seCell>
      <a:tcStyle>
        <a:tcBdr/>
        <a:fill>
          <a:solidFill>
            <a:srgbClr val="FFFFFF"/>
          </a:solidFill>
        </a:fill>
      </a:tcStyle>
    </a:seCell>
    <a:swCell>
      <a:tcStyle>
        <a:tcBdr/>
        <a:fill>
          <a:solidFill>
            <a:srgbClr val="FFFFFF"/>
          </a:solidFill>
        </a:fill>
      </a:tcStyle>
    </a:swCell>
    <a:firstRow>
      <a:tcStyle>
        <a:tcBdr>
          <a:top>
            <a:ln w="12700" cmpd="sng">
              <a:solidFill>
                <a:srgbClr val="3F9C35"/>
              </a:solidFill>
            </a:ln>
          </a:top>
          <a:bottom>
            <a:ln w="12700" cmpd="sng">
              <a:solidFill>
                <a:srgbClr val="3F9C35"/>
              </a:solidFill>
            </a:ln>
          </a:bottom>
          <a:insideH>
            <a:ln>
              <a:noFill/>
            </a:ln>
          </a:insideH>
          <a:insideV>
            <a:ln w="12700" cmpd="sng">
              <a:solidFill>
                <a:srgbClr val="FFFFFF"/>
              </a:solidFill>
            </a:ln>
          </a:insideV>
        </a:tcBdr>
        <a:fill>
          <a:solidFill>
            <a:srgbClr val="3F9C35"/>
          </a:solidFill>
        </a:fill>
      </a:tcStyle>
    </a:firstRow>
    <a:neCell>
      <a:tcStyle>
        <a:tcBdr>
          <a:left>
            <a:ln w="12700" cmpd="sng">
              <a:solidFill>
                <a:srgbClr val="FFFFFF"/>
              </a:solidFill>
            </a:ln>
          </a:left>
          <a:right>
            <a:ln w="12700" cmpd="sng">
              <a:solidFill>
                <a:srgbClr val="3F9C35"/>
              </a:solidFill>
            </a:ln>
          </a:right>
          <a:insideV>
            <a:ln>
              <a:noFill/>
            </a:ln>
          </a:insideV>
        </a:tcBdr>
        <a:fill>
          <a:solidFill>
            <a:srgbClr val="3F9C35"/>
          </a:solidFill>
        </a:fill>
      </a:tcStyle>
    </a:neCell>
    <a:nwCell>
      <a:tcStyle>
        <a:tcBdr>
          <a:left>
            <a:ln w="12700" cmpd="sng">
              <a:solidFill>
                <a:srgbClr val="3F9C35"/>
              </a:solidFill>
            </a:ln>
          </a:left>
          <a:right>
            <a:ln w="12700" cmpd="sng">
              <a:solidFill>
                <a:srgbClr val="FFFFFF"/>
              </a:solidFill>
            </a:ln>
          </a:right>
          <a:insideV>
            <a:ln>
              <a:noFill/>
            </a:ln>
          </a:insideV>
        </a:tcBdr>
        <a:fill>
          <a:solidFill>
            <a:srgbClr val="3F9C35"/>
          </a:solidFill>
        </a:fill>
      </a:tcStyle>
    </a:nwCell>
  </a:tblStyle>
  <a:tblStyle styleId="{1975F032-17A6-4AAC-814B-279F4251E274}" styleName="1975f032-17a6-4aac-814b-279f4251e274">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F0D33D4-9A44-4E33-B5EB-433491ED7D98}" styleName="cf0d33d4-9a44-4e33-b5eb-433491ed7d98">
    <a:tblBg>
      <a:fill>
        <a:noFill/>
      </a:fill>
    </a:tblBg>
    <a:wholeTbl>
      <a:tcStyle>
        <a:tcBdr>
          <a:left>
            <a:ln>
              <a:noFill/>
            </a:ln>
          </a:left>
          <a:right>
            <a:ln>
              <a:noFill/>
            </a:ln>
          </a:right>
          <a:top>
            <a:ln>
              <a:noFill/>
            </a:ln>
          </a:top>
          <a:bottom>
            <a:ln>
              <a:noFill/>
            </a:ln>
          </a:bottom>
          <a:insideH>
            <a:ln w="38100" cmpd="sng">
              <a:solidFill>
                <a:srgbClr val="FFFFFF"/>
              </a:solidFill>
            </a:ln>
          </a:insideH>
          <a:insideV>
            <a:ln>
              <a:noFill/>
            </a:ln>
          </a:insideV>
        </a:tcBdr>
        <a:fill>
          <a:solidFill>
            <a:srgbClr val="E7E7E8"/>
          </a:solidFill>
        </a:fill>
      </a:tcStyle>
    </a:wholeTbl>
    <a:band2H>
      <a:tcStyle>
        <a:tcBdr/>
      </a:tcStyle>
    </a:band2H>
    <a:lastCol>
      <a:tcStyle>
        <a:tcBdr/>
      </a:tcStyle>
    </a:lastCol>
    <a:firstCol>
      <a:tcStyle>
        <a:tcBdr>
          <a:left>
            <a:ln w="3175" cmpd="sng">
              <a:solidFill>
                <a:srgbClr val="FFFFFF"/>
              </a:solidFill>
            </a:ln>
          </a:left>
        </a:tcBdr>
        <a:fill>
          <a:solidFill>
            <a:srgbClr val="009CDE"/>
          </a:solidFill>
        </a:fill>
      </a:tcStyle>
    </a:firstCol>
    <a:lastRow>
      <a:tcStyle>
        <a:tcBdr>
          <a:top>
            <a:ln w="38100" cmpd="sng">
              <a:solidFill>
                <a:srgbClr val="FFFFFF"/>
              </a:solidFill>
            </a:ln>
          </a:top>
          <a:bottom>
            <a:ln w="38100" cmpd="sng">
              <a:solidFill>
                <a:srgbClr val="FFFFFF"/>
              </a:solidFill>
            </a:ln>
          </a:bottom>
          <a:insideH>
            <a:ln>
              <a:noFill/>
            </a:ln>
          </a:insideH>
        </a:tcBdr>
      </a:tcStyle>
    </a:lastRow>
    <a:seCell>
      <a:tcStyle>
        <a:tcBdr/>
        <a:fill>
          <a:solidFill>
            <a:srgbClr val="E7E7E8"/>
          </a:solidFill>
        </a:fill>
      </a:tcStyle>
    </a:seCell>
    <a:swCell>
      <a:tcStyle>
        <a:tcBdr/>
        <a:fill>
          <a:solidFill>
            <a:srgbClr val="009CDE"/>
          </a:solidFill>
        </a:fill>
      </a:tcStyle>
    </a:swCell>
    <a:firstRow>
      <a:tcStyle>
        <a:tcBdr>
          <a:top>
            <a:ln w="38100" cmpd="sng">
              <a:solidFill>
                <a:srgbClr val="FFFFFF"/>
              </a:solidFill>
            </a:ln>
          </a:top>
          <a:bottom>
            <a:ln w="38100" cmpd="sng">
              <a:solidFill>
                <a:srgbClr val="FFFFFF"/>
              </a:solidFill>
            </a:ln>
          </a:bottom>
          <a:insideH>
            <a:ln>
              <a:noFill/>
            </a:ln>
          </a:insideH>
        </a:tcBdr>
      </a:tcStyle>
    </a:firstRow>
    <a:neCell>
      <a:tcStyle>
        <a:tcBdr/>
        <a:fill>
          <a:solidFill>
            <a:srgbClr val="E7E7E8"/>
          </a:solidFill>
        </a:fill>
      </a:tcStyle>
    </a:neCell>
    <a:nwCell>
      <a:tcStyle>
        <a:tcBdr/>
        <a:fill>
          <a:solidFill>
            <a:srgbClr val="009CDE"/>
          </a:solidFill>
        </a:fill>
      </a:tcStyle>
    </a:nwCell>
  </a:tblStyle>
  <a:tblStyle styleId="{2F903EBD-5949-4FC3-9DBA-45C2B3A90766}" styleName="2f903ebd-5949-4fc3-9dba-45c2b3a90766">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top>
            <a:ln w="6350" cmpd="sng">
              <a:solidFill>
                <a:srgbClr val="009CDE"/>
              </a:solidFill>
            </a:ln>
          </a:top>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B841CD1-7B41-4D46-A155-911956B6A17D}" styleName="fb841cd1-7b41-4d46-a155-911956b6a17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insideH>
            <a:ln w="6350" cmpd="sng">
              <a:solidFill>
                <a:srgbClr val="009CDE"/>
              </a:solidFill>
            </a:ln>
          </a:insideH>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05A93868-B911-408E-9BD0-58DE989F9DC5}" styleName="05a93868-b911-408e-9bd0-58de989f9dc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5820634-68EF-48D9-86BF-17D9A84FFC85}" styleName="35820634-68ef-48d9-86bf-17d9a84ffc8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977FE25-31CE-4B68-9DEF-D3AEE1B27EC9}" styleName="3977fe25-31ce-4b68-9def-d3aee1b27ec9">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22DB56A-EF6D-4F7D-B39F-F8D50C7DD42F}" styleName="e22db56a-ef6d-4f7d-b39f-f8d50c7dd42f">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55ADC15-F096-4D2E-9309-1BB6EBEDA0A1}" styleName="655adc15-f096-4d2e-9309-1bb6ebeda0a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5501BC2-1ADB-4972-AE33-6A4A1F817833}" styleName="15501bc2-1adb-4972-ae33-6a4a1f81783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EA46B37-296D-40F8-9F8A-4A986F1CBDDB}" styleName="1ea46b37-296d-40f8-9f8a-4a986f1cbdd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FA35D14-AA71-4B50-9A04-3D15269F5A2D}" styleName="3fa35d14-aa71-4b50-9a04-3d15269f5a2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710C12DE-2647-4313-B6E9-DF2C623EE432}" styleName="710c12de-2647-4313-b6e9-df2c623ee43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148CFC54-FBF5-4D6E-AB6B-1C1D5300BA57}" styleName="148cfc54-fbf5-4d6e-ab6b-1c1d5300ba5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AF0A34BC-6119-4C33-9B75-9EADDDE33060}" styleName="af0a34bc-6119-4c33-9b75-9eaddde3306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35ACE53C-5AAC-4B58-8C0B-8C3D5A75605E}" styleName="35ace53c-5aac-4b58-8c0b-8c3d5a75605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B855FDDF-DDA7-452F-85B9-A9F34E8F2EC4}" styleName="b855fddf-dda7-452f-85b9-a9f34e8f2ec4">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4731677B-5360-4E43-AF20-D620B75FC64B}" styleName="4731677b-5360-4e43-af20-d620b75fc64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2BC4B85-A628-4A21-80D0-250BD7954BB6}" styleName="32bc4b85-a628-4a21-80d0-250bd7954bb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2C55FFC4-C587-4935-9526-2F3D3188B9C1}" styleName="2c55ffc4-c587-4935-9526-2f3d3188b9c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9F04463-46E7-4502-B0D1-B206E06122CD}" styleName="c9f04463-46e7-4502-b0d1-b206e06122c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3EB14F95-0A81-418B-9AA0-D4182FA69FF8}" styleName="3eb14f95-0a81-418b-9aa0-d4182fa69ff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8E80D29D-8C21-48AA-B8BF-9FC9312D8DC4}" styleName="8e80d29d-8c21-48aa-b8bf-9fc9312d8dc4">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B60012FA-F9AC-48E5-8C92-33415CCC9C41}" styleName="b60012fa-f9ac-48e5-8c92-33415ccc9c4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DC6B4F0C-BCFE-4984-AAA5-851238934576}" styleName="dc6b4f0c-bcfe-4984-aaa5-851238934576">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D995E4C8-997F-42CB-8750-BA7B189AE261}" styleName="d995e4c8-997f-42cb-8750-ba7b189ae26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5591ED2A-F469-4FC5-9086-53DC42C40BA1}" styleName="5591ed2a-f469-4fc5-9086-53dc42c40ba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9A91B445-F695-4CC9-BB8F-6C767EF73999}" styleName="9a91b445-f695-4cc9-bb8f-6c767ef73999">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7EFC5B7C-5E67-46D3-9E8F-016A147BF503}" styleName="7efc5b7c-5e67-46d3-9e8f-016a147bf50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81BCDB82-278A-4788-BF1C-F4B80E01A8D0}" styleName="81bcdb82-278a-4788-bf1c-f4b80e01a8d0">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44144532-578F-448C-842C-F28840057C33}" styleName="44144532-578f-448c-842c-f28840057c3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F55B801-C939-4E15-9656-2799971A5F68}" styleName="ff55b801-c939-4e15-9656-2799971a5f6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4DCEF4A0-81A4-4C24-AD6A-F55210D7064C}" styleName="4dcef4a0-81a4-4c24-ad6a-f55210d7064c">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70ACE7C7-14BA-4D1E-B5BE-428FDEE426F5}" styleName="70ace7c7-14ba-4d1e-b5be-428fdee426f5">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A0843FE-3BD0-4867-84B3-ED6B056959C6}" styleName="ca0843fe-3bd0-4867-84b3-ed6b056959c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0EA39DCE-63B2-41FB-A0E5-BCA1D85AEC90}" styleName="0ea39dce-63b2-41fb-a0e5-bca1d85aec9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3AE4E581-1083-4DCC-8007-2B4AB0B415C5}" styleName="3ae4e581-1083-4dcc-8007-2b4ab0b415c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A91DD523-4F44-4394-B3C7-79F612C05FD0}" styleName="a91dd523-4f44-4394-b3c7-79f612c05fd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5C291FAD-4FDF-4CB9-800E-C23528C83268}" styleName="5c291fad-4fdf-4cb9-800e-c23528c83268">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7A448FA6-3B43-4660-A9C9-F404AFEACAE3}" styleName="7a448fa6-3b43-4660-a9c9-f404afeacae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cStyle>
    </a:lastRow>
    <a:seCell>
      <a:tcStyle>
        <a:tcBdr/>
        <a:fill>
          <a:solidFill>
            <a:srgbClr val="FFFFFF"/>
          </a:solidFill>
        </a:fill>
      </a:tcStyle>
    </a:seCell>
    <a:swCell>
      <a:tcStyle>
        <a:tcBdr/>
        <a:fill>
          <a:solidFill>
            <a:srgbClr val="FFFFFF"/>
          </a:solidFill>
        </a:fill>
      </a:tcStyle>
    </a:swCell>
    <a:firstRow>
      <a:tcStyle>
        <a:tcBdr/>
        <a:fill>
          <a:solidFill>
            <a:srgbClr val="E7E7E8"/>
          </a:solidFill>
        </a:fill>
      </a:tcStyle>
    </a:firstRow>
    <a:neCell>
      <a:tcStyle>
        <a:tcBdr/>
        <a:fill>
          <a:solidFill>
            <a:srgbClr val="E7E7E8"/>
          </a:solidFill>
        </a:fill>
      </a:tcStyle>
    </a:neCell>
    <a:nwCell>
      <a:tcStyle>
        <a:tcBdr/>
        <a:fill>
          <a:solidFill>
            <a:srgbClr val="E7E7E8"/>
          </a:solidFill>
        </a:fill>
      </a:tcStyle>
    </a:nwCell>
  </a:tblStyle>
  <a:tblStyle styleId="{72CDA366-462B-4796-8E93-1E01BD39F31F}" styleName="72cda366-462b-4796-8e93-1e01bd39f31f">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cStyle>
    </a:lastRow>
    <a:seCell>
      <a:tcStyle>
        <a:tcBdr/>
        <a:fill>
          <a:solidFill>
            <a:srgbClr val="FFFFFF"/>
          </a:solidFill>
        </a:fill>
      </a:tcStyle>
    </a:seCell>
    <a:swCell>
      <a:tcStyle>
        <a:tcBdr/>
        <a:fill>
          <a:solidFill>
            <a:srgbClr val="FFFFFF"/>
          </a:solidFill>
        </a:fill>
      </a:tcStyle>
    </a:swCell>
    <a:firstRow>
      <a:tcStyle>
        <a:tcBdr/>
      </a:tcStyle>
    </a:firstRow>
    <a:neCell>
      <a:tcStyle>
        <a:tcBdr/>
        <a:fill>
          <a:solidFill>
            <a:srgbClr val="FFFFFF"/>
          </a:solidFill>
        </a:fill>
      </a:tcStyle>
    </a:neCell>
    <a:nwCell>
      <a:tcStyle>
        <a:tcBdr/>
        <a:fill>
          <a:solidFill>
            <a:srgbClr val="FFFFFF"/>
          </a:solidFill>
        </a:fill>
      </a:tcStyle>
    </a:nwCell>
  </a:tblStyle>
  <a:tblStyle styleId="{E1C1CC4D-5FE6-4DD9-A11E-0F4DD747E005}" styleName="e1c1cc4d-5fe6-4dd9-a11e-0f4dd747e00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8C928D11-B8CA-4419-9FEA-AD5FAC08067D}" styleName="8c928d11-b8ca-4419-9fea-ad5fac08067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A5DFB0D9-B2D8-43FA-8658-3AF0D6B2B7F8}" styleName="a5dfb0d9-b2d8-43fa-8658-3af0d6b2b7f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06A59E2-6AED-4072-BE00-8CE1A237C24B}" styleName="c06a59e2-6aed-4072-be00-8ce1a237c24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BFDA84F-D90F-45EB-9C95-6B0A88D72802}" styleName="ebfda84f-d90f-45eb-9c95-6b0a88d7280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E3D57DE-220D-4E5E-A7ED-BB603A6692A8}" styleName="ce3d57de-220d-4e5e-a7ed-bb603a6692a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DDF1AA7-5C08-4413-BA8B-14E48D6926EB}" styleName="6ddf1aa7-5c08-4413-ba8b-14e48d6926e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1D1116A-10DB-43A1-A16C-0B8F400DE430}" styleName="11d1116a-10db-43a1-a16c-0b8f400de430">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CA21B128-A644-45C3-AE1C-2062097152F2}" styleName="ca21b128-a644-45c3-ae1c-2062097152f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D416FCCF-E5D4-4124-9630-5DDAADE4962C}" styleName="d416fccf-e5d4-4124-9630-5ddaade4962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9DF706AE-8595-4362-AC41-D148EA61A8D7}" styleName="9df706ae-8595-4362-ac41-d148ea61a8d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19AF5963-40FF-4846-A230-2BBD32408F4A}" styleName="19af5963-40ff-4846-a230-2bbd32408f4a">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2D7B490B-8FD1-4D16-BF10-32AA5559FDEE}" styleName="2d7b490b-8fd1-4d16-bf10-32aa5559fde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8CAF9A24-3100-4A60-A51B-C5E6EBAD3236}" styleName="8caf9a24-3100-4a60-a51b-c5e6ebad323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DA8589EF-C728-474E-BE8F-CEA90CBD5AB6}" styleName="da8589ef-c728-474e-be8f-cea90cbd5ab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D72D89CE-4D33-4BE7-BA11-42B07ACF4B8E}" styleName="d72d89ce-4d33-4be7-ba11-42b07acf4b8e">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F2DC981-3B59-4D35-8EBE-E2C46A454515}" styleName="ef2dc981-3b59-4d35-8ebe-e2c46a45451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7376F456-3D55-4F75-AAF5-2CAECC5B5781}" styleName="7376f456-3d55-4f75-aaf5-2caecc5b578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E9723909-0FB3-4583-B2C0-81186E7A3B99}" styleName="e9723909-0fb3-4583-b2c0-81186e7a3b99">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3757C63-8C1D-4E20-96EE-F87709D92D54}" styleName="f3757c63-8c1d-4e20-96ee-f87709d92d54">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C9A75B42-D5AE-433B-88E1-823C808180AD}" styleName="c9a75b42-d5ae-433b-88e1-823c808180ad">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027492E8-BE3B-4B91-BC31-E96312046CDC}" styleName="027492e8-be3b-4b91-bc31-e96312046cd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C480CDF7-4FD2-4E69-A96F-8964F8FE91C5}" styleName="c480cdf7-4fd2-4e69-a96f-8964f8fe91c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C47600F3-8DE5-4305-935F-5F22FE609F90}" styleName="c47600f3-8de5-4305-935f-5f22fe609f9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C312D889-6620-4335-B9AD-E851C5F4465E}" styleName="c312d889-6620-4335-b9ad-e851c5f4465e">
    <a:tblBg>
      <a:fill>
        <a:noFill/>
      </a:fill>
    </a:tblBg>
    <a:wholeTbl>
      <a:tcStyle>
        <a:tcBdr>
          <a:left>
            <a:ln>
              <a:noFill/>
            </a:ln>
          </a:left>
          <a:right>
            <a:ln>
              <a:noFill/>
            </a:ln>
          </a:right>
          <a:top>
            <a:ln>
              <a:noFill/>
            </a:ln>
          </a:top>
          <a:bottom>
            <a:ln>
              <a:noFill/>
            </a:ln>
          </a:bottom>
          <a:insideH>
            <a:ln w="9525" cmpd="sng">
              <a:solidFill>
                <a:srgbClr val="FFFFFF"/>
              </a:solidFill>
            </a:ln>
          </a:insideH>
          <a:insideV>
            <a:ln w="9525" cmpd="sng">
              <a:solidFill>
                <a:srgbClr val="FFFFFF"/>
              </a:solidFill>
            </a:ln>
          </a:insideV>
        </a:tcBdr>
        <a:fill>
          <a:solidFill>
            <a:srgbClr val="CFD0D1"/>
          </a:solidFill>
        </a:fill>
      </a:tcStyle>
    </a:wholeTbl>
    <a:band2H>
      <a:tcStyle>
        <a:tcBdr/>
        <a:fill>
          <a:solidFill>
            <a:srgbClr val="E7E7E8"/>
          </a:solidFill>
        </a:fill>
      </a:tcStyle>
    </a:band2H>
    <a:lastCol>
      <a:tcStyle>
        <a:tcBdr>
          <a:left>
            <a:ln w="9525" cmpd="sng">
              <a:solidFill>
                <a:srgbClr val="FFFFFF"/>
              </a:solidFill>
            </a:ln>
          </a:left>
          <a:insideV>
            <a:ln>
              <a:noFill/>
            </a:ln>
          </a:insideV>
        </a:tcBdr>
      </a:tcStyle>
    </a:lastCol>
    <a:firstCol>
      <a:tcStyle>
        <a:tcBdr>
          <a:insideV>
            <a:ln>
              <a:noFill/>
            </a:ln>
          </a:insideV>
        </a:tcBdr>
        <a:fill>
          <a:solidFill>
            <a:srgbClr val="009CDE"/>
          </a:solidFill>
        </a:fill>
      </a:tcStyle>
    </a:firstCol>
    <a:lastRow>
      <a:tcStyle>
        <a:tcBdr>
          <a:top>
            <a:ln w="9525" cmpd="sng">
              <a:solidFill>
                <a:srgbClr val="FFFFFF"/>
              </a:solidFill>
            </a:ln>
          </a:top>
          <a:insideH>
            <a:ln>
              <a:noFill/>
            </a:ln>
          </a:insideH>
        </a:tcBdr>
      </a:tcStyle>
    </a:lastRow>
    <a:seCell>
      <a:tcStyle>
        <a:tcBdr/>
        <a:fill>
          <a:solidFill>
            <a:srgbClr val="CFD0D1"/>
          </a:solidFill>
        </a:fill>
      </a:tcStyle>
    </a:seCell>
    <a:swCell>
      <a:tcStyle>
        <a:tcBdr>
          <a:bottom>
            <a:ln w="9525" cmpd="sng">
              <a:solidFill>
                <a:srgbClr val="FFFFFF"/>
              </a:solidFill>
            </a:ln>
          </a:bottom>
        </a:tcBdr>
        <a:fill>
          <a:solidFill>
            <a:srgbClr val="009CDE"/>
          </a:solidFill>
        </a:fill>
      </a:tcStyle>
    </a:swCell>
    <a:firstRow>
      <a:tcStyle>
        <a:tcBdr>
          <a:bottom>
            <a:ln w="9525" cmpd="sng">
              <a:solidFill>
                <a:srgbClr val="FFFFFF"/>
              </a:solidFill>
            </a:ln>
          </a:bottom>
          <a:insideH>
            <a:ln>
              <a:noFill/>
            </a:ln>
          </a:insideH>
        </a:tcBdr>
        <a:fill>
          <a:solidFill>
            <a:srgbClr val="3F9C35"/>
          </a:solidFill>
        </a:fill>
      </a:tcStyle>
    </a:firstRow>
    <a:neCell>
      <a:tcStyle>
        <a:tcBdr>
          <a:right>
            <a:ln w="9525" cmpd="sng">
              <a:solidFill>
                <a:srgbClr val="FFFFFF"/>
              </a:solidFill>
            </a:ln>
          </a:right>
          <a:bottom>
            <a:ln>
              <a:noFill/>
            </a:ln>
          </a:bottom>
        </a:tcBdr>
        <a:fill>
          <a:solidFill>
            <a:srgbClr val="3F9C35"/>
          </a:solidFill>
        </a:fill>
      </a:tcStyle>
    </a:neCell>
    <a:nwCell>
      <a:tcStyle>
        <a:tcBdr>
          <a:bottom>
            <a:ln>
              <a:noFill/>
            </a:ln>
          </a:bottom>
        </a:tcBdr>
        <a:fill>
          <a:solidFill>
            <a:srgbClr val="FFFFFF"/>
          </a:solidFill>
        </a:fill>
      </a:tcStyle>
    </a:nwCell>
  </a:tblStyle>
  <a:tblStyle styleId="{4594160B-178C-4A0D-B25E-77209EC8F75C}" styleName="4594160b-178c-4a0d-b25e-77209ec8f75c">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2E39A3A4-B774-4881-996F-82DC9EAF18CE}" styleName="2e39a3a4-b774-4881-996f-82dc9eaf18ce">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A884B678-3A87-4DD9-9261-69D95F530B65}" styleName="a884b678-3a87-4dd9-9261-69d95f530b6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4CBF06B-24EA-46AB-B3F5-94391E7B55A3}" styleName="14cbf06b-24ea-46ab-b3f5-94391e7b55a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E92B3D39-AA5B-42D8-8AB8-45A7A4450013}" styleName="e92b3d39-aa5b-42d8-8ab8-45a7a445001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9704D000-4B36-4DC1-901C-9D4C806314A6}" styleName="9704d000-4b36-4dc1-901c-9d4c806314a6">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68E794C-06A3-4C41-9B6C-3CDFC1FD18B3}" styleName="f68e794c-06a3-4c41-9b6c-3cdfc1fd18b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846CEB86-2418-4FCF-847B-F25535492A75}" styleName="846ceb86-2418-4fcf-847b-f25535492a7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81B807FD-40BD-4BCC-AE2F-C24D38193DCA}" styleName="81b807fd-40bd-4bcc-ae2f-c24d38193dca">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8E7BC07D-48F7-4C80-9D7A-A164FC580AEE}" styleName="8e7bc07d-48f7-4c80-9d7a-a164fc580ae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6DF48419-E41D-4084-B197-785DB24CC47E}" styleName="6df48419-e41d-4084-b197-785db24cc47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FD3B0709-2AB5-4281-8098-1E78DD1F36E2}" styleName="fd3b0709-2ab5-4281-8098-1e78dd1f36e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92327BA-7DC7-4449-BDE1-AB076CE755AB}" styleName="e92327ba-7dc7-4449-bde1-ab076ce755ab">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3F9C35"/>
      </a:tcTxStyle>
      <a:tcStyle>
        <a:tcBdr>
          <a:bottom>
            <a:ln w="6350" cmpd="sng">
              <a:solidFill>
                <a:srgbClr val="63666A"/>
              </a:solidFill>
            </a:ln>
          </a:bottom>
        </a:tcBdr>
        <a:fill>
          <a:solidFill>
            <a:srgbClr val="FFFFFF"/>
          </a:solidFill>
        </a:fill>
      </a:tcStyle>
    </a:firstRow>
    <a:neCell>
      <a:tcTxStyle b="on">
        <a:srgbClr val="3F9C35"/>
      </a:tcTxStyle>
      <a:tcStyle>
        <a:tcBdr/>
        <a:fill>
          <a:solidFill>
            <a:srgbClr val="FFFFFF"/>
          </a:solidFill>
        </a:fill>
      </a:tcStyle>
    </a:neCell>
    <a:nwCell>
      <a:tcTxStyle b="on">
        <a:srgbClr val="3F9C35"/>
      </a:tcTxStyle>
      <a:tcStyle>
        <a:tcBdr/>
        <a:fill>
          <a:solidFill>
            <a:srgbClr val="FFFFFF"/>
          </a:solidFill>
        </a:fill>
      </a:tcStyle>
    </a:nwCell>
  </a:tblStyle>
  <a:tblStyle styleId="{12113A0C-6F06-4DF8-8E0E-DB3738854838}" styleName="12113a0c-6f06-4df8-8e0e-db3738854838">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w="6350" cmpd="sng">
              <a:solidFill>
                <a:srgbClr val="63666A"/>
              </a:solid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61E87AD3-8CAE-4004-B219-11C9BF74009D}" styleName="61e87ad3-8cae-4004-b219-11c9bf74009d">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w="6350" cmpd="sng">
              <a:solidFill>
                <a:srgbClr val="63666A"/>
              </a:solid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6298B9B3-2DD0-4C3A-83EE-2CA9021C9F02}" styleName="6298b9b3-2dd0-4c3a-83ee-2ca9021c9f02">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w="6350" cmpd="sng">
              <a:solidFill>
                <a:srgbClr val="63666A"/>
              </a:solid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6C2F7B3E-B71C-4596-8CAD-DBDC64DAA479}" styleName="6c2f7b3e-b71c-4596-8cad-dbdc64daa479">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63666A"/>
      </a:tcTxStyle>
      <a:tcStyle>
        <a:tcBdr/>
        <a:fill>
          <a:solidFill>
            <a:srgbClr val="FFFFFF"/>
          </a:solidFill>
        </a:fill>
      </a:tcStyle>
    </a:seCell>
    <a:swCell>
      <a:tcTxStyle b="on">
        <a:srgbClr val="009CDE"/>
      </a:tcTxStyle>
      <a:tcStyle>
        <a:tcBdr/>
        <a:fill>
          <a:solidFill>
            <a:srgbClr val="FFFFFF"/>
          </a:solidFill>
        </a:fill>
      </a:tcStyle>
    </a:swCell>
    <a:firstRow>
      <a:tcTxStyle b="on">
        <a:srgbClr val="3F9C35"/>
      </a:tcTxStyle>
      <a:tcStyle>
        <a:tcBdr>
          <a:bottom>
            <a:ln w="6350" cmpd="sng">
              <a:solidFill>
                <a:srgbClr val="63666A"/>
              </a:solidFill>
            </a:ln>
          </a:bottom>
        </a:tcBdr>
        <a:fill>
          <a:solidFill>
            <a:srgbClr val="FFFFFF"/>
          </a:solidFill>
        </a:fill>
      </a:tcStyle>
    </a:firstRow>
    <a:neCell>
      <a:tcTxStyle b="on">
        <a:srgbClr val="3F9C35"/>
      </a:tcTxStyle>
      <a:tcStyle>
        <a:tcBdr/>
        <a:fill>
          <a:solidFill>
            <a:srgbClr val="FFFFFF"/>
          </a:solidFill>
        </a:fill>
      </a:tcStyle>
    </a:neCell>
    <a:nwCell>
      <a:tcTxStyle b="on">
        <a:srgbClr val="3F9C35"/>
      </a:tcTxStyle>
      <a:tcStyle>
        <a:tcBdr/>
        <a:fill>
          <a:solidFill>
            <a:srgbClr val="FFFFFF"/>
          </a:solidFill>
        </a:fill>
      </a:tcStyle>
    </a:nwCell>
  </a:tblStyle>
  <a:tblStyle styleId="{3FC0BE5E-ED3A-476B-997B-DD60A6EA4A5C}" styleName="3fc0be5e-ed3a-476b-997b-dd60a6ea4a5c">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w="6350" cmpd="sng">
              <a:solidFill>
                <a:srgbClr val="63666A"/>
              </a:solid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A506BD83-B1CE-4885-B49B-76C6C59AE91F}" styleName="a506bd83-b1ce-4885-b49b-76c6c59ae91f">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w="6350" cmpd="sng">
              <a:solidFill>
                <a:srgbClr val="63666A"/>
              </a:solid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6426D263-8EAB-407A-97CC-818488426B49}" styleName="6426d263-8eab-407a-97cc-818488426b49">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w="6350" cmpd="sng">
              <a:solidFill>
                <a:srgbClr val="63666A"/>
              </a:solid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158CB406-B496-4C3D-AAB6-BA8320ECFCF6}" styleName="158cb406-b496-4c3d-aab6-ba8320ecfcf6">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63666A"/>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63666A"/>
      </a:tcTxStyle>
      <a:tcStyle>
        <a:tcBdr/>
        <a:fill>
          <a:solidFill>
            <a:srgbClr val="FFFFFF"/>
          </a:solidFill>
        </a:fill>
      </a:tcStyle>
    </a:seCell>
    <a:swCell>
      <a:tcTxStyle b="on">
        <a:srgbClr val="009CDE"/>
      </a:tcTxStyle>
      <a:tcStyle>
        <a:tcBdr/>
        <a:fill>
          <a:solidFill>
            <a:srgbClr val="FFFFFF"/>
          </a:solidFill>
        </a:fill>
      </a:tcStyle>
    </a:swCell>
    <a:firstRow>
      <a:tcTxStyle b="on">
        <a:srgbClr val="3F9C35"/>
      </a:tcTxStyle>
      <a:tcStyle>
        <a:tcBdr>
          <a:bottom>
            <a:ln w="6350" cmpd="sng">
              <a:solidFill>
                <a:srgbClr val="63666A"/>
              </a:solidFill>
            </a:ln>
          </a:bottom>
        </a:tcBdr>
        <a:fill>
          <a:solidFill>
            <a:srgbClr val="FFFFFF"/>
          </a:solidFill>
        </a:fill>
      </a:tcStyle>
    </a:firstRow>
    <a:neCell>
      <a:tcTxStyle b="on">
        <a:srgbClr val="3F9C35"/>
      </a:tcTxStyle>
      <a:tcStyle>
        <a:tcBdr/>
        <a:fill>
          <a:solidFill>
            <a:srgbClr val="FFFFFF"/>
          </a:solidFill>
        </a:fill>
      </a:tcStyle>
    </a:neCell>
    <a:nwCell>
      <a:tcTxStyle b="on">
        <a:srgbClr val="3F9C35"/>
      </a:tcTxStyle>
      <a:tcStyle>
        <a:tcBdr/>
        <a:fill>
          <a:solidFill>
            <a:srgbClr val="FFFFFF"/>
          </a:solidFill>
        </a:fill>
      </a:tcStyle>
    </a:nwCell>
  </a:tblStyle>
  <a:tblStyle styleId="{0D9256F4-691E-481A-9A69-90D89BDA7E70}" styleName="0d9256f4-691e-481a-9a69-90d89bda7e70">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8AEC87AC-E0AB-473B-A208-6F7F1C5471A7}" styleName="8aec87ac-e0ab-473b-a208-6f7f1c5471a7">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18E3577B-8A59-4C2C-9E72-2938A7EFC99D}" styleName="18e3577b-8a59-4c2c-9e72-2938a7efc99d">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3F9C35"/>
          </a:solidFill>
        </a:fill>
      </a:tcStyle>
    </a:firstRow>
    <a:neCell>
      <a:tcTxStyle b="on">
        <a:srgbClr val="FFFFFF"/>
      </a:tcTxStyle>
      <a:tcStyle>
        <a:tcBdr>
          <a:left>
            <a:ln w="6350" cmpd="sng">
              <a:solidFill>
                <a:srgbClr val="FFFFFF"/>
              </a:solidFill>
            </a:ln>
          </a:left>
        </a:tcBdr>
        <a:fill>
          <a:solidFill>
            <a:srgbClr val="3F9C35"/>
          </a:solidFill>
        </a:fill>
      </a:tcStyle>
    </a:neCell>
    <a:nwCell>
      <a:tcTxStyle b="on">
        <a:srgbClr val="FFFFFF"/>
      </a:tcTxStyle>
      <a:tcStyle>
        <a:tcBdr>
          <a:right>
            <a:ln w="6350" cmpd="sng">
              <a:solidFill>
                <a:srgbClr val="FFFFFF"/>
              </a:solidFill>
            </a:ln>
          </a:right>
        </a:tcBdr>
        <a:fill>
          <a:solidFill>
            <a:srgbClr val="3F9C35"/>
          </a:solidFill>
        </a:fill>
      </a:tcStyle>
    </a:nwCell>
  </a:tblStyle>
  <a:tblStyle styleId="{4F0ABE44-1530-45C5-89F8-5321396EAA25}" styleName="4f0abe44-1530-45c5-89f8-5321396eaa25">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63666A"/>
      </a:tcTxStyle>
      <a:tcStyle>
        <a:tcBdr/>
        <a:fill>
          <a:solidFill>
            <a:srgbClr val="FFFFFF"/>
          </a:solidFill>
        </a:fill>
      </a:tcStyle>
    </a:seCell>
    <a:swCell>
      <a:tcTxStyle b="on">
        <a:srgbClr val="009CDE"/>
      </a:tcTxStyle>
      <a:tcStyle>
        <a:tcBdr/>
        <a:fill>
          <a:solidFill>
            <a:srgbClr val="FFFFFF"/>
          </a:solidFill>
        </a:fill>
      </a:tcStyle>
    </a:swCell>
    <a:firstRow>
      <a:tcTxStyle b="on">
        <a:srgbClr val="3F9C35"/>
      </a:tcTxStyle>
      <a:tcStyle>
        <a:tcBdr>
          <a:bottom>
            <a:ln w="6350" cmpd="sng">
              <a:solidFill>
                <a:srgbClr val="63666A"/>
              </a:solidFill>
            </a:ln>
          </a:bottom>
        </a:tcBdr>
        <a:fill>
          <a:solidFill>
            <a:srgbClr val="FFFFFF"/>
          </a:solidFill>
        </a:fill>
      </a:tcStyle>
    </a:firstRow>
    <a:neCell>
      <a:tcTxStyle b="on">
        <a:srgbClr val="3F9C35"/>
      </a:tcTxStyle>
      <a:tcStyle>
        <a:tcBdr/>
        <a:fill>
          <a:solidFill>
            <a:srgbClr val="FFFFFF"/>
          </a:solidFill>
        </a:fill>
      </a:tcStyle>
    </a:neCell>
    <a:nwCell>
      <a:tcTxStyle b="on">
        <a:srgbClr val="3F9C35"/>
      </a:tcTxStyle>
      <a:tcStyle>
        <a:tcBdr/>
        <a:fill>
          <a:solidFill>
            <a:srgbClr val="FFFFFF"/>
          </a:solidFill>
        </a:fill>
      </a:tcStyle>
    </a:nwCell>
  </a:tblStyle>
  <a:tblStyle styleId="{1FC1ACD5-6BEC-4E3E-BD23-0B4618AC4B78}" styleName="1fc1acd5-6bec-4e3e-bd23-0b4618ac4b78">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CF7C4D8D-61CF-4DA8-90C6-D7FB3C517326}" styleName="cf7c4d8d-61cf-4da8-90c6-d7fb3c517326">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B6525880-01AC-4E81-9482-314F76DEB9E2}" styleName="b6525880-01ac-4e81-9482-314f76deb9e2">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w="6350" cmpd="sng">
              <a:solidFill>
                <a:srgbClr val="63666A"/>
              </a:solidFill>
            </a:ln>
          </a:bottom>
          <a:insideV>
            <a:ln w="6350" cmpd="sng">
              <a:solidFill>
                <a:srgbClr val="FFFFFF"/>
              </a:solidFill>
            </a:ln>
          </a:insideV>
        </a:tcBdr>
        <a:fill>
          <a:solidFill>
            <a:srgbClr val="3F9C35"/>
          </a:solidFill>
        </a:fill>
      </a:tcStyle>
    </a:firstRow>
    <a:neCell>
      <a:tcTxStyle b="on">
        <a:srgbClr val="FFFFFF"/>
      </a:tcTxStyle>
      <a:tcStyle>
        <a:tcBdr>
          <a:left>
            <a:ln w="6350" cmpd="sng">
              <a:solidFill>
                <a:srgbClr val="FFFFFF"/>
              </a:solidFill>
            </a:ln>
          </a:left>
        </a:tcBdr>
        <a:fill>
          <a:solidFill>
            <a:srgbClr val="3F9C35"/>
          </a:solidFill>
        </a:fill>
      </a:tcStyle>
    </a:neCell>
    <a:nwCell>
      <a:tcTxStyle b="on">
        <a:srgbClr val="FFFFFF"/>
      </a:tcTxStyle>
      <a:tcStyle>
        <a:tcBdr>
          <a:right>
            <a:ln w="6350" cmpd="sng">
              <a:solidFill>
                <a:srgbClr val="FFFFFF"/>
              </a:solidFill>
            </a:ln>
          </a:right>
          <a:bottom>
            <a:ln>
              <a:noFill/>
            </a:ln>
          </a:bottom>
        </a:tcBdr>
        <a:fill>
          <a:solidFill>
            <a:srgbClr val="3F9C35"/>
          </a:solidFill>
        </a:fill>
      </a:tcStyle>
    </a:nwCell>
  </a:tblStyle>
  <a:tblStyle styleId="{CFE2B617-6DB7-4597-8C8C-99A8E3E31FE7}" styleName="cfe2b617-6db7-4597-8c8c-99a8e3e31fe7">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ff">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3F9C35"/>
      </a:tcTxStyle>
      <a:tcStyle>
        <a:tcBdr>
          <a:bottom>
            <a:ln w="6350" cmpd="sng">
              <a:solidFill>
                <a:srgbClr val="63666A"/>
              </a:solidFill>
            </a:ln>
          </a:bottom>
        </a:tcBdr>
        <a:fill>
          <a:solidFill>
            <a:srgbClr val="FFFFFF"/>
          </a:solidFill>
        </a:fill>
      </a:tcStyle>
    </a:firstRow>
    <a:neCell>
      <a:tcTxStyle b="on">
        <a:srgbClr val="3F9C35"/>
      </a:tcTxStyle>
      <a:tcStyle>
        <a:tcBdr/>
        <a:fill>
          <a:solidFill>
            <a:srgbClr val="FFFFFF"/>
          </a:solidFill>
        </a:fill>
      </a:tcStyle>
    </a:neCell>
    <a:nwCell>
      <a:tcTxStyle b="on">
        <a:srgbClr val="3F9C35"/>
      </a:tcTxStyle>
      <a:tcStyle>
        <a:tcBdr/>
        <a:fill>
          <a:solidFill>
            <a:srgbClr val="FFFFFF"/>
          </a:solidFill>
        </a:fill>
      </a:tcStyle>
    </a:nwCell>
  </a:tblStyle>
  <a:tblStyle styleId="{FF2B7BE3-6F92-47DB-AE53-CB1C3E760DEB}" styleName="ff2b7be3-6f92-47db-ae53-cb1c3e760deb">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D69F51BF-0EC6-4A08-9BF1-C8C72D57C452}" styleName="d69f51bf-0ec6-4a08-9bf1-c8c72d57c452">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6439D7A4-0909-4A2E-8892-E73240484608}" styleName="6439d7a4-0909-4a2e-8892-e73240484608">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3F9C35"/>
          </a:solidFill>
        </a:fill>
      </a:tcStyle>
    </a:firstRow>
    <a:neCell>
      <a:tcTxStyle b="on">
        <a:srgbClr val="FFFFFF"/>
      </a:tcTxStyle>
      <a:tcStyle>
        <a:tcBdr>
          <a:left>
            <a:ln w="6350" cmpd="sng">
              <a:solidFill>
                <a:srgbClr val="FFFFFF"/>
              </a:solidFill>
            </a:ln>
          </a:left>
        </a:tcBdr>
        <a:fill>
          <a:solidFill>
            <a:srgbClr val="3F9C35"/>
          </a:solidFill>
        </a:fill>
      </a:tcStyle>
    </a:neCell>
    <a:nwCell>
      <a:tcTxStyle b="on">
        <a:srgbClr val="FFFFFF"/>
      </a:tcTxStyle>
      <a:tcStyle>
        <a:tcBdr>
          <a:right>
            <a:ln w="6350" cmpd="sng">
              <a:solidFill>
                <a:srgbClr val="FFFFFF"/>
              </a:solidFill>
            </a:ln>
          </a:right>
        </a:tcBdr>
        <a:fill>
          <a:solidFill>
            <a:srgbClr val="3F9C35"/>
          </a:solidFill>
        </a:fill>
      </a:tcStyle>
    </a:nwCell>
  </a:tblStyle>
  <a:tblStyle styleId="{C6885304-BE64-432D-A788-74BF2C04183E}" styleName="c6885304-be64-432d-a788-74bf2c04183e">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63666A"/>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ff">
        <a:srgbClr val="63666A"/>
      </a:tcTxStyle>
      <a:tcStyle>
        <a:tcBdr/>
        <a:fill>
          <a:solidFill>
            <a:srgbClr val="FFFFFF"/>
          </a:solidFill>
        </a:fill>
      </a:tcStyle>
    </a:seCell>
    <a:swCell>
      <a:tcTxStyle b="on">
        <a:srgbClr val="009CDE"/>
      </a:tcTxStyle>
      <a:tcStyle>
        <a:tcBdr/>
        <a:fill>
          <a:solidFill>
            <a:srgbClr val="FFFFFF"/>
          </a:solidFill>
        </a:fill>
      </a:tcStyle>
    </a:swCell>
    <a:firstRow>
      <a:tcTxStyle b="on">
        <a:srgbClr val="3F9C35"/>
      </a:tcTxStyle>
      <a:tcStyle>
        <a:tcBdr>
          <a:bottom>
            <a:ln w="6350" cmpd="sng">
              <a:solidFill>
                <a:srgbClr val="63666A"/>
              </a:solidFill>
            </a:ln>
          </a:bottom>
        </a:tcBdr>
        <a:fill>
          <a:solidFill>
            <a:srgbClr val="FFFFFF"/>
          </a:solidFill>
        </a:fill>
      </a:tcStyle>
    </a:firstRow>
    <a:neCell>
      <a:tcTxStyle b="on">
        <a:srgbClr val="3F9C35"/>
      </a:tcTxStyle>
      <a:tcStyle>
        <a:tcBdr/>
        <a:fill>
          <a:solidFill>
            <a:srgbClr val="FFFFFF"/>
          </a:solidFill>
        </a:fill>
      </a:tcStyle>
    </a:neCell>
    <a:nwCell>
      <a:tcTxStyle b="on">
        <a:srgbClr val="3F9C35"/>
      </a:tcTxStyle>
      <a:tcStyle>
        <a:tcBdr/>
        <a:fill>
          <a:solidFill>
            <a:srgbClr val="FFFFFF"/>
          </a:solidFill>
        </a:fill>
      </a:tcStyle>
    </a:nwCell>
  </a:tblStyle>
  <a:tblStyle styleId="{3B525E7E-5014-4AC9-BBAB-A94C9DE6C0F1}" styleName="3b525e7e-5014-4ac9-bbab-a94c9de6c0f1">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009CDE"/>
      </a:tcTxStyle>
      <a:tcStyle>
        <a:tcBdr>
          <a:left>
            <a:ln w="6350" cmpd="sng">
              <a:solidFill>
                <a:srgbClr val="63666A"/>
              </a:solidFill>
            </a:ln>
          </a:left>
        </a:tcBdr>
        <a:fill>
          <a:solidFill>
            <a:srgbClr val="FFFFFF"/>
          </a:solidFill>
        </a:fill>
      </a:tcStyle>
    </a:lastCol>
    <a:firstCol>
      <a:tcTxStyle b="on">
        <a:srgbClr val="009CDE"/>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4A526CB8-A4B8-4C31-94BE-5AD56AC09E58}" styleName="4a526cb8-a4b8-4c31-94be-5ad56ac09e58">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009CDE"/>
          </a:solidFill>
        </a:fill>
      </a:tcStyle>
    </a:firstRow>
    <a:neCell>
      <a:tcTxStyle b="on">
        <a:srgbClr val="FFFFFF"/>
      </a:tcTxStyle>
      <a:tcStyle>
        <a:tcBdr>
          <a:left>
            <a:ln w="6350" cmpd="sng">
              <a:solidFill>
                <a:srgbClr val="FFFFFF"/>
              </a:solidFill>
            </a:ln>
          </a:left>
        </a:tcBdr>
        <a:fill>
          <a:solidFill>
            <a:srgbClr val="009CDE"/>
          </a:solidFill>
        </a:fill>
      </a:tcStyle>
    </a:neCell>
    <a:nwCell>
      <a:tcTxStyle b="on">
        <a:srgbClr val="FFFFFF"/>
      </a:tcTxStyle>
      <a:tcStyle>
        <a:tcBdr>
          <a:right>
            <a:ln w="6350" cmpd="sng">
              <a:solidFill>
                <a:srgbClr val="FFFFFF"/>
              </a:solidFill>
            </a:ln>
          </a:right>
        </a:tcBdr>
        <a:fill>
          <a:solidFill>
            <a:srgbClr val="009CDE"/>
          </a:solidFill>
        </a:fill>
      </a:tcStyle>
    </a:nwCell>
  </a:tblStyle>
  <a:tblStyle styleId="{7D4DF4C1-129B-494C-98F2-2FF7BCB8B6FF}" styleName="7d4df4c1-129b-494c-98f2-2ff7bcb8b6ff">
    <a:tblBg>
      <a:fill>
        <a:noFill/>
      </a:fill>
    </a:tblBg>
    <a:wholeTbl>
      <a:tcTxStyle b="off">
        <a:srgbClr val="63666A"/>
      </a:tcTxStyle>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3F9C35"/>
      </a:tcTxStyle>
      <a:tcStyle>
        <a:tcBdr>
          <a:left>
            <a:ln w="6350" cmpd="sng">
              <a:solidFill>
                <a:srgbClr val="63666A"/>
              </a:solidFill>
            </a:ln>
          </a:left>
        </a:tcBdr>
        <a:fill>
          <a:solidFill>
            <a:srgbClr val="FFFFFF"/>
          </a:solidFill>
        </a:fill>
      </a:tcStyle>
    </a:lastCol>
    <a:firstCol>
      <a:tcTxStyle b="on">
        <a:srgbClr val="3F9C35"/>
      </a:tcTxStyle>
      <a:tcStyle>
        <a:tcBdr>
          <a:right>
            <a:ln w="6350" cmpd="sng">
              <a:solidFill>
                <a:srgbClr val="63666A"/>
              </a:solidFill>
            </a:ln>
          </a:right>
        </a:tcBdr>
        <a:fill>
          <a:solidFill>
            <a:srgbClr val="FFFFFF"/>
          </a:solidFill>
        </a:fill>
      </a:tcStyle>
    </a:firstCol>
    <a:lastRow>
      <a:tcTxStyle b="on">
        <a:srgbClr val="63666A"/>
      </a:tcTxStyle>
      <a:tcStyle>
        <a:tcBdr>
          <a:top>
            <a:ln w="6350" cmpd="sng">
              <a:solidFill>
                <a:srgbClr val="63666A"/>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bottom>
            <a:ln>
              <a:noFill/>
            </a:ln>
          </a:bottom>
          <a:insideV>
            <a:ln w="6350" cmpd="sng">
              <a:solidFill>
                <a:srgbClr val="FFFFFF"/>
              </a:solidFill>
            </a:ln>
          </a:insideV>
        </a:tcBdr>
        <a:fill>
          <a:solidFill>
            <a:srgbClr val="3F9C35"/>
          </a:solidFill>
        </a:fill>
      </a:tcStyle>
    </a:firstRow>
    <a:neCell>
      <a:tcTxStyle b="on">
        <a:srgbClr val="FFFFFF"/>
      </a:tcTxStyle>
      <a:tcStyle>
        <a:tcBdr>
          <a:left>
            <a:ln w="6350" cmpd="sng">
              <a:solidFill>
                <a:srgbClr val="FFFFFF"/>
              </a:solidFill>
            </a:ln>
          </a:left>
        </a:tcBdr>
        <a:fill>
          <a:solidFill>
            <a:srgbClr val="3F9C35"/>
          </a:solidFill>
        </a:fill>
      </a:tcStyle>
    </a:neCell>
    <a:nwCell>
      <a:tcTxStyle b="on">
        <a:srgbClr val="FFFFFF"/>
      </a:tcTxStyle>
      <a:tcStyle>
        <a:tcBdr>
          <a:right>
            <a:ln w="6350" cmpd="sng">
              <a:solidFill>
                <a:srgbClr val="FFFFFF"/>
              </a:solidFill>
            </a:ln>
          </a:right>
        </a:tcBdr>
        <a:fill>
          <a:solidFill>
            <a:srgbClr val="3F9C35"/>
          </a:solidFill>
        </a:fill>
      </a:tcStyle>
    </a:nwCell>
  </a:tblStyle>
  <a:tblStyle styleId="{83D41FDA-244C-4146-AF9E-E15E24919CF4}" styleName="83d41fda-244c-4146-af9e-e15e24919cf4">
    <a:tblBg>
      <a:fill>
        <a:noFill/>
      </a:fill>
    </a:tblBg>
    <a:wholeTbl>
      <a:tcTxStyle b="off">
        <a:srgbClr val="63666A"/>
      </a:tcTxStyle>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63666A"/>
      </a:tcTxStyle>
      <a:tcStyle>
        <a:tcBdr/>
        <a:fill>
          <a:solidFill>
            <a:srgbClr val="E7E7E8"/>
          </a:solidFill>
        </a:fill>
      </a:tcStyle>
    </a:firstCol>
    <a:lastRow>
      <a:tcTxStyle b="on">
        <a:srgbClr val="009CDE"/>
      </a:tcTxStyle>
      <a:tcStyle>
        <a:tcBdr>
          <a:top>
            <a:ln w="6350" cmpd="sng">
              <a:solidFill>
                <a:srgbClr val="009CDE"/>
              </a:solidFill>
            </a:ln>
          </a:top>
          <a:bottom>
            <a:ln w="6350" cmpd="sng">
              <a:solidFill>
                <a:srgbClr val="009CDE"/>
              </a:solid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E7E7E8"/>
          </a:solidFill>
        </a:fill>
      </a:tcStyle>
    </a:swCell>
    <a:firstRow>
      <a:tcTxStyle b="on">
        <a:srgbClr val="FFFFFF"/>
      </a:tcTxStyle>
      <a:tcStyle>
        <a:tcBdr>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3E022EEF-2096-45BF-9D4D-90A1A4217335}" styleName="3e022eef-2096-45bf-9d4d-90a1a4217335">
    <a:tblBg>
      <a:fill>
        <a:noFill/>
      </a:fill>
    </a:tblBg>
    <a:wholeTbl>
      <a:tcTxStyle b="off">
        <a:srgbClr val="63666A"/>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63666A"/>
      </a:tcTxStyle>
      <a:tcStyle>
        <a:tcBdr/>
        <a:fill>
          <a:solidFill>
            <a:srgbClr val="E7E7E8"/>
          </a:solidFill>
        </a:fill>
      </a:tcStyle>
    </a:firstCol>
    <a:lastRow>
      <a:tcTxStyle b="on">
        <a:srgbClr val="009CDE"/>
      </a:tcTxStyle>
      <a:tcStyle>
        <a:tcBdr>
          <a:top>
            <a:ln w="6350" cmpd="sng">
              <a:solidFill>
                <a:srgbClr val="009CDE"/>
              </a:solidFill>
            </a:ln>
          </a:top>
          <a:bottom>
            <a:ln w="6350" cmpd="sng">
              <a:solidFill>
                <a:srgbClr val="009CDE"/>
              </a:solid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E7E7E8"/>
          </a:solidFill>
        </a:fill>
      </a:tcStyle>
    </a:swCell>
    <a:firstRow>
      <a:tcTxStyle b="on">
        <a:srgbClr val="FFFFFF"/>
      </a:tcTxStyle>
      <a:tcStyle>
        <a:tcBdr>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F326BA0D-854C-4254-A63A-3777FB73139E}" styleName="f326ba0d-854c-4254-a63a-3777fb73139e">
    <a:tblBg>
      <a:fill>
        <a:noFill/>
      </a:fill>
    </a:tblBg>
    <a:wholeTbl>
      <a:tcTxStyle b="off">
        <a:srgbClr val="63666A"/>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63666A"/>
      </a:tcTxStyle>
      <a:tcStyle>
        <a:tcBdr/>
        <a:fill>
          <a:solidFill>
            <a:srgbClr val="FFFFFF"/>
          </a:solidFill>
        </a:fill>
      </a:tcStyle>
    </a:firstCol>
    <a:lastRow>
      <a:tcTxStyle b="on">
        <a:srgbClr val="009CDE"/>
      </a:tcTxStyle>
      <a:tcStyle>
        <a:tcBdr>
          <a:top>
            <a:ln w="6350" cmpd="sng">
              <a:solidFill>
                <a:srgbClr val="009CDE"/>
              </a:solidFill>
            </a:ln>
          </a:top>
          <a:bottom>
            <a:ln w="6350" cmpd="sng">
              <a:solidFill>
                <a:srgbClr val="009CDE"/>
              </a:solid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580516BF-0A7D-4B65-AE2D-741B9C1DB739}" styleName="580516bf-0a7d-4b65-ae2d-741b9c1db739">
    <a:tblBg>
      <a:fill>
        <a:noFill/>
      </a:fill>
    </a:tblBg>
    <a:wholeTbl>
      <a:tcTxStyle b="off">
        <a:srgbClr val="63666A"/>
      </a:tcTxStyle>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63666A"/>
      </a:tcTxStyle>
      <a:tcStyle>
        <a:tcBdr/>
        <a:fill>
          <a:solidFill>
            <a:srgbClr val="E7E7E8"/>
          </a:solidFill>
        </a:fill>
      </a:tcStyle>
    </a:firstCol>
    <a:lastRow>
      <a:tcTxStyle b="on">
        <a:srgbClr val="009CDE"/>
      </a:tcTxStyle>
      <a:tcStyle>
        <a:tcBdr>
          <a:top>
            <a:ln w="6350" cmpd="sng">
              <a:solidFill>
                <a:srgbClr val="009CDE"/>
              </a:solidFill>
            </a:ln>
          </a:top>
          <a:bottom>
            <a:ln w="6350" cmpd="sng">
              <a:solidFill>
                <a:srgbClr val="009CDE"/>
              </a:solid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E7E7E8"/>
          </a:solidFill>
        </a:fill>
      </a:tcStyle>
    </a:swCell>
    <a:firstRow>
      <a:tcTxStyle b="on">
        <a:srgbClr val="FFFFFF"/>
      </a:tcTxStyle>
      <a:tcStyle>
        <a:tcBdr>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211E1B6B-7033-45EC-8ACF-8645DB2CBFD7}" styleName="211e1b6b-7033-45ec-8acf-8645db2cbfd7">
    <a:tblBg>
      <a:fill>
        <a:noFill/>
      </a:fill>
    </a:tblBg>
    <a:wholeTbl>
      <a:tcTxStyle b="off">
        <a:srgbClr val="63666A"/>
      </a:tcTxStyle>
      <a:tcStyle>
        <a:tcBdr>
          <a:left>
            <a:ln>
              <a:noFill/>
            </a:ln>
          </a:left>
          <a:right>
            <a:ln>
              <a:noFill/>
            </a:ln>
          </a:right>
          <a:top>
            <a:ln>
              <a:noFill/>
            </a:ln>
          </a:top>
          <a:bottom>
            <a:ln>
              <a:noFill/>
            </a:ln>
          </a:bottom>
          <a:insideH>
            <a:ln w="6350" cmpd="sng">
              <a:solidFill>
                <a:srgbClr val="FFFFFF"/>
              </a:solidFill>
            </a:ln>
          </a:insideH>
          <a:insideV>
            <a:ln w="6350" cmpd="sng">
              <a:solidFill>
                <a:srgbClr val="FFFFFF"/>
              </a:solidFill>
            </a:ln>
          </a:insideV>
        </a:tcBdr>
        <a:fill>
          <a:solidFill>
            <a:srgbClr val="CFD0D1"/>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left>
            <a:ln w="6350" cmpd="sng">
              <a:solidFill>
                <a:srgbClr val="FFFFFF"/>
              </a:solidFill>
            </a:ln>
          </a:left>
        </a:tcBdr>
        <a:fill>
          <a:solidFill>
            <a:srgbClr val="CFD0D1"/>
          </a:solidFill>
        </a:fill>
      </a:tcStyle>
    </a:lastCol>
    <a:firstCol>
      <a:tcTxStyle b="off">
        <a:srgbClr val="FFFFFF"/>
      </a:tcTxStyle>
      <a:tcStyle>
        <a:tcBdr/>
        <a:fill>
          <a:solidFill>
            <a:srgbClr val="009CDE"/>
          </a:solidFill>
        </a:fill>
      </a:tcStyle>
    </a:firstCol>
    <a:lastRow>
      <a:tcTxStyle b="on">
        <a:srgbClr val="63666A"/>
      </a:tcTxStyle>
      <a:tcStyle>
        <a:tcBdr>
          <a:top>
            <a:ln w="6350" cmpd="sng">
              <a:solidFill>
                <a:srgbClr val="FFFFFF"/>
              </a:solidFill>
            </a:ln>
          </a:top>
        </a:tcBdr>
        <a:fill>
          <a:solidFill>
            <a:srgbClr val="CFD0D1"/>
          </a:solidFill>
        </a:fill>
      </a:tcStyle>
    </a:lastRow>
    <a:seCell>
      <a:tcTxStyle b="on">
        <a:srgbClr val="63666A"/>
      </a:tcTxStyle>
      <a:tcStyle>
        <a:tcBdr>
          <a:right>
            <a:ln w="6350" cmpd="sng">
              <a:solidFill>
                <a:srgbClr val="FFFFFF"/>
              </a:solidFill>
            </a:ln>
          </a:right>
        </a:tcBdr>
        <a:fill>
          <a:solidFill>
            <a:srgbClr val="CFD0D1"/>
          </a:solidFill>
        </a:fill>
      </a:tcStyle>
    </a:seCell>
    <a:swCell>
      <a:tcTxStyle b="off">
        <a:srgbClr val="FFFFFF"/>
      </a:tcTxStyle>
      <a:tcStyle>
        <a:tcBdr/>
        <a:fill>
          <a:solidFill>
            <a:srgbClr val="009CDE"/>
          </a:solidFill>
        </a:fill>
      </a:tcStyle>
    </a:swCell>
    <a:firstRow>
      <a:tcTxStyle b="off">
        <a:srgbClr val="FFFFFF"/>
      </a:tcTxStyle>
      <a:tcStyle>
        <a:tcBdr>
          <a:bottom>
            <a:ln w="6350" cmpd="sng">
              <a:solidFill>
                <a:srgbClr val="FFFFFF"/>
              </a:solidFill>
            </a:ln>
          </a:bottom>
        </a:tcBdr>
        <a:fill>
          <a:solidFill>
            <a:srgbClr val="3F9C35"/>
          </a:solidFill>
        </a:fill>
      </a:tcStyle>
    </a:firstRow>
    <a:neCell>
      <a:tcTxStyle b="off">
        <a:srgbClr val="FFFFFF"/>
      </a:tcTxStyle>
      <a:tcStyle>
        <a:tcBdr/>
        <a:fill>
          <a:solidFill>
            <a:srgbClr val="3F9C35"/>
          </a:solidFill>
        </a:fill>
      </a:tcStyle>
    </a:neCell>
    <a:nwCell>
      <a:tcTxStyle b="on">
        <a:srgbClr val="FFFFFF"/>
      </a:tcTxStyle>
      <a:tcStyle>
        <a:tcBdr/>
        <a:fill>
          <a:solidFill>
            <a:srgbClr val="FFFFFF"/>
          </a:solidFill>
        </a:fill>
      </a:tcStyle>
    </a:nwCell>
  </a:tblStyle>
  <a:tblStyle styleId="{4B7161A7-809D-4C36-8B8D-018667C3F450}" styleName="4b7161a7-809d-4c36-8b8d-018667c3f450">
    <a:tblBg>
      <a:fill>
        <a:noFill/>
      </a:fill>
    </a:tblBg>
    <a:wholeTbl>
      <a:tcTxStyle b="off">
        <a:srgbClr val="63666A"/>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63666A"/>
      </a:tcTxStyle>
      <a:tcStyle>
        <a:tcBdr/>
        <a:fill>
          <a:solidFill>
            <a:srgbClr val="E7E7E8"/>
          </a:solidFill>
        </a:fill>
      </a:tcStyle>
    </a:firstCol>
    <a:lastRow>
      <a:tcTxStyle b="on">
        <a:srgbClr val="009CDE"/>
      </a:tcTxStyle>
      <a:tcStyle>
        <a:tcBdr>
          <a:top>
            <a:ln w="6350" cmpd="sng">
              <a:solidFill>
                <a:srgbClr val="009CDE"/>
              </a:solidFill>
            </a:ln>
          </a:top>
          <a:bottom>
            <a:ln w="6350" cmpd="sng">
              <a:solidFill>
                <a:srgbClr val="009CDE"/>
              </a:solid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E7E7E8"/>
          </a:solidFill>
        </a:fill>
      </a:tcStyle>
    </a:swCell>
    <a:firstRow>
      <a:tcTxStyle b="on">
        <a:srgbClr val="FFFFFF"/>
      </a:tcTxStyle>
      <a:tcStyle>
        <a:tcBdr>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15571BC2-AB13-4787-9F95-057948E3A377}" styleName="15571bc2-ab13-4787-9f95-057948e3a377">
    <a:tblBg>
      <a:fill>
        <a:noFill/>
      </a:fill>
    </a:tblBg>
    <a:wholeTbl>
      <a:tcTxStyle b="off">
        <a:srgbClr val="63666A"/>
      </a:tcTxStyle>
      <a:tcStyle>
        <a:tcBdr>
          <a:left>
            <a:ln>
              <a:noFill/>
            </a:ln>
          </a:left>
          <a:right>
            <a:ln>
              <a:noFill/>
            </a:ln>
          </a:right>
          <a:top>
            <a:ln>
              <a:noFill/>
            </a:ln>
          </a:top>
          <a:bottom>
            <a:ln>
              <a:noFill/>
            </a:ln>
          </a:bottom>
          <a:insideH>
            <a:ln w="6350" cmpd="sng">
              <a:solidFill>
                <a:srgbClr val="009CDE"/>
              </a:solidFill>
            </a:ln>
          </a:insideH>
          <a:insideV>
            <a:ln w="6350" cmpd="sng">
              <a:solidFill>
                <a:srgbClr val="009CDE"/>
              </a:solid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n">
        <a:srgbClr val="63666A"/>
      </a:tcTxStyle>
      <a:tcStyle>
        <a:tcBdr>
          <a:left>
            <a:ln w="6350" cmpd="sng">
              <a:solidFill>
                <a:srgbClr val="009CDE"/>
              </a:solidFill>
            </a:ln>
          </a:left>
          <a:right>
            <a:ln w="6350" cmpd="sng">
              <a:solidFill>
                <a:srgbClr val="009CDE"/>
              </a:solidFill>
            </a:ln>
          </a:right>
        </a:tcBdr>
        <a:fill>
          <a:solidFill>
            <a:srgbClr val="FFFFFF"/>
          </a:solidFill>
        </a:fill>
      </a:tcStyle>
    </a:lastCol>
    <a:firstCol>
      <a:tcTxStyle b="on">
        <a:srgbClr val="009CDE"/>
      </a:tcTxStyle>
      <a:tcStyle>
        <a:tcBdr>
          <a:left>
            <a:ln w="6350" cmpd="sng">
              <a:solidFill>
                <a:srgbClr val="009CDE"/>
              </a:solidFill>
            </a:ln>
          </a:left>
          <a:right>
            <a:ln w="6350" cmpd="sng">
              <a:solidFill>
                <a:srgbClr val="009CDE"/>
              </a:solidFill>
            </a:ln>
          </a:right>
        </a:tcBdr>
        <a:fill>
          <a:solidFill>
            <a:srgbClr val="FFFFFF"/>
          </a:solidFill>
        </a:fill>
      </a:tcStyle>
    </a:firstCol>
    <a:lastRow>
      <a:tcTxStyle b="on">
        <a:srgbClr val="009CDE"/>
      </a:tcTxStyle>
      <a:tcStyle>
        <a:tcBdr>
          <a:top>
            <a:ln w="6350" cmpd="sng">
              <a:solidFill>
                <a:srgbClr val="009CDE"/>
              </a:solidFill>
            </a:ln>
          </a:top>
          <a:bottom>
            <a:ln w="6350" cmpd="sng">
              <a:solidFill>
                <a:srgbClr val="009CDE"/>
              </a:solid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bottom>
            <a:ln>
              <a:noFill/>
            </a:ln>
          </a:bottom>
        </a:tcBdr>
        <a:fill>
          <a:solidFill>
            <a:srgbClr val="009CDE"/>
          </a:solidFill>
        </a:fill>
      </a:tcStyle>
    </a:firstRow>
    <a:neCell>
      <a:tcTxStyle b="on">
        <a:srgbClr val="FFFFFF"/>
      </a:tcTxStyle>
      <a:tcStyle>
        <a:tcBdr>
          <a:left>
            <a:ln>
              <a:noFill/>
            </a:ln>
          </a:left>
          <a:right>
            <a:ln>
              <a:noFill/>
            </a:ln>
          </a:right>
        </a:tcBdr>
        <a:fill>
          <a:solidFill>
            <a:srgbClr val="009CDE"/>
          </a:solidFill>
        </a:fill>
      </a:tcStyle>
    </a:neCell>
    <a:nwCell>
      <a:tcTxStyle b="on">
        <a:srgbClr val="FFFFFF"/>
      </a:tcTxStyle>
      <a:tcStyle>
        <a:tcBdr>
          <a:left>
            <a:ln>
              <a:noFill/>
            </a:ln>
          </a:left>
          <a:right>
            <a:ln>
              <a:noFill/>
            </a:ln>
          </a:right>
        </a:tcBdr>
        <a:fill>
          <a:solidFill>
            <a:srgbClr val="009CDE"/>
          </a:solidFill>
        </a:fill>
      </a:tcStyle>
    </a:nwCell>
  </a:tblStyle>
  <a:tblStyle styleId="{BD517ECA-3DF4-4A0F-B9F0-EDFC76FECE06}" styleName="bd517eca-3df4-4a0f-b9f0-edfc76fece06">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ff">
        <a:srgbClr val="63666A"/>
      </a:tcTxStyle>
      <a:tcStyle>
        <a:tcBdr/>
        <a:fill>
          <a:solidFill>
            <a:srgbClr val="FFFFFF"/>
          </a:solidFill>
        </a:fill>
      </a:tcStyle>
    </a:firstCol>
    <a:lastRow>
      <a:tcTxStyle b="on">
        <a:srgbClr val="3F9C35"/>
      </a:tcTxStyle>
      <a:tcStyle>
        <a:tcBdr>
          <a:top>
            <a:ln w="6350" cmpd="sng">
              <a:solidFill>
                <a:srgbClr val="3F9C35"/>
              </a:solidFill>
            </a:ln>
          </a:top>
          <a:bottom>
            <a:ln w="6350" cmpd="sng">
              <a:solidFill>
                <a:srgbClr val="3F9C35"/>
              </a:solidFill>
            </a:ln>
          </a:bottom>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4D7C27EC-F079-4F70-8378-CE6967E9D097}" styleName="4d7c27ec-f079-4f70-8378-ce6967e9d097">
    <a:tblBg>
      <a:fill>
        <a:noFill/>
      </a:fill>
    </a:tblBg>
    <a:wholeTbl>
      <a:tcTxStyle b="off">
        <a:srgbClr val="000000"/>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TxStyle b="off">
        <a:srgbClr val="000000"/>
      </a:tcTxStyle>
      <a:tcStyle>
        <a:tcBdr/>
        <a:fill>
          <a:solidFill>
            <a:srgbClr val="FFFFFF"/>
          </a:solidFill>
        </a:fill>
      </a:tcStyle>
    </a:band2H>
    <a:band1V>
      <a:tcStyle>
        <a:tcBdr/>
      </a:tcStyle>
    </a:band1V>
    <a:band2V>
      <a:tcStyle>
        <a:tcBdr/>
      </a:tcStyle>
    </a:band2V>
    <a:lastCol>
      <a:tcTxStyle b="off">
        <a:srgbClr val="000000"/>
      </a:tcTxStyle>
      <a:tcStyle>
        <a:tcBdr/>
        <a:fill>
          <a:solidFill>
            <a:srgbClr val="FFFFFF"/>
          </a:solidFill>
        </a:fill>
      </a:tcStyle>
    </a:lastCol>
    <a:firstCol>
      <a:tcTxStyle b="off">
        <a:srgbClr val="000000"/>
      </a:tcTxStyle>
      <a:tcStyle>
        <a:tcBdr/>
        <a:fill>
          <a:solidFill>
            <a:srgbClr val="FFFFFF"/>
          </a:solidFill>
        </a:fill>
      </a:tcStyle>
    </a:firstCol>
    <a:lastRow>
      <a:tcTxStyle b="off">
        <a:srgbClr val="000000"/>
      </a:tcTxStyle>
      <a:tcStyle>
        <a:tcBdr>
          <a:top>
            <a:ln>
              <a:noFill/>
            </a:ln>
          </a:top>
        </a:tcBdr>
        <a:fill>
          <a:solidFill>
            <a:srgbClr val="FFFFFF"/>
          </a:solidFill>
        </a:fill>
      </a:tcStyle>
    </a:lastRow>
    <a:seCell>
      <a:tcTxStyle b="off">
        <a:srgbClr val="000000"/>
      </a:tcTxStyle>
      <a:tcStyle>
        <a:tcBdr/>
        <a:fill>
          <a:solidFill>
            <a:srgbClr val="FFFFFF"/>
          </a:solidFill>
        </a:fill>
      </a:tcStyle>
    </a:seCell>
    <a:swCell>
      <a:tcTxStyle b="off">
        <a:srgbClr val="000000"/>
      </a:tcTxStyle>
      <a:tcStyle>
        <a:tcBdr/>
        <a:fill>
          <a:solidFill>
            <a:srgbClr val="FFFFFF"/>
          </a:solidFill>
        </a:fill>
      </a:tcStyle>
    </a:swCell>
    <a:firstRow>
      <a:tcTxStyle b="off">
        <a:srgbClr val="000000"/>
      </a:tcTxStyle>
      <a:tcStyle>
        <a:tcBdr>
          <a:bottom>
            <a:ln>
              <a:noFill/>
            </a:ln>
          </a:bottom>
        </a:tcBdr>
        <a:fill>
          <a:solidFill>
            <a:srgbClr val="FFFFFF"/>
          </a:solidFill>
        </a:fill>
      </a:tcStyle>
    </a:firstRow>
    <a:neCell>
      <a:tcTxStyle b="off">
        <a:srgbClr val="000000"/>
      </a:tcTxStyle>
      <a:tcStyle>
        <a:tcBdr/>
        <a:fill>
          <a:solidFill>
            <a:srgbClr val="FFFFFF"/>
          </a:solidFill>
        </a:fill>
      </a:tcStyle>
    </a:neCell>
    <a:nwCell>
      <a:tcTxStyle b="off">
        <a:srgbClr val="000000"/>
      </a:tcTxStyle>
      <a:tcStyle>
        <a:tcBdr/>
        <a:fill>
          <a:solidFill>
            <a:srgbClr val="FFFFFF"/>
          </a:solidFill>
        </a:fill>
      </a:tcStyle>
    </a:nwCell>
  </a:tblStyle>
  <a:tblStyle styleId="{6BBBCD9F-689F-4ED1-80DE-0A01AEAEF276}" styleName="6bbbcd9f-689f-4ed1-80de-0a01aeaef276">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CCEBF8"/>
          </a:solidFill>
        </a:fill>
      </a:tcStyle>
    </a:band2H>
    <a:band1V>
      <a:tcStyle>
        <a:tcBdr/>
      </a:tcStyle>
    </a:band1V>
    <a:band2V>
      <a:tcStyle>
        <a:tcBdr/>
      </a:tcStyle>
    </a:band2V>
    <a:lastCol>
      <a:tcStyle>
        <a:tcBdr>
          <a:left>
            <a:ln w="6350" cmpd="sng">
              <a:solidFill>
                <a:srgbClr val="009CDE"/>
              </a:solidFill>
            </a:ln>
          </a:left>
        </a:tcBdr>
      </a:tcStyle>
    </a:lastCol>
    <a:firstCol>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left>
            <a:ln>
              <a:noFill/>
            </a:ln>
          </a:left>
        </a:tcBdr>
      </a:tcStyle>
    </a:neCell>
    <a:nwCell>
      <a:tcStyle>
        <a:tcBdr/>
      </a:tcStyle>
    </a:nwCell>
  </a:tblStyle>
  <a:tblStyle styleId="{E9A794F5-AEE5-4C9D-89E3-A8F612160A3D}" styleName="e9a794f5-aee5-4c9d-89e3-a8f612160a3d">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Style>
        <a:tcBdr>
          <a:left>
            <a:ln w="6350" cmpd="sng">
              <a:solidFill>
                <a:srgbClr val="3F9C35"/>
              </a:solidFill>
            </a:ln>
          </a:left>
        </a:tcBdr>
      </a:tcStyle>
    </a:lastCol>
    <a:firstCol>
      <a:tcStyle>
        <a:tcBdr/>
      </a:tcStyle>
    </a:firstCol>
    <a:lastRow>
      <a:tcTxStyle b="on">
        <a:srgbClr val="3F9C35"/>
      </a:tcTxStyle>
      <a:tcStyle>
        <a:tcBdr>
          <a:top>
            <a:ln w="6350" cmpd="sng">
              <a:solidFill>
                <a:srgbClr val="3F9C35"/>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3F9C35"/>
          </a:solidFill>
        </a:fill>
      </a:tcStyle>
    </a:firstRow>
    <a:neCell>
      <a:tcStyle>
        <a:tcBdr>
          <a:left>
            <a:ln>
              <a:noFill/>
            </a:ln>
          </a:left>
        </a:tcBdr>
      </a:tcStyle>
    </a:neCell>
    <a:nwCell>
      <a:tcStyle>
        <a:tcBdr/>
      </a:tcStyle>
    </a:nwCell>
  </a:tblStyle>
  <a:tblStyle styleId="{5E981EDC-F773-443A-9D2A-DFD00B9719E4}" styleName="5e981edc-f773-443a-9d2a-dfd00b9719e4">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Style>
        <a:tcBdr>
          <a:left>
            <a:ln w="6350" cmpd="sng">
              <a:solidFill>
                <a:srgbClr val="009CDE"/>
              </a:solidFill>
            </a:ln>
          </a:left>
        </a:tcBdr>
      </a:tcStyle>
    </a:lastCol>
    <a:firstCol>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left>
            <a:ln>
              <a:noFill/>
            </a:ln>
          </a:left>
        </a:tcBdr>
      </a:tcStyle>
    </a:neCell>
    <a:nwCell>
      <a:tcStyle>
        <a:tcBdr/>
      </a:tcStyle>
    </a:nwCell>
  </a:tblStyle>
  <a:tblStyle styleId="{76729E1A-5526-4991-9EBA-2EAB331561CB}" styleName="76729e1a-5526-4991-9eba-2eab331561cb">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CCEBF8"/>
          </a:solidFill>
        </a:fill>
      </a:tcStyle>
    </a:band2H>
    <a:band1V>
      <a:tcStyle>
        <a:tcBdr/>
      </a:tcStyle>
    </a:band1V>
    <a:band2V>
      <a:tcStyle>
        <a:tcBdr/>
      </a:tcStyle>
    </a:band2V>
    <a:lastCol>
      <a:tcTxStyle b="on">
        <a:srgbClr val="63666A"/>
      </a:tcTxStyle>
      <a:tcStyle>
        <a:tcBdr/>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C407572E-B3BF-44EF-AB0D-F005A362588C}" styleName="c407572e-b3bf-44ef-ab0d-f005a362588c">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TxStyle b="on">
        <a:srgbClr val="63666A"/>
      </a:tcTxStyle>
      <a:tcStyle>
        <a:tcBdr/>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3F9C35"/>
          </a:solidFill>
        </a:fill>
      </a:tcStyle>
    </a:firstRow>
    <a:neCell>
      <a:tcStyle>
        <a:tcBdr/>
      </a:tcStyle>
    </a:neCell>
    <a:nwCell>
      <a:tcStyle>
        <a:tcBdr/>
      </a:tcStyle>
    </a:nwCell>
  </a:tblStyle>
  <a:tblStyle styleId="{FBF6D24B-E90A-4F1A-8525-CD51B041F229}" styleName="fbf6d24b-e90a-4f1a-8525-cd51b041f229">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TxStyle b="on">
        <a:srgbClr val="63666A"/>
      </a:tcTxStyle>
      <a:tcStyle>
        <a:tcBdr/>
      </a:tcStyle>
    </a:lastCol>
    <a:firstCol>
      <a:tcTxStyle b="on">
        <a:srgbClr val="009CDE"/>
      </a:tcTxStyle>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8D427353-CE3B-4C2C-9741-44F3D206D7ED}" styleName="8d427353-ce3b-4c2c-9741-44f3d206d7ed">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Style>
        <a:tcBdr/>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F00E33DE-B108-42B1-86B7-2A99E0A285B7}" styleName="f00e33de-b108-42b1-86b7-2a99e0a285b7">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Style>
        <a:tcBdr/>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3F9C35"/>
          </a:solidFill>
        </a:fill>
      </a:tcStyle>
    </a:firstRow>
    <a:neCell>
      <a:tcStyle>
        <a:tcBdr/>
      </a:tcStyle>
    </a:neCell>
    <a:nwCell>
      <a:tcStyle>
        <a:tcBdr/>
      </a:tcStyle>
    </a:nwCell>
  </a:tblStyle>
  <a:tblStyle styleId="{C025DB24-0B92-4D11-B9EE-D6AD37E14127}" styleName="c025db24-0b92-4d11-b9ee-d6ad37e14127">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TxStyle b="on">
        <a:srgbClr val="63666A"/>
      </a:tcTxStyle>
      <a:tcStyle>
        <a:tcBdr/>
      </a:tcStyle>
    </a:lastCol>
    <a:firstCol>
      <a:tcTxStyle b="on">
        <a:srgbClr val="009CDE"/>
      </a:tcTxStyle>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F6BA06DA-0CB6-41C2-B7EC-3378D334FA1E}" styleName="f6ba06da-0cb6-41c2-b7ec-3378d334fa1e">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CCEBF8"/>
          </a:solidFill>
        </a:fill>
      </a:tcStyle>
    </a:band2H>
    <a:band1V>
      <a:tcStyle>
        <a:tcBdr/>
      </a:tcStyle>
    </a:band1V>
    <a:band2V>
      <a:tcStyle>
        <a:tcBdr/>
      </a:tcStyle>
    </a:band2V>
    <a:lastCol>
      <a:tcTxStyle b="on">
        <a:srgbClr val="63666A"/>
      </a:tcTxStyle>
      <a:tcStyle>
        <a:tcBdr/>
      </a:tcStyle>
    </a:lastCol>
    <a:firstCol>
      <a:tcTxStyle b="on">
        <a:srgbClr val="63666A"/>
      </a:tcTxStyle>
      <a:tcStyle>
        <a:tcBdr/>
      </a:tcStyle>
    </a:firstCol>
    <a:lastRow>
      <a:tcTxStyle b="on">
        <a:srgbClr val="009CDE"/>
      </a:tcTxStyle>
      <a:tcStyle>
        <a:tcBdr>
          <a:top>
            <a:ln>
              <a:noFill/>
            </a:ln>
          </a:top>
          <a:bottom>
            <a:ln>
              <a:noFill/>
            </a:ln>
          </a:bottom>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8C525256-2B23-4280-81A4-C904D4F0A342}" styleName="8c525256-2b23-4280-81a4-c904d4f0a342">
    <a:tblBg>
      <a:fill>
        <a:noFill/>
      </a:fill>
    </a:tblBg>
    <a:wholeTbl>
      <a:tcTxStyle b="off">
        <a:srgbClr val="63666A"/>
      </a:tcTxStyle>
      <a:tcStyle>
        <a:tcBdr>
          <a:left>
            <a:ln>
              <a:noFill/>
            </a:ln>
          </a:left>
          <a:right>
            <a:ln>
              <a:noFill/>
            </a:ln>
          </a:right>
          <a:top>
            <a:ln>
              <a:noFill/>
            </a:ln>
          </a:top>
          <a:bottom>
            <a:ln>
              <a:noFill/>
            </a:ln>
          </a:bottom>
          <a:insideH>
            <a:ln w="38100" cmpd="sng">
              <a:solidFill>
                <a:srgbClr val="FFFFFF"/>
              </a:solidFill>
            </a:ln>
          </a:insideH>
          <a:insideV>
            <a:ln>
              <a:noFill/>
            </a:ln>
          </a:insideV>
        </a:tcBdr>
        <a:fill>
          <a:solidFill>
            <a:srgbClr val="E7E7E8"/>
          </a:solidFill>
        </a:fill>
      </a:tcStyle>
    </a:wholeTbl>
    <a:band1H>
      <a:tcStyle>
        <a:tcBdr/>
      </a:tcStyle>
    </a:band1H>
    <a:band2H>
      <a:tcStyle>
        <a:tcBdr/>
        <a:fill>
          <a:solidFill>
            <a:srgbClr val="CCEBF8"/>
          </a:solidFill>
        </a:fill>
      </a:tcStyle>
    </a:band2H>
    <a:band1V>
      <a:tcStyle>
        <a:tcBdr/>
      </a:tcStyle>
    </a:band1V>
    <a:band2V>
      <a:tcStyle>
        <a:tcBdr/>
      </a:tcStyle>
    </a:band2V>
    <a:lastCol>
      <a:tcTxStyle b="on">
        <a:srgbClr val="63666A"/>
      </a:tcTxStyle>
      <a:tcStyle>
        <a:tcBdr/>
      </a:tcStyle>
    </a:lastCol>
    <a:firstCol>
      <a:tcTxStyle b="on">
        <a:srgbClr val="FFFFFF"/>
      </a:tcTxStyle>
      <a:tcStyle>
        <a:tcBdr/>
        <a:fill>
          <a:solidFill>
            <a:srgbClr val="009CDE"/>
          </a:solidFill>
        </a:fill>
      </a:tcStyle>
    </a:firstCol>
    <a:lastRow>
      <a:tcTxStyle b="on">
        <a:srgbClr val="63666A"/>
      </a:tcTxStyle>
      <a:tcStyle>
        <a:tcBdr>
          <a:top>
            <a:ln w="38100" cmpd="sng">
              <a:solidFill>
                <a:srgbClr val="FFFFFF"/>
              </a:solidFill>
            </a:ln>
          </a:top>
        </a:tcBdr>
      </a:tcStyle>
    </a:lastRow>
    <a:seCell>
      <a:tcStyle>
        <a:tcBdr>
          <a:bottom>
            <a:ln w="38100" cmpd="sng">
              <a:solidFill>
                <a:srgbClr val="FFFFFF"/>
              </a:solidFill>
            </a:ln>
          </a:bottom>
        </a:tcBdr>
      </a:tcStyle>
    </a:seCell>
    <a:swCell>
      <a:tcTxStyle b="on">
        <a:srgbClr val="FFFFFF"/>
      </a:tcTxStyle>
      <a:tcStyle>
        <a:tcBdr/>
      </a:tcStyle>
    </a:swCell>
    <a:firstRow>
      <a:tcTxStyle b="on">
        <a:srgbClr val="FFFFFF"/>
      </a:tcTxStyle>
      <a:tcStyle>
        <a:tcBdr>
          <a:bottom>
            <a:ln w="38100" cmpd="sng">
              <a:solidFill>
                <a:srgbClr val="FFFFFF"/>
              </a:solidFill>
            </a:ln>
          </a:bottom>
        </a:tcBdr>
        <a:fill>
          <a:solidFill>
            <a:srgbClr val="009CDE"/>
          </a:solidFill>
        </a:fill>
      </a:tcStyle>
    </a:firstRow>
    <a:neCell>
      <a:tcStyle>
        <a:tcBdr/>
      </a:tcStyle>
    </a:neCell>
    <a:nwCell>
      <a:tcStyle>
        <a:tcBdr/>
      </a:tcStyle>
    </a:nwCell>
  </a:tblStyle>
  <a:tblStyle styleId="{611E1BE3-A303-4292-B55C-C80CEE36071C}" styleName="611e1be3-a303-4292-b55c-c80cee36071c">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w="6350" cmpd="sng">
              <a:solidFill>
                <a:srgbClr val="009CDE"/>
              </a:solidFill>
            </a:ln>
          </a:insideH>
          <a:insideV>
            <a:ln>
              <a:noFill/>
            </a:ln>
          </a:insideV>
        </a:tcBdr>
        <a:fill>
          <a:solidFill>
            <a:srgbClr val="FFFFFF"/>
          </a:solidFill>
        </a:fill>
      </a:tcStyle>
    </a:wholeTbl>
    <a:band1H>
      <a:tcStyle>
        <a:tcBdr/>
      </a:tcStyle>
    </a:band1H>
    <a:band2H>
      <a:tcStyle>
        <a:tcBdr/>
        <a:fill>
          <a:solidFill>
            <a:srgbClr val="CCEBF8"/>
          </a:solidFill>
        </a:fill>
      </a:tcStyle>
    </a:band2H>
    <a:band1V>
      <a:tcStyle>
        <a:tcBdr/>
      </a:tcStyle>
    </a:band1V>
    <a:band2V>
      <a:tcStyle>
        <a:tcBdr/>
      </a:tcStyle>
    </a:band2V>
    <a:lastCol>
      <a:tcTxStyle b="on">
        <a:srgbClr val="63666A"/>
      </a:tcTxStyle>
      <a:tcStyle>
        <a:tcBdr/>
      </a:tcStyle>
    </a:lastCol>
    <a:firstCol>
      <a:tcTxStyle b="on">
        <a:srgbClr val="63666A"/>
      </a:tcTxStyle>
      <a:tcStyle>
        <a:tcBdr/>
        <a:fill>
          <a:solidFill>
            <a:srgbClr val="E7E7E8"/>
          </a:solidFill>
        </a:fill>
      </a:tcStyle>
    </a:firstCol>
    <a:lastRow>
      <a:tcTxStyle b="on">
        <a:srgbClr val="63666A"/>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8DED9544-C83C-47CA-B2ED-93452F1AAA6D}" styleName="8ded9544-c83c-47ca-b2ed-93452f1aaa6d">
    <a:tblBg>
      <a:fill>
        <a:noFill/>
      </a:fill>
    </a:tblBg>
    <a:wholeTbl>
      <a:tcTxStyle b="off">
        <a:srgbClr val="009CDE"/>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tcStyle>
    </a:band2H>
    <a:band1V>
      <a:tcStyle>
        <a:tcBdr/>
      </a:tcStyle>
    </a:band1V>
    <a:band2V>
      <a:tcStyle>
        <a:tcBdr/>
      </a:tcStyle>
    </a:band2V>
    <a:lastCol>
      <a:tcTxStyle b="on">
        <a:srgbClr val="009CDE"/>
      </a:tcTxStyle>
      <a:tcStyle>
        <a:tcBdr/>
      </a:tcStyle>
    </a:lastCol>
    <a:firstCol>
      <a:tcTxStyle b="on">
        <a:srgbClr val="009CDE"/>
      </a:tcTxStyle>
      <a:tcStyle>
        <a:tcBdr/>
      </a:tcStyle>
    </a:firstCol>
    <a:lastRow>
      <a:tcTxStyle b="on">
        <a:srgbClr val="009CDE"/>
      </a:tcTxStyle>
      <a:tcStyle>
        <a:tcBdr>
          <a:top>
            <a:ln w="6350" cmpd="sng">
              <a:solidFill>
                <a:srgbClr val="009CDE"/>
              </a:solidFill>
            </a:ln>
          </a:top>
          <a:bottom>
            <a:ln>
              <a:noFill/>
            </a:ln>
          </a:bottom>
        </a:tcBdr>
      </a:tcStyle>
    </a:lastRow>
    <a:seCell>
      <a:tcStyle>
        <a:tcBdr/>
      </a:tcStyle>
    </a:seCell>
    <a:swCell>
      <a:tcStyle>
        <a:tcBdr/>
      </a:tcStyle>
    </a:swCell>
    <a:firstRow>
      <a:tcTxStyle b="on">
        <a:srgbClr val="009CDE"/>
      </a:tcTxStyle>
      <a:tcStyle>
        <a:tcBdr>
          <a:top>
            <a:ln>
              <a:noFill/>
            </a:ln>
          </a:top>
          <a:bottom>
            <a:ln w="12700" cmpd="sng">
              <a:solidFill>
                <a:srgbClr val="009CDE"/>
              </a:solidFill>
            </a:ln>
          </a:bottom>
        </a:tcBdr>
      </a:tcStyle>
    </a:firstRow>
    <a:neCell>
      <a:tcStyle>
        <a:tcBdr/>
      </a:tcStyle>
    </a:neCell>
    <a:nwCell>
      <a:tcStyle>
        <a:tcBdr/>
      </a:tcStyle>
    </a:nwCell>
  </a:tblStyle>
  <a:tblStyle styleId="{BF2433CC-F042-4F63-BD32-F02E9BB6268B}" styleName="bf2433cc-f042-4f63-bd32-f02e9bb6268b">
    <a:tblBg>
      <a:fill>
        <a:noFill/>
      </a:fill>
    </a:tblBg>
    <a:wholeTbl>
      <a:tcTxStyle b="off">
        <a:srgbClr val="63666A"/>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Style>
        <a:tcBdr/>
        <a:fill>
          <a:solidFill>
            <a:srgbClr val="CCEBF8"/>
          </a:solidFill>
        </a:fill>
      </a:tcStyle>
    </a:band2H>
    <a:band1V>
      <a:tcStyle>
        <a:tcBdr/>
      </a:tcStyle>
    </a:band1V>
    <a:band2V>
      <a:tcStyle>
        <a:tcBdr/>
      </a:tcStyle>
    </a:band2V>
    <a:lastCol>
      <a:tcTxStyle b="on">
        <a:srgbClr val="63666A"/>
      </a:tcTxStyle>
      <a:tcStyle>
        <a:tcBdr/>
      </a:tcStyle>
    </a:lastCol>
    <a:firstCol>
      <a:tcTxStyle b="on">
        <a:srgbClr val="63666A"/>
      </a:tcTxStyle>
      <a:tcStyle>
        <a:tcBdr/>
      </a:tcStyle>
    </a:firstCol>
    <a:lastRow>
      <a:tcTxStyle b="on">
        <a:srgbClr val="63666A"/>
      </a:tcTxStyle>
      <a:tcStyle>
        <a:tcBdr>
          <a:top>
            <a:ln>
              <a:noFill/>
            </a:ln>
          </a:top>
        </a:tcBdr>
      </a:tcStyle>
    </a:lastRow>
    <a:seCell>
      <a:tcStyle>
        <a:tcBdr/>
      </a:tcStyle>
    </a:seCell>
    <a:swCell>
      <a:tcStyle>
        <a:tcBdr/>
      </a:tcStyle>
    </a:swCell>
    <a:firstRow>
      <a:tcTxStyle b="on">
        <a:srgbClr val="63666A"/>
      </a:tcTxStyle>
      <a:tcStyle>
        <a:tcBdr>
          <a:bottom>
            <a:ln>
              <a:noFill/>
            </a:ln>
          </a:bottom>
        </a:tcBdr>
        <a:fill>
          <a:solidFill>
            <a:srgbClr val="E7E7E8"/>
          </a:solidFill>
        </a:fill>
      </a:tcStyle>
    </a:firstRow>
    <a:neCell>
      <a:tcStyle>
        <a:tcBdr/>
      </a:tcStyle>
    </a:neCell>
    <a:nwCell>
      <a:tcStyle>
        <a:tcBdr/>
      </a:tcStyle>
    </a:nwCell>
  </a:tblStyle>
  <a:tblStyle styleId="{9546F2DC-6688-49F4-88D4-425AB491DE4D}" styleName="9546f2dc-6688-49f4-88d4-425ab491de4d">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CCEBF8"/>
          </a:solidFill>
        </a:fill>
      </a:tcStyle>
    </a:band2H>
    <a:band1V>
      <a:tcStyle>
        <a:tcBdr/>
      </a:tcStyle>
    </a:band1V>
    <a:band2V>
      <a:tcStyle>
        <a:tcBdr/>
      </a:tcStyle>
    </a:band2V>
    <a:lastCol>
      <a:tcStyle>
        <a:tcBdr>
          <a:left>
            <a:ln w="6350" cmpd="sng">
              <a:solidFill>
                <a:srgbClr val="009CDE"/>
              </a:solidFill>
            </a:ln>
          </a:left>
        </a:tcBdr>
      </a:tcStyle>
    </a:lastCol>
    <a:firstCol>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left>
            <a:ln>
              <a:noFill/>
            </a:ln>
          </a:left>
        </a:tcBdr>
      </a:tcStyle>
    </a:neCell>
    <a:nwCell>
      <a:tcStyle>
        <a:tcBdr/>
      </a:tcStyle>
    </a:nwCell>
  </a:tblStyle>
  <a:tblStyle styleId="{605357D4-9281-4814-88BA-B94DB5F3B5A4}" styleName="605357d4-9281-4814-88ba-b94db5f3b5a4">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Style>
        <a:tcBdr>
          <a:left>
            <a:ln w="6350" cmpd="sng">
              <a:solidFill>
                <a:srgbClr val="3F9C35"/>
              </a:solidFill>
            </a:ln>
          </a:left>
        </a:tcBdr>
      </a:tcStyle>
    </a:lastCol>
    <a:firstCol>
      <a:tcStyle>
        <a:tcBdr/>
      </a:tcStyle>
    </a:firstCol>
    <a:lastRow>
      <a:tcTxStyle b="on">
        <a:srgbClr val="3F9C35"/>
      </a:tcTxStyle>
      <a:tcStyle>
        <a:tcBdr>
          <a:top>
            <a:ln w="6350" cmpd="sng">
              <a:solidFill>
                <a:srgbClr val="3F9C35"/>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3F9C35"/>
          </a:solidFill>
        </a:fill>
      </a:tcStyle>
    </a:firstRow>
    <a:neCell>
      <a:tcStyle>
        <a:tcBdr>
          <a:left>
            <a:ln>
              <a:noFill/>
            </a:ln>
          </a:left>
        </a:tcBdr>
      </a:tcStyle>
    </a:neCell>
    <a:nwCell>
      <a:tcStyle>
        <a:tcBdr/>
      </a:tcStyle>
    </a:nwCell>
  </a:tblStyle>
  <a:tblStyle styleId="{84EB4851-501F-448B-9381-8629E9F78EAD}" styleName="84eb4851-501f-448b-9381-8629e9f78ead">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Style>
        <a:tcBdr>
          <a:left>
            <a:ln w="6350" cmpd="sng">
              <a:solidFill>
                <a:srgbClr val="009CDE"/>
              </a:solidFill>
            </a:ln>
          </a:left>
        </a:tcBdr>
      </a:tcStyle>
    </a:lastCol>
    <a:firstCol>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left>
            <a:ln>
              <a:noFill/>
            </a:ln>
          </a:left>
        </a:tcBdr>
      </a:tcStyle>
    </a:neCell>
    <a:nwCell>
      <a:tcStyle>
        <a:tcBdr/>
      </a:tcStyle>
    </a:nwCell>
  </a:tblStyle>
  <a:tblStyle styleId="{52BED4ED-4B95-4F06-88DC-F45EAAC020B7}" styleName="52bed4ed-4b95-4f06-88dc-f45eaac020b7">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CCEBF8"/>
          </a:solidFill>
        </a:fill>
      </a:tcStyle>
    </a:band2H>
    <a:band1V>
      <a:tcStyle>
        <a:tcBdr/>
      </a:tcStyle>
    </a:band1V>
    <a:band2V>
      <a:tcStyle>
        <a:tcBdr/>
      </a:tcStyle>
    </a:band2V>
    <a:lastCol>
      <a:tcTxStyle b="on">
        <a:srgbClr val="63666A"/>
      </a:tcTxStyle>
      <a:tcStyle>
        <a:tcBdr/>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79EB58CA-CAB6-4C2A-BC07-66252B7CB0AC}" styleName="79eb58ca-cab6-4c2a-bc07-66252b7cb0ac">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TxStyle b="on">
        <a:srgbClr val="63666A"/>
      </a:tcTxStyle>
      <a:tcStyle>
        <a:tcBdr/>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3F9C35"/>
          </a:solidFill>
        </a:fill>
      </a:tcStyle>
    </a:firstRow>
    <a:neCell>
      <a:tcStyle>
        <a:tcBdr/>
      </a:tcStyle>
    </a:neCell>
    <a:nwCell>
      <a:tcStyle>
        <a:tcBdr/>
      </a:tcStyle>
    </a:nwCell>
  </a:tblStyle>
  <a:tblStyle styleId="{30A88721-7A2C-4715-B626-28795A954831}" styleName="30a88721-7a2c-4715-b626-28795a954831">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TxStyle b="on">
        <a:srgbClr val="63666A"/>
      </a:tcTxStyle>
      <a:tcStyle>
        <a:tcBdr/>
      </a:tcStyle>
    </a:lastCol>
    <a:firstCol>
      <a:tcTxStyle b="on">
        <a:srgbClr val="009CDE"/>
      </a:tcTxStyle>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2798C924-F894-4DBD-A869-158877D7C230}" styleName="2798c924-f894-4dbd-a869-158877d7c230">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Style>
        <a:tcBdr/>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1A886EFC-8AD1-45A7-9A41-683101C9F0FA}" styleName="1a886efc-8ad1-45a7-9a41-683101c9f0fa">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Style>
        <a:tcBdr/>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3F9C35"/>
          </a:solidFill>
        </a:fill>
      </a:tcStyle>
    </a:firstRow>
    <a:neCell>
      <a:tcStyle>
        <a:tcBdr/>
      </a:tcStyle>
    </a:neCell>
    <a:nwCell>
      <a:tcStyle>
        <a:tcBdr/>
      </a:tcStyle>
    </a:nwCell>
  </a:tblStyle>
  <a:tblStyle styleId="{93B75D9C-0D76-4F52-9DBC-5CE4AD6767E1}" styleName="93b75d9c-0d76-4f52-9dbc-5ce4ad6767e1">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Style>
        <a:tcBdr/>
      </a:tcStyle>
    </a:lastCol>
    <a:firstCol>
      <a:tcTxStyle b="on">
        <a:srgbClr val="009CDE"/>
      </a:tcTxStyle>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2C3680CD-8E3E-4393-B6E2-A358A9E3B258}" styleName="2c3680cd-8e3e-4393-b6e2-a358a9e3b258">
    <a:tblBg>
      <a:fill>
        <a:noFill/>
      </a:fill>
    </a:tblBg>
    <a:wholeTbl>
      <a:tcTxStyle b="off">
        <a:srgbClr val="63666A"/>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TxStyle b="on">
        <a:srgbClr val="63666A"/>
      </a:tcTxStyle>
      <a:tcStyle>
        <a:tcBdr/>
      </a:tcStyle>
    </a:lastCol>
    <a:firstCol>
      <a:tcStyle>
        <a:tcBdr/>
      </a:tcStyle>
    </a:firstCol>
    <a:lastRow>
      <a:tcTxStyle b="on">
        <a:srgbClr val="009CDE"/>
      </a:tcTxStyle>
      <a:tcStyle>
        <a:tcBdr>
          <a:top>
            <a:ln w="6350" cmpd="sng">
              <a:solidFill>
                <a:srgbClr val="009CDE"/>
              </a:solidFill>
            </a:ln>
          </a:top>
          <a:bottom>
            <a:ln w="6350" cmpd="sng">
              <a:solidFill>
                <a:srgbClr val="009CDE"/>
              </a:solidFill>
            </a:ln>
          </a:bottom>
        </a:tcBdr>
      </a:tcStyle>
    </a:lastRow>
    <a:seCell>
      <a:tcStyle>
        <a:tcBdr/>
      </a:tcStyle>
    </a:seCell>
    <a:swCell>
      <a:tcTxStyle b="off">
        <a:srgbClr val="63666A"/>
      </a:tcTxStyle>
      <a:tcStyle>
        <a:tcBdr/>
      </a:tcStyle>
    </a:swCell>
    <a:firstRow>
      <a:tcTxStyle b="on">
        <a:srgbClr val="FFFFFF"/>
      </a:tcTxStyle>
      <a:tcStyle>
        <a:tcBdr>
          <a:bottom>
            <a:ln>
              <a:noFill/>
            </a:ln>
          </a:bottom>
        </a:tcBdr>
        <a:fill>
          <a:solidFill>
            <a:srgbClr val="009CDE"/>
          </a:solidFill>
        </a:fill>
      </a:tcStyle>
    </a:firstRow>
    <a:neCell>
      <a:tcStyle>
        <a:tcBdr/>
      </a:tcStyle>
    </a:neCell>
    <a:nwCell>
      <a:tcStyle>
        <a:tcBdr/>
      </a:tcStyle>
    </a:nw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5169"/>
        <p:guide pos="384"/>
        <p:guide orient="horz" pos="528"/>
        <p:guide pos="7152"/>
        <p:guide orient="horz" pos="3792"/>
      </p:guideLst>
    </p:cSldViewPr>
  </p:slide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38.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5.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Master" Target="slideMasters/slideMaster8.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microsoft.com/office/2016/11/relationships/changesInfo" Target="changesInfos/changesInfo1.xml"/><Relationship Id="rId7" Type="http://schemas.openxmlformats.org/officeDocument/2006/relationships/slideMaster" Target="slideMasters/slideMaster2.xml"/><Relationship Id="rId71"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hir, Talmeez" userId="459c27b2-c90b-4300-9d3a-f0f642b72716" providerId="ADAL" clId="{C2A87856-E7F8-4352-97F2-62DEFD6C4867}"/>
    <pc:docChg chg="undo custSel addSld delSld modSld sldOrd modSection">
      <pc:chgData name="Tahir, Talmeez" userId="459c27b2-c90b-4300-9d3a-f0f642b72716" providerId="ADAL" clId="{C2A87856-E7F8-4352-97F2-62DEFD6C4867}" dt="2025-11-20T23:20:21.642" v="181"/>
      <pc:docMkLst>
        <pc:docMk/>
      </pc:docMkLst>
      <pc:sldChg chg="del">
        <pc:chgData name="Tahir, Talmeez" userId="459c27b2-c90b-4300-9d3a-f0f642b72716" providerId="ADAL" clId="{C2A87856-E7F8-4352-97F2-62DEFD6C4867}" dt="2025-11-20T21:10:40.150" v="14" actId="2696"/>
        <pc:sldMkLst>
          <pc:docMk/>
          <pc:sldMk cId="1418589257" sldId="261"/>
        </pc:sldMkLst>
      </pc:sldChg>
      <pc:sldChg chg="del">
        <pc:chgData name="Tahir, Talmeez" userId="459c27b2-c90b-4300-9d3a-f0f642b72716" providerId="ADAL" clId="{C2A87856-E7F8-4352-97F2-62DEFD6C4867}" dt="2025-11-20T21:02:34.116" v="9" actId="47"/>
        <pc:sldMkLst>
          <pc:docMk/>
          <pc:sldMk cId="3144564674" sldId="436"/>
        </pc:sldMkLst>
      </pc:sldChg>
      <pc:sldChg chg="modSp add mod">
        <pc:chgData name="Tahir, Talmeez" userId="459c27b2-c90b-4300-9d3a-f0f642b72716" providerId="ADAL" clId="{C2A87856-E7F8-4352-97F2-62DEFD6C4867}" dt="2025-11-20T21:16:25.935" v="86" actId="20577"/>
        <pc:sldMkLst>
          <pc:docMk/>
          <pc:sldMk cId="2333665278" sldId="625"/>
        </pc:sldMkLst>
        <pc:spChg chg="mod">
          <ac:chgData name="Tahir, Talmeez" userId="459c27b2-c90b-4300-9d3a-f0f642b72716" providerId="ADAL" clId="{C2A87856-E7F8-4352-97F2-62DEFD6C4867}" dt="2025-11-20T21:11:21.212" v="17" actId="20577"/>
          <ac:spMkLst>
            <pc:docMk/>
            <pc:sldMk cId="2333665278" sldId="625"/>
            <ac:spMk id="2" creationId="{00000000-0000-0000-0000-000000000000}"/>
          </ac:spMkLst>
        </pc:spChg>
        <pc:spChg chg="mod">
          <ac:chgData name="Tahir, Talmeez" userId="459c27b2-c90b-4300-9d3a-f0f642b72716" providerId="ADAL" clId="{C2A87856-E7F8-4352-97F2-62DEFD6C4867}" dt="2025-11-20T21:16:25.935" v="86" actId="20577"/>
          <ac:spMkLst>
            <pc:docMk/>
            <pc:sldMk cId="2333665278" sldId="625"/>
            <ac:spMk id="15" creationId="{00000000-0000-0000-0000-000000000000}"/>
          </ac:spMkLst>
        </pc:spChg>
        <pc:spChg chg="mod">
          <ac:chgData name="Tahir, Talmeez" userId="459c27b2-c90b-4300-9d3a-f0f642b72716" providerId="ADAL" clId="{C2A87856-E7F8-4352-97F2-62DEFD6C4867}" dt="2025-11-20T21:16:17.704" v="85" actId="20577"/>
          <ac:spMkLst>
            <pc:docMk/>
            <pc:sldMk cId="2333665278" sldId="625"/>
            <ac:spMk id="41" creationId="{00000000-0000-0000-0000-000000000000}"/>
          </ac:spMkLst>
        </pc:spChg>
        <pc:spChg chg="mod">
          <ac:chgData name="Tahir, Talmeez" userId="459c27b2-c90b-4300-9d3a-f0f642b72716" providerId="ADAL" clId="{C2A87856-E7F8-4352-97F2-62DEFD6C4867}" dt="2025-11-20T21:12:53.674" v="34" actId="20577"/>
          <ac:spMkLst>
            <pc:docMk/>
            <pc:sldMk cId="2333665278" sldId="625"/>
            <ac:spMk id="43" creationId="{00000000-0000-0000-0000-000000000000}"/>
          </ac:spMkLst>
        </pc:spChg>
        <pc:spChg chg="mod">
          <ac:chgData name="Tahir, Talmeez" userId="459c27b2-c90b-4300-9d3a-f0f642b72716" providerId="ADAL" clId="{C2A87856-E7F8-4352-97F2-62DEFD6C4867}" dt="2025-11-20T21:13:32.948" v="51" actId="20577"/>
          <ac:spMkLst>
            <pc:docMk/>
            <pc:sldMk cId="2333665278" sldId="625"/>
            <ac:spMk id="45" creationId="{00000000-0000-0000-0000-000000000000}"/>
          </ac:spMkLst>
        </pc:spChg>
      </pc:sldChg>
      <pc:sldChg chg="modSp mod ord">
        <pc:chgData name="Tahir, Talmeez" userId="459c27b2-c90b-4300-9d3a-f0f642b72716" providerId="ADAL" clId="{C2A87856-E7F8-4352-97F2-62DEFD6C4867}" dt="2025-11-20T20:56:20.256" v="5"/>
        <pc:sldMkLst>
          <pc:docMk/>
          <pc:sldMk cId="2494374575" sldId="928"/>
        </pc:sldMkLst>
        <pc:spChg chg="mod">
          <ac:chgData name="Tahir, Talmeez" userId="459c27b2-c90b-4300-9d3a-f0f642b72716" providerId="ADAL" clId="{C2A87856-E7F8-4352-97F2-62DEFD6C4867}" dt="2025-11-20T20:56:20.256" v="5"/>
          <ac:spMkLst>
            <pc:docMk/>
            <pc:sldMk cId="2494374575" sldId="928"/>
            <ac:spMk id="3" creationId="{92A63E06-9C04-6AA9-E354-D8A64B85B5AD}"/>
          </ac:spMkLst>
        </pc:spChg>
      </pc:sldChg>
      <pc:sldChg chg="modSp add mod ord">
        <pc:chgData name="Tahir, Talmeez" userId="459c27b2-c90b-4300-9d3a-f0f642b72716" providerId="ADAL" clId="{C2A87856-E7F8-4352-97F2-62DEFD6C4867}" dt="2025-11-20T23:20:21.642" v="181"/>
        <pc:sldMkLst>
          <pc:docMk/>
          <pc:sldMk cId="28971199" sldId="4421"/>
        </pc:sldMkLst>
        <pc:spChg chg="mod">
          <ac:chgData name="Tahir, Talmeez" userId="459c27b2-c90b-4300-9d3a-f0f642b72716" providerId="ADAL" clId="{C2A87856-E7F8-4352-97F2-62DEFD6C4867}" dt="2025-11-20T23:14:19.995" v="177" actId="1036"/>
          <ac:spMkLst>
            <pc:docMk/>
            <pc:sldMk cId="28971199" sldId="4421"/>
            <ac:spMk id="2" creationId="{06681664-17B8-15D2-8A47-23D217E0CD01}"/>
          </ac:spMkLst>
        </pc:spChg>
        <pc:spChg chg="mod">
          <ac:chgData name="Tahir, Talmeez" userId="459c27b2-c90b-4300-9d3a-f0f642b72716" providerId="ADAL" clId="{C2A87856-E7F8-4352-97F2-62DEFD6C4867}" dt="2025-11-20T23:14:19.995" v="177" actId="1036"/>
          <ac:spMkLst>
            <pc:docMk/>
            <pc:sldMk cId="28971199" sldId="4421"/>
            <ac:spMk id="4" creationId="{C35BE198-6E0A-7032-98BE-D735360017EF}"/>
          </ac:spMkLst>
        </pc:spChg>
        <pc:spChg chg="mod">
          <ac:chgData name="Tahir, Talmeez" userId="459c27b2-c90b-4300-9d3a-f0f642b72716" providerId="ADAL" clId="{C2A87856-E7F8-4352-97F2-62DEFD6C4867}" dt="2025-11-20T21:19:16.815" v="126" actId="1037"/>
          <ac:spMkLst>
            <pc:docMk/>
            <pc:sldMk cId="28971199" sldId="4421"/>
            <ac:spMk id="10" creationId="{A44490E5-A262-199A-16F3-1043ED5ADC44}"/>
          </ac:spMkLst>
        </pc:spChg>
        <pc:spChg chg="mod">
          <ac:chgData name="Tahir, Talmeez" userId="459c27b2-c90b-4300-9d3a-f0f642b72716" providerId="ADAL" clId="{C2A87856-E7F8-4352-97F2-62DEFD6C4867}" dt="2025-11-20T21:18:03.631" v="104" actId="14100"/>
          <ac:spMkLst>
            <pc:docMk/>
            <pc:sldMk cId="28971199" sldId="4421"/>
            <ac:spMk id="11" creationId="{641244EF-D953-7612-3790-229F93EE35D1}"/>
          </ac:spMkLst>
        </pc:spChg>
        <pc:spChg chg="mod">
          <ac:chgData name="Tahir, Talmeez" userId="459c27b2-c90b-4300-9d3a-f0f642b72716" providerId="ADAL" clId="{C2A87856-E7F8-4352-97F2-62DEFD6C4867}" dt="2025-11-20T23:14:19.995" v="177" actId="1036"/>
          <ac:spMkLst>
            <pc:docMk/>
            <pc:sldMk cId="28971199" sldId="4421"/>
            <ac:spMk id="12" creationId="{7379852B-0A32-348D-601F-277720A33351}"/>
          </ac:spMkLst>
        </pc:spChg>
        <pc:spChg chg="mod">
          <ac:chgData name="Tahir, Talmeez" userId="459c27b2-c90b-4300-9d3a-f0f642b72716" providerId="ADAL" clId="{C2A87856-E7F8-4352-97F2-62DEFD6C4867}" dt="2025-11-20T23:14:19.995" v="177" actId="1036"/>
          <ac:spMkLst>
            <pc:docMk/>
            <pc:sldMk cId="28971199" sldId="4421"/>
            <ac:spMk id="14" creationId="{6E1566A4-160E-0009-65B6-F1C7AF28049E}"/>
          </ac:spMkLst>
        </pc:spChg>
        <pc:spChg chg="mod">
          <ac:chgData name="Tahir, Talmeez" userId="459c27b2-c90b-4300-9d3a-f0f642b72716" providerId="ADAL" clId="{C2A87856-E7F8-4352-97F2-62DEFD6C4867}" dt="2025-11-20T23:14:19.995" v="177" actId="1036"/>
          <ac:spMkLst>
            <pc:docMk/>
            <pc:sldMk cId="28971199" sldId="4421"/>
            <ac:spMk id="15" creationId="{0AC6037B-41C1-8DE7-3AAB-B1515FC929D7}"/>
          </ac:spMkLst>
        </pc:spChg>
        <pc:spChg chg="mod">
          <ac:chgData name="Tahir, Talmeez" userId="459c27b2-c90b-4300-9d3a-f0f642b72716" providerId="ADAL" clId="{C2A87856-E7F8-4352-97F2-62DEFD6C4867}" dt="2025-11-20T23:14:19.995" v="177" actId="1036"/>
          <ac:spMkLst>
            <pc:docMk/>
            <pc:sldMk cId="28971199" sldId="4421"/>
            <ac:spMk id="16" creationId="{5ADE71C2-18D5-36FB-300F-C9CBF757955A}"/>
          </ac:spMkLst>
        </pc:spChg>
        <pc:spChg chg="mod">
          <ac:chgData name="Tahir, Talmeez" userId="459c27b2-c90b-4300-9d3a-f0f642b72716" providerId="ADAL" clId="{C2A87856-E7F8-4352-97F2-62DEFD6C4867}" dt="2025-11-20T21:15:41.159" v="82" actId="20577"/>
          <ac:spMkLst>
            <pc:docMk/>
            <pc:sldMk cId="28971199" sldId="4421"/>
            <ac:spMk id="20" creationId="{CDA5AB22-0C9A-C89E-5D0F-F55674096BE7}"/>
          </ac:spMkLst>
        </pc:spChg>
        <pc:spChg chg="mod">
          <ac:chgData name="Tahir, Talmeez" userId="459c27b2-c90b-4300-9d3a-f0f642b72716" providerId="ADAL" clId="{C2A87856-E7F8-4352-97F2-62DEFD6C4867}" dt="2025-11-20T23:14:19.995" v="177" actId="1036"/>
          <ac:spMkLst>
            <pc:docMk/>
            <pc:sldMk cId="28971199" sldId="4421"/>
            <ac:spMk id="486" creationId="{8FADBE90-29FC-6C20-C183-5B39E7A254D2}"/>
          </ac:spMkLst>
        </pc:spChg>
        <pc:spChg chg="mod">
          <ac:chgData name="Tahir, Talmeez" userId="459c27b2-c90b-4300-9d3a-f0f642b72716" providerId="ADAL" clId="{C2A87856-E7F8-4352-97F2-62DEFD6C4867}" dt="2025-11-20T23:14:19.995" v="177" actId="1036"/>
          <ac:spMkLst>
            <pc:docMk/>
            <pc:sldMk cId="28971199" sldId="4421"/>
            <ac:spMk id="584" creationId="{7B15590D-6944-04D9-248B-787F53E53F31}"/>
          </ac:spMkLst>
        </pc:spChg>
        <pc:spChg chg="mod">
          <ac:chgData name="Tahir, Talmeez" userId="459c27b2-c90b-4300-9d3a-f0f642b72716" providerId="ADAL" clId="{C2A87856-E7F8-4352-97F2-62DEFD6C4867}" dt="2025-11-20T23:14:19.995" v="177" actId="1036"/>
          <ac:spMkLst>
            <pc:docMk/>
            <pc:sldMk cId="28971199" sldId="4421"/>
            <ac:spMk id="585" creationId="{C7C84C69-54D6-E288-A0C2-072F0415D012}"/>
          </ac:spMkLst>
        </pc:spChg>
        <pc:spChg chg="mod">
          <ac:chgData name="Tahir, Talmeez" userId="459c27b2-c90b-4300-9d3a-f0f642b72716" providerId="ADAL" clId="{C2A87856-E7F8-4352-97F2-62DEFD6C4867}" dt="2025-11-20T23:14:19.995" v="177" actId="1036"/>
          <ac:spMkLst>
            <pc:docMk/>
            <pc:sldMk cId="28971199" sldId="4421"/>
            <ac:spMk id="586" creationId="{EA68BE91-D74D-539F-992A-785B8A70E3D3}"/>
          </ac:spMkLst>
        </pc:spChg>
      </pc:sldChg>
      <pc:sldChg chg="del">
        <pc:chgData name="Tahir, Talmeez" userId="459c27b2-c90b-4300-9d3a-f0f642b72716" providerId="ADAL" clId="{C2A87856-E7F8-4352-97F2-62DEFD6C4867}" dt="2025-11-20T21:01:59.791" v="8" actId="47"/>
        <pc:sldMkLst>
          <pc:docMk/>
          <pc:sldMk cId="359896631" sldId="2147469524"/>
        </pc:sldMkLst>
      </pc:sldChg>
      <pc:sldChg chg="del">
        <pc:chgData name="Tahir, Talmeez" userId="459c27b2-c90b-4300-9d3a-f0f642b72716" providerId="ADAL" clId="{C2A87856-E7F8-4352-97F2-62DEFD6C4867}" dt="2025-11-20T21:03:12.990" v="10" actId="47"/>
        <pc:sldMkLst>
          <pc:docMk/>
          <pc:sldMk cId="799208479" sldId="2147469894"/>
        </pc:sldMkLst>
      </pc:sldChg>
      <pc:sldChg chg="modSp add mod">
        <pc:chgData name="Tahir, Talmeez" userId="459c27b2-c90b-4300-9d3a-f0f642b72716" providerId="ADAL" clId="{C2A87856-E7F8-4352-97F2-62DEFD6C4867}" dt="2025-11-20T21:11:11.921" v="16" actId="1076"/>
        <pc:sldMkLst>
          <pc:docMk/>
          <pc:sldMk cId="1755153301" sldId="2147470344"/>
        </pc:sldMkLst>
        <pc:spChg chg="mod">
          <ac:chgData name="Tahir, Talmeez" userId="459c27b2-c90b-4300-9d3a-f0f642b72716" providerId="ADAL" clId="{C2A87856-E7F8-4352-97F2-62DEFD6C4867}" dt="2025-11-20T21:11:11.921" v="16" actId="1076"/>
          <ac:spMkLst>
            <pc:docMk/>
            <pc:sldMk cId="1755153301" sldId="2147470344"/>
            <ac:spMk id="2" creationId="{D49700D1-B870-D3E7-6528-E5FFCADFF651}"/>
          </ac:spMkLst>
        </pc:spChg>
        <pc:grpChg chg="mod">
          <ac:chgData name="Tahir, Talmeez" userId="459c27b2-c90b-4300-9d3a-f0f642b72716" providerId="ADAL" clId="{C2A87856-E7F8-4352-97F2-62DEFD6C4867}" dt="2025-11-20T21:10:10.115" v="11" actId="14100"/>
          <ac:grpSpMkLst>
            <pc:docMk/>
            <pc:sldMk cId="1755153301" sldId="2147470344"/>
            <ac:grpSpMk id="27" creationId="{440AD6E4-9051-1643-9BA7-5EF49FA7AB23}"/>
          </ac:grpSpMkLst>
        </pc:grpChg>
      </pc:sldChg>
      <pc:sldChg chg="add">
        <pc:chgData name="Tahir, Talmeez" userId="459c27b2-c90b-4300-9d3a-f0f642b72716" providerId="ADAL" clId="{C2A87856-E7F8-4352-97F2-62DEFD6C4867}" dt="2025-11-20T20:56:12.526" v="0" actId="2890"/>
        <pc:sldMkLst>
          <pc:docMk/>
          <pc:sldMk cId="1477378168" sldId="2147483388"/>
        </pc:sldMkLst>
      </pc:sldChg>
      <pc:sldChg chg="modSp add mod">
        <pc:chgData name="Tahir, Talmeez" userId="459c27b2-c90b-4300-9d3a-f0f642b72716" providerId="ADAL" clId="{C2A87856-E7F8-4352-97F2-62DEFD6C4867}" dt="2025-11-20T21:20:08.242" v="140" actId="20577"/>
        <pc:sldMkLst>
          <pc:docMk/>
          <pc:sldMk cId="4020417168" sldId="2147483511"/>
        </pc:sldMkLst>
        <pc:spChg chg="mod">
          <ac:chgData name="Tahir, Talmeez" userId="459c27b2-c90b-4300-9d3a-f0f642b72716" providerId="ADAL" clId="{C2A87856-E7F8-4352-97F2-62DEFD6C4867}" dt="2025-11-20T21:20:08.242" v="140" actId="20577"/>
          <ac:spMkLst>
            <pc:docMk/>
            <pc:sldMk cId="4020417168" sldId="2147483511"/>
            <ac:spMk id="9" creationId="{E6B5822A-DAA2-DD4E-9B32-69540956F775}"/>
          </ac:spMkLst>
        </pc:spChg>
        <pc:spChg chg="mod">
          <ac:chgData name="Tahir, Talmeez" userId="459c27b2-c90b-4300-9d3a-f0f642b72716" providerId="ADAL" clId="{C2A87856-E7F8-4352-97F2-62DEFD6C4867}" dt="2025-11-20T21:10:32.921" v="13" actId="14100"/>
          <ac:spMkLst>
            <pc:docMk/>
            <pc:sldMk cId="4020417168" sldId="2147483511"/>
            <ac:spMk id="105" creationId="{FEC32998-DA94-5E9E-1C3B-8879B52A24E3}"/>
          </ac:spMkLst>
        </pc:spChg>
      </pc:sldChg>
      <pc:sldChg chg="modSp add mod modNotesTx">
        <pc:chgData name="Tahir, Talmeez" userId="459c27b2-c90b-4300-9d3a-f0f642b72716" providerId="ADAL" clId="{C2A87856-E7F8-4352-97F2-62DEFD6C4867}" dt="2025-11-20T23:18:53.769" v="179" actId="20577"/>
        <pc:sldMkLst>
          <pc:docMk/>
          <pc:sldMk cId="1657940044" sldId="2147483513"/>
        </pc:sldMkLst>
        <pc:spChg chg="mod">
          <ac:chgData name="Tahir, Talmeez" userId="459c27b2-c90b-4300-9d3a-f0f642b72716" providerId="ADAL" clId="{C2A87856-E7F8-4352-97F2-62DEFD6C4867}" dt="2025-11-20T21:11:07.566" v="15" actId="1076"/>
          <ac:spMkLst>
            <pc:docMk/>
            <pc:sldMk cId="1657940044" sldId="2147483513"/>
            <ac:spMk id="2" creationId="{4808D06E-5920-0DD0-682F-08009416DDD0}"/>
          </ac:spMkLst>
        </pc:spChg>
      </pc:sldChg>
      <pc:sldMasterChg chg="delSldLayout">
        <pc:chgData name="Tahir, Talmeez" userId="459c27b2-c90b-4300-9d3a-f0f642b72716" providerId="ADAL" clId="{C2A87856-E7F8-4352-97F2-62DEFD6C4867}" dt="2025-11-20T21:10:40.150" v="14" actId="2696"/>
        <pc:sldMasterMkLst>
          <pc:docMk/>
          <pc:sldMasterMk cId="1066049325" sldId="2147484025"/>
        </pc:sldMasterMkLst>
        <pc:sldLayoutChg chg="del">
          <pc:chgData name="Tahir, Talmeez" userId="459c27b2-c90b-4300-9d3a-f0f642b72716" providerId="ADAL" clId="{C2A87856-E7F8-4352-97F2-62DEFD6C4867}" dt="2025-11-20T21:03:12.990" v="10" actId="47"/>
          <pc:sldLayoutMkLst>
            <pc:docMk/>
            <pc:sldMasterMk cId="1066049325" sldId="2147484025"/>
            <pc:sldLayoutMk cId="597955082" sldId="2147484078"/>
          </pc:sldLayoutMkLst>
        </pc:sldLayoutChg>
        <pc:sldLayoutChg chg="del">
          <pc:chgData name="Tahir, Talmeez" userId="459c27b2-c90b-4300-9d3a-f0f642b72716" providerId="ADAL" clId="{C2A87856-E7F8-4352-97F2-62DEFD6C4867}" dt="2025-11-20T21:10:40.150" v="14" actId="2696"/>
          <pc:sldLayoutMkLst>
            <pc:docMk/>
            <pc:sldMasterMk cId="1066049325" sldId="2147484025"/>
            <pc:sldLayoutMk cId="2333088178" sldId="2147484085"/>
          </pc:sldLayoutMkLst>
        </pc:sldLayoutChg>
      </pc:sldMasterChg>
    </pc:docChg>
  </pc:docChgLst>
  <pc:docChgLst>
    <pc:chgData name="Broyles, Traci" userId="b2698ddf-8c2c-40b3-bb05-465447aa1b1e" providerId="ADAL" clId="{D1045E91-E38F-4DE5-9428-9737EA08A0FE}"/>
    <pc:docChg chg="undo redo custSel addSld delSld modSld sldOrd modMainMaster delSection modSection">
      <pc:chgData name="Broyles, Traci" userId="b2698ddf-8c2c-40b3-bb05-465447aa1b1e" providerId="ADAL" clId="{D1045E91-E38F-4DE5-9428-9737EA08A0FE}" dt="2025-11-21T15:06:23.946" v="1453" actId="1076"/>
      <pc:docMkLst>
        <pc:docMk/>
      </pc:docMkLst>
      <pc:sldChg chg="delSp modSp del mod">
        <pc:chgData name="Broyles, Traci" userId="b2698ddf-8c2c-40b3-bb05-465447aa1b1e" providerId="ADAL" clId="{D1045E91-E38F-4DE5-9428-9737EA08A0FE}" dt="2025-11-21T12:16:02.212" v="479" actId="47"/>
        <pc:sldMkLst>
          <pc:docMk/>
          <pc:sldMk cId="1001018165" sldId="256"/>
        </pc:sldMkLst>
        <pc:spChg chg="mod">
          <ac:chgData name="Broyles, Traci" userId="b2698ddf-8c2c-40b3-bb05-465447aa1b1e" providerId="ADAL" clId="{D1045E91-E38F-4DE5-9428-9737EA08A0FE}" dt="2025-11-21T12:14:28.212" v="444" actId="207"/>
          <ac:spMkLst>
            <pc:docMk/>
            <pc:sldMk cId="1001018165" sldId="256"/>
            <ac:spMk id="7" creationId="{83CC2BAC-D13D-4C37-A93E-22FE197DBAA6}"/>
          </ac:spMkLst>
        </pc:spChg>
        <pc:picChg chg="del">
          <ac:chgData name="Broyles, Traci" userId="b2698ddf-8c2c-40b3-bb05-465447aa1b1e" providerId="ADAL" clId="{D1045E91-E38F-4DE5-9428-9737EA08A0FE}" dt="2025-11-21T12:12:18.448" v="428" actId="478"/>
          <ac:picMkLst>
            <pc:docMk/>
            <pc:sldMk cId="1001018165" sldId="256"/>
            <ac:picMk id="1026" creationId="{4DED1AB0-839E-0340-C52E-3F9E7DAF29AC}"/>
          </ac:picMkLst>
        </pc:picChg>
      </pc:sldChg>
      <pc:sldChg chg="mod ord modShow">
        <pc:chgData name="Broyles, Traci" userId="b2698ddf-8c2c-40b3-bb05-465447aa1b1e" providerId="ADAL" clId="{D1045E91-E38F-4DE5-9428-9737EA08A0FE}" dt="2025-11-21T14:00:58.317" v="1342" actId="729"/>
        <pc:sldMkLst>
          <pc:docMk/>
          <pc:sldMk cId="0" sldId="257"/>
        </pc:sldMkLst>
      </pc:sldChg>
      <pc:sldChg chg="modSp mod modClrScheme chgLayout">
        <pc:chgData name="Broyles, Traci" userId="b2698ddf-8c2c-40b3-bb05-465447aa1b1e" providerId="ADAL" clId="{D1045E91-E38F-4DE5-9428-9737EA08A0FE}" dt="2025-11-21T13:45:22.504" v="1125" actId="14100"/>
        <pc:sldMkLst>
          <pc:docMk/>
          <pc:sldMk cId="400444895" sldId="279"/>
        </pc:sldMkLst>
        <pc:spChg chg="mod ord">
          <ac:chgData name="Broyles, Traci" userId="b2698ddf-8c2c-40b3-bb05-465447aa1b1e" providerId="ADAL" clId="{D1045E91-E38F-4DE5-9428-9737EA08A0FE}" dt="2025-11-21T13:45:15.710" v="1124" actId="700"/>
          <ac:spMkLst>
            <pc:docMk/>
            <pc:sldMk cId="400444895" sldId="279"/>
            <ac:spMk id="36" creationId="{00000000-0000-0000-0000-000000000000}"/>
          </ac:spMkLst>
        </pc:spChg>
        <pc:spChg chg="mod">
          <ac:chgData name="Broyles, Traci" userId="b2698ddf-8c2c-40b3-bb05-465447aa1b1e" providerId="ADAL" clId="{D1045E91-E38F-4DE5-9428-9737EA08A0FE}" dt="2025-11-21T13:45:22.504" v="1125" actId="14100"/>
          <ac:spMkLst>
            <pc:docMk/>
            <pc:sldMk cId="400444895" sldId="279"/>
            <ac:spMk id="75" creationId="{00000000-0000-0000-0000-000000000000}"/>
          </ac:spMkLst>
        </pc:spChg>
      </pc:sldChg>
      <pc:sldChg chg="add mod modShow">
        <pc:chgData name="Broyles, Traci" userId="b2698ddf-8c2c-40b3-bb05-465447aa1b1e" providerId="ADAL" clId="{D1045E91-E38F-4DE5-9428-9737EA08A0FE}" dt="2025-11-21T14:00:54.950" v="1340" actId="729"/>
        <pc:sldMkLst>
          <pc:docMk/>
          <pc:sldMk cId="3815851686" sldId="283"/>
        </pc:sldMkLst>
      </pc:sldChg>
      <pc:sldChg chg="modSp mod modClrScheme chgLayout">
        <pc:chgData name="Broyles, Traci" userId="b2698ddf-8c2c-40b3-bb05-465447aa1b1e" providerId="ADAL" clId="{D1045E91-E38F-4DE5-9428-9737EA08A0FE}" dt="2025-11-21T13:43:19.205" v="1113" actId="1076"/>
        <pc:sldMkLst>
          <pc:docMk/>
          <pc:sldMk cId="3618316407" sldId="305"/>
        </pc:sldMkLst>
        <pc:spChg chg="mod">
          <ac:chgData name="Broyles, Traci" userId="b2698ddf-8c2c-40b3-bb05-465447aa1b1e" providerId="ADAL" clId="{D1045E91-E38F-4DE5-9428-9737EA08A0FE}" dt="2025-11-21T13:43:08.903" v="1111" actId="1076"/>
          <ac:spMkLst>
            <pc:docMk/>
            <pc:sldMk cId="3618316407" sldId="305"/>
            <ac:spMk id="6" creationId="{01919287-F2E5-1A49-79EE-560A1A614100}"/>
          </ac:spMkLst>
        </pc:spChg>
        <pc:spChg chg="mod">
          <ac:chgData name="Broyles, Traci" userId="b2698ddf-8c2c-40b3-bb05-465447aa1b1e" providerId="ADAL" clId="{D1045E91-E38F-4DE5-9428-9737EA08A0FE}" dt="2025-11-21T13:43:08.903" v="1111" actId="1076"/>
          <ac:spMkLst>
            <pc:docMk/>
            <pc:sldMk cId="3618316407" sldId="305"/>
            <ac:spMk id="7" creationId="{FDDA5FA7-13DF-C6E6-DDD6-21F85FFBC025}"/>
          </ac:spMkLst>
        </pc:spChg>
        <pc:spChg chg="mod">
          <ac:chgData name="Broyles, Traci" userId="b2698ddf-8c2c-40b3-bb05-465447aa1b1e" providerId="ADAL" clId="{D1045E91-E38F-4DE5-9428-9737EA08A0FE}" dt="2025-11-21T13:43:08.903" v="1111" actId="1076"/>
          <ac:spMkLst>
            <pc:docMk/>
            <pc:sldMk cId="3618316407" sldId="305"/>
            <ac:spMk id="8" creationId="{E50DB369-9625-FF1A-1F92-8ADAEDFD5FD3}"/>
          </ac:spMkLst>
        </pc:spChg>
        <pc:spChg chg="mod">
          <ac:chgData name="Broyles, Traci" userId="b2698ddf-8c2c-40b3-bb05-465447aa1b1e" providerId="ADAL" clId="{D1045E91-E38F-4DE5-9428-9737EA08A0FE}" dt="2025-11-21T13:43:08.903" v="1111" actId="1076"/>
          <ac:spMkLst>
            <pc:docMk/>
            <pc:sldMk cId="3618316407" sldId="305"/>
            <ac:spMk id="9" creationId="{B2208E3C-6D2A-F9C2-2930-C69FCF6B662D}"/>
          </ac:spMkLst>
        </pc:spChg>
        <pc:spChg chg="mod">
          <ac:chgData name="Broyles, Traci" userId="b2698ddf-8c2c-40b3-bb05-465447aa1b1e" providerId="ADAL" clId="{D1045E91-E38F-4DE5-9428-9737EA08A0FE}" dt="2025-11-21T13:43:08.903" v="1111" actId="1076"/>
          <ac:spMkLst>
            <pc:docMk/>
            <pc:sldMk cId="3618316407" sldId="305"/>
            <ac:spMk id="12" creationId="{2D6999C7-B69A-4238-BBAA-64EBB703A3F6}"/>
          </ac:spMkLst>
        </pc:spChg>
        <pc:spChg chg="mod">
          <ac:chgData name="Broyles, Traci" userId="b2698ddf-8c2c-40b3-bb05-465447aa1b1e" providerId="ADAL" clId="{D1045E91-E38F-4DE5-9428-9737EA08A0FE}" dt="2025-11-21T13:43:08.903" v="1111" actId="1076"/>
          <ac:spMkLst>
            <pc:docMk/>
            <pc:sldMk cId="3618316407" sldId="305"/>
            <ac:spMk id="13" creationId="{F124BD86-D3AD-0886-B607-808D6F4E98FF}"/>
          </ac:spMkLst>
        </pc:spChg>
        <pc:spChg chg="mod">
          <ac:chgData name="Broyles, Traci" userId="b2698ddf-8c2c-40b3-bb05-465447aa1b1e" providerId="ADAL" clId="{D1045E91-E38F-4DE5-9428-9737EA08A0FE}" dt="2025-11-21T13:43:08.903" v="1111" actId="1076"/>
          <ac:spMkLst>
            <pc:docMk/>
            <pc:sldMk cId="3618316407" sldId="305"/>
            <ac:spMk id="15" creationId="{3D61D055-1F3A-36A4-5F8B-36A97941E90E}"/>
          </ac:spMkLst>
        </pc:spChg>
        <pc:spChg chg="mod">
          <ac:chgData name="Broyles, Traci" userId="b2698ddf-8c2c-40b3-bb05-465447aa1b1e" providerId="ADAL" clId="{D1045E91-E38F-4DE5-9428-9737EA08A0FE}" dt="2025-11-21T13:43:08.903" v="1111" actId="1076"/>
          <ac:spMkLst>
            <pc:docMk/>
            <pc:sldMk cId="3618316407" sldId="305"/>
            <ac:spMk id="17" creationId="{38F762CF-F611-9D2C-4DED-758B882EB33D}"/>
          </ac:spMkLst>
        </pc:spChg>
        <pc:spChg chg="mod">
          <ac:chgData name="Broyles, Traci" userId="b2698ddf-8c2c-40b3-bb05-465447aa1b1e" providerId="ADAL" clId="{D1045E91-E38F-4DE5-9428-9737EA08A0FE}" dt="2025-11-21T13:43:08.903" v="1111" actId="1076"/>
          <ac:spMkLst>
            <pc:docMk/>
            <pc:sldMk cId="3618316407" sldId="305"/>
            <ac:spMk id="18" creationId="{0DD9DA9E-D5BE-E6A9-255E-6997620E704D}"/>
          </ac:spMkLst>
        </pc:spChg>
        <pc:spChg chg="mod ord">
          <ac:chgData name="Broyles, Traci" userId="b2698ddf-8c2c-40b3-bb05-465447aa1b1e" providerId="ADAL" clId="{D1045E91-E38F-4DE5-9428-9737EA08A0FE}" dt="2025-11-21T13:43:19.205" v="1113" actId="1076"/>
          <ac:spMkLst>
            <pc:docMk/>
            <pc:sldMk cId="3618316407" sldId="305"/>
            <ac:spMk id="21" creationId="{25757804-762A-4BBB-A435-9220104A5126}"/>
          </ac:spMkLst>
        </pc:spChg>
        <pc:spChg chg="mod ord">
          <ac:chgData name="Broyles, Traci" userId="b2698ddf-8c2c-40b3-bb05-465447aa1b1e" providerId="ADAL" clId="{D1045E91-E38F-4DE5-9428-9737EA08A0FE}" dt="2025-11-21T13:42:35.672" v="1106" actId="700"/>
          <ac:spMkLst>
            <pc:docMk/>
            <pc:sldMk cId="3618316407" sldId="305"/>
            <ac:spMk id="23" creationId="{D7F14376-1045-431B-87FB-83A7FD690EE6}"/>
          </ac:spMkLst>
        </pc:spChg>
        <pc:spChg chg="mod">
          <ac:chgData name="Broyles, Traci" userId="b2698ddf-8c2c-40b3-bb05-465447aa1b1e" providerId="ADAL" clId="{D1045E91-E38F-4DE5-9428-9737EA08A0FE}" dt="2025-11-21T13:43:08.903" v="1111" actId="1076"/>
          <ac:spMkLst>
            <pc:docMk/>
            <pc:sldMk cId="3618316407" sldId="305"/>
            <ac:spMk id="31" creationId="{77CB8316-9FE6-38E5-5D8E-7DC2104540A2}"/>
          </ac:spMkLst>
        </pc:spChg>
        <pc:spChg chg="mod">
          <ac:chgData name="Broyles, Traci" userId="b2698ddf-8c2c-40b3-bb05-465447aa1b1e" providerId="ADAL" clId="{D1045E91-E38F-4DE5-9428-9737EA08A0FE}" dt="2025-11-21T13:43:14.447" v="1112" actId="1076"/>
          <ac:spMkLst>
            <pc:docMk/>
            <pc:sldMk cId="3618316407" sldId="305"/>
            <ac:spMk id="38" creationId="{42B6EAB0-55B2-8B87-140A-54234366D895}"/>
          </ac:spMkLst>
        </pc:spChg>
        <pc:graphicFrameChg chg="mod ord">
          <ac:chgData name="Broyles, Traci" userId="b2698ddf-8c2c-40b3-bb05-465447aa1b1e" providerId="ADAL" clId="{D1045E91-E38F-4DE5-9428-9737EA08A0FE}" dt="2025-11-21T13:42:53.115" v="1110" actId="1076"/>
          <ac:graphicFrameMkLst>
            <pc:docMk/>
            <pc:sldMk cId="3618316407" sldId="305"/>
            <ac:graphicFrameMk id="30" creationId="{DE6D74CE-0A95-91F3-2E42-BFA92E38EFD6}"/>
          </ac:graphicFrameMkLst>
        </pc:graphicFrameChg>
      </pc:sldChg>
      <pc:sldChg chg="addSp delSp modSp del mod modClrScheme chgLayout">
        <pc:chgData name="Broyles, Traci" userId="b2698ddf-8c2c-40b3-bb05-465447aa1b1e" providerId="ADAL" clId="{D1045E91-E38F-4DE5-9428-9737EA08A0FE}" dt="2025-11-21T13:59:55.445" v="1337" actId="2696"/>
        <pc:sldMkLst>
          <pc:docMk/>
          <pc:sldMk cId="1667110039" sldId="346"/>
        </pc:sldMkLst>
        <pc:spChg chg="add del mod">
          <ac:chgData name="Broyles, Traci" userId="b2698ddf-8c2c-40b3-bb05-465447aa1b1e" providerId="ADAL" clId="{D1045E91-E38F-4DE5-9428-9737EA08A0FE}" dt="2025-11-21T13:57:24.585" v="1257" actId="6549"/>
          <ac:spMkLst>
            <pc:docMk/>
            <pc:sldMk cId="1667110039" sldId="346"/>
            <ac:spMk id="3" creationId="{6EF15469-DEA4-47E5-9F2C-218243847073}"/>
          </ac:spMkLst>
        </pc:spChg>
      </pc:sldChg>
      <pc:sldChg chg="delSp modSp mod modClrScheme chgLayout">
        <pc:chgData name="Broyles, Traci" userId="b2698ddf-8c2c-40b3-bb05-465447aa1b1e" providerId="ADAL" clId="{D1045E91-E38F-4DE5-9428-9737EA08A0FE}" dt="2025-11-21T13:41:36.618" v="1103" actId="478"/>
        <pc:sldMkLst>
          <pc:docMk/>
          <pc:sldMk cId="1777719787" sldId="348"/>
        </pc:sldMkLst>
        <pc:spChg chg="mod ord">
          <ac:chgData name="Broyles, Traci" userId="b2698ddf-8c2c-40b3-bb05-465447aa1b1e" providerId="ADAL" clId="{D1045E91-E38F-4DE5-9428-9737EA08A0FE}" dt="2025-11-21T12:11:20.466" v="427" actId="1076"/>
          <ac:spMkLst>
            <pc:docMk/>
            <pc:sldMk cId="1777719787" sldId="348"/>
            <ac:spMk id="2" creationId="{D875978C-DD55-415E-9DF9-D56D0748BDC1}"/>
          </ac:spMkLst>
        </pc:spChg>
        <pc:spChg chg="mod ord">
          <ac:chgData name="Broyles, Traci" userId="b2698ddf-8c2c-40b3-bb05-465447aa1b1e" providerId="ADAL" clId="{D1045E91-E38F-4DE5-9428-9737EA08A0FE}" dt="2025-11-21T12:09:01.997" v="408" actId="14100"/>
          <ac:spMkLst>
            <pc:docMk/>
            <pc:sldMk cId="1777719787" sldId="348"/>
            <ac:spMk id="3" creationId="{BDC08710-4F2D-40CA-A5EC-44E654D10EC7}"/>
          </ac:spMkLst>
        </pc:spChg>
        <pc:spChg chg="del mod ord">
          <ac:chgData name="Broyles, Traci" userId="b2698ddf-8c2c-40b3-bb05-465447aa1b1e" providerId="ADAL" clId="{D1045E91-E38F-4DE5-9428-9737EA08A0FE}" dt="2025-11-21T13:41:36.618" v="1103" actId="478"/>
          <ac:spMkLst>
            <pc:docMk/>
            <pc:sldMk cId="1777719787" sldId="348"/>
            <ac:spMk id="4" creationId="{4427DB2D-0628-4265-B7A9-059161DD8EC3}"/>
          </ac:spMkLst>
        </pc:spChg>
        <pc:spChg chg="mod">
          <ac:chgData name="Broyles, Traci" userId="b2698ddf-8c2c-40b3-bb05-465447aa1b1e" providerId="ADAL" clId="{D1045E91-E38F-4DE5-9428-9737EA08A0FE}" dt="2025-11-21T12:11:10.967" v="426" actId="1076"/>
          <ac:spMkLst>
            <pc:docMk/>
            <pc:sldMk cId="1777719787" sldId="348"/>
            <ac:spMk id="6" creationId="{36A9EB79-76D1-4594-85E0-48F073BD4BAA}"/>
          </ac:spMkLst>
        </pc:spChg>
        <pc:spChg chg="mod">
          <ac:chgData name="Broyles, Traci" userId="b2698ddf-8c2c-40b3-bb05-465447aa1b1e" providerId="ADAL" clId="{D1045E91-E38F-4DE5-9428-9737EA08A0FE}" dt="2025-11-21T12:11:04.180" v="425" actId="1076"/>
          <ac:spMkLst>
            <pc:docMk/>
            <pc:sldMk cId="1777719787" sldId="348"/>
            <ac:spMk id="11" creationId="{89926BF4-FFE9-44E9-84CC-01834B5D17F0}"/>
          </ac:spMkLst>
        </pc:spChg>
        <pc:spChg chg="mod">
          <ac:chgData name="Broyles, Traci" userId="b2698ddf-8c2c-40b3-bb05-465447aa1b1e" providerId="ADAL" clId="{D1045E91-E38F-4DE5-9428-9737EA08A0FE}" dt="2025-11-21T12:10:39.806" v="423" actId="6549"/>
          <ac:spMkLst>
            <pc:docMk/>
            <pc:sldMk cId="1777719787" sldId="348"/>
            <ac:spMk id="12" creationId="{91D7DC7A-5DF9-4AE4-B033-FA09BE5CC4D0}"/>
          </ac:spMkLst>
        </pc:spChg>
        <pc:picChg chg="mod">
          <ac:chgData name="Broyles, Traci" userId="b2698ddf-8c2c-40b3-bb05-465447aa1b1e" providerId="ADAL" clId="{D1045E91-E38F-4DE5-9428-9737EA08A0FE}" dt="2025-11-21T12:10:57.847" v="424" actId="14100"/>
          <ac:picMkLst>
            <pc:docMk/>
            <pc:sldMk cId="1777719787" sldId="348"/>
            <ac:picMk id="2050" creationId="{B8CABB4B-9DED-4AA4-BEF7-C51340BA7471}"/>
          </ac:picMkLst>
        </pc:picChg>
      </pc:sldChg>
      <pc:sldChg chg="del">
        <pc:chgData name="Broyles, Traci" userId="b2698ddf-8c2c-40b3-bb05-465447aa1b1e" providerId="ADAL" clId="{D1045E91-E38F-4DE5-9428-9737EA08A0FE}" dt="2025-11-21T12:07:20.791" v="403" actId="47"/>
        <pc:sldMkLst>
          <pc:docMk/>
          <pc:sldMk cId="227133945" sldId="349"/>
        </pc:sldMkLst>
      </pc:sldChg>
      <pc:sldChg chg="modSp mod modClrScheme chgLayout">
        <pc:chgData name="Broyles, Traci" userId="b2698ddf-8c2c-40b3-bb05-465447aa1b1e" providerId="ADAL" clId="{D1045E91-E38F-4DE5-9428-9737EA08A0FE}" dt="2025-11-21T12:17:56.606" v="490" actId="1076"/>
        <pc:sldMkLst>
          <pc:docMk/>
          <pc:sldMk cId="607127167" sldId="350"/>
        </pc:sldMkLst>
        <pc:spChg chg="mod ord">
          <ac:chgData name="Broyles, Traci" userId="b2698ddf-8c2c-40b3-bb05-465447aa1b1e" providerId="ADAL" clId="{D1045E91-E38F-4DE5-9428-9737EA08A0FE}" dt="2025-11-21T12:17:56.606" v="490" actId="1076"/>
          <ac:spMkLst>
            <pc:docMk/>
            <pc:sldMk cId="607127167" sldId="350"/>
            <ac:spMk id="5" creationId="{00000000-0000-0000-0000-000000000000}"/>
          </ac:spMkLst>
        </pc:spChg>
        <pc:picChg chg="mod">
          <ac:chgData name="Broyles, Traci" userId="b2698ddf-8c2c-40b3-bb05-465447aa1b1e" providerId="ADAL" clId="{D1045E91-E38F-4DE5-9428-9737EA08A0FE}" dt="2025-11-21T12:17:25.270" v="485" actId="1076"/>
          <ac:picMkLst>
            <pc:docMk/>
            <pc:sldMk cId="607127167" sldId="350"/>
            <ac:picMk id="2050" creationId="{734CDC37-7302-A2EE-AB7D-78EBAA37EAA4}"/>
          </ac:picMkLst>
        </pc:picChg>
      </pc:sldChg>
      <pc:sldChg chg="addSp delSp modSp del mod modClrScheme chgLayout">
        <pc:chgData name="Broyles, Traci" userId="b2698ddf-8c2c-40b3-bb05-465447aa1b1e" providerId="ADAL" clId="{D1045E91-E38F-4DE5-9428-9737EA08A0FE}" dt="2025-11-21T13:40:17.808" v="1095" actId="47"/>
        <pc:sldMkLst>
          <pc:docMk/>
          <pc:sldMk cId="938826194" sldId="351"/>
        </pc:sldMkLst>
        <pc:spChg chg="mod ord">
          <ac:chgData name="Broyles, Traci" userId="b2698ddf-8c2c-40b3-bb05-465447aa1b1e" providerId="ADAL" clId="{D1045E91-E38F-4DE5-9428-9737EA08A0FE}" dt="2025-11-21T13:34:03.133" v="1030" actId="700"/>
          <ac:spMkLst>
            <pc:docMk/>
            <pc:sldMk cId="938826194" sldId="351"/>
            <ac:spMk id="4" creationId="{C6FE66AB-F802-4B1B-A4AB-5F43F3E5A17F}"/>
          </ac:spMkLst>
        </pc:spChg>
        <pc:spChg chg="add del mod">
          <ac:chgData name="Broyles, Traci" userId="b2698ddf-8c2c-40b3-bb05-465447aa1b1e" providerId="ADAL" clId="{D1045E91-E38F-4DE5-9428-9737EA08A0FE}" dt="2025-11-21T11:41:26.279" v="136" actId="478"/>
          <ac:spMkLst>
            <pc:docMk/>
            <pc:sldMk cId="938826194" sldId="351"/>
            <ac:spMk id="5" creationId="{D9E9E861-7F3D-F6B8-8DB0-72C8CB8DA6A6}"/>
          </ac:spMkLst>
        </pc:spChg>
        <pc:spChg chg="mod ord">
          <ac:chgData name="Broyles, Traci" userId="b2698ddf-8c2c-40b3-bb05-465447aa1b1e" providerId="ADAL" clId="{D1045E91-E38F-4DE5-9428-9737EA08A0FE}" dt="2025-11-21T13:34:03.133" v="1030" actId="700"/>
          <ac:spMkLst>
            <pc:docMk/>
            <pc:sldMk cId="938826194" sldId="351"/>
            <ac:spMk id="6" creationId="{CF2962EE-6A7D-4FE2-B099-6444445602F2}"/>
          </ac:spMkLst>
        </pc:spChg>
        <pc:spChg chg="add del mod">
          <ac:chgData name="Broyles, Traci" userId="b2698ddf-8c2c-40b3-bb05-465447aa1b1e" providerId="ADAL" clId="{D1045E91-E38F-4DE5-9428-9737EA08A0FE}" dt="2025-11-21T11:42:49.532" v="145" actId="478"/>
          <ac:spMkLst>
            <pc:docMk/>
            <pc:sldMk cId="938826194" sldId="351"/>
            <ac:spMk id="8" creationId="{C698218D-6232-55ED-E375-1067BD9A2773}"/>
          </ac:spMkLst>
        </pc:spChg>
        <pc:spChg chg="del mod ord">
          <ac:chgData name="Broyles, Traci" userId="b2698ddf-8c2c-40b3-bb05-465447aa1b1e" providerId="ADAL" clId="{D1045E91-E38F-4DE5-9428-9737EA08A0FE}" dt="2025-11-21T13:34:26.653" v="1033" actId="21"/>
          <ac:spMkLst>
            <pc:docMk/>
            <pc:sldMk cId="938826194" sldId="351"/>
            <ac:spMk id="10" creationId="{1E38C40D-FBF2-4B01-B758-EEEC642122B0}"/>
          </ac:spMkLst>
        </pc:spChg>
        <pc:spChg chg="add del mod ord">
          <ac:chgData name="Broyles, Traci" userId="b2698ddf-8c2c-40b3-bb05-465447aa1b1e" providerId="ADAL" clId="{D1045E91-E38F-4DE5-9428-9737EA08A0FE}" dt="2025-11-21T13:34:19.550" v="1032" actId="21"/>
          <ac:spMkLst>
            <pc:docMk/>
            <pc:sldMk cId="938826194" sldId="351"/>
            <ac:spMk id="11" creationId="{B76C1BD3-3130-46E9-9A04-1A089D054153}"/>
          </ac:spMkLst>
        </pc:spChg>
        <pc:spChg chg="del mod ord">
          <ac:chgData name="Broyles, Traci" userId="b2698ddf-8c2c-40b3-bb05-465447aa1b1e" providerId="ADAL" clId="{D1045E91-E38F-4DE5-9428-9737EA08A0FE}" dt="2025-11-21T13:34:26.653" v="1033" actId="21"/>
          <ac:spMkLst>
            <pc:docMk/>
            <pc:sldMk cId="938826194" sldId="351"/>
            <ac:spMk id="12" creationId="{9723D8D6-6ABE-4B18-9ECF-EBCD6CB41E94}"/>
          </ac:spMkLst>
        </pc:spChg>
        <pc:spChg chg="del mod">
          <ac:chgData name="Broyles, Traci" userId="b2698ddf-8c2c-40b3-bb05-465447aa1b1e" providerId="ADAL" clId="{D1045E91-E38F-4DE5-9428-9737EA08A0FE}" dt="2025-11-21T13:34:26.653" v="1033" actId="21"/>
          <ac:spMkLst>
            <pc:docMk/>
            <pc:sldMk cId="938826194" sldId="351"/>
            <ac:spMk id="13" creationId="{BAD0921B-CB8B-0910-B5B8-11FF69713139}"/>
          </ac:spMkLst>
        </pc:spChg>
        <pc:spChg chg="add del mod ord">
          <ac:chgData name="Broyles, Traci" userId="b2698ddf-8c2c-40b3-bb05-465447aa1b1e" providerId="ADAL" clId="{D1045E91-E38F-4DE5-9428-9737EA08A0FE}" dt="2025-11-21T13:34:26.653" v="1033" actId="21"/>
          <ac:spMkLst>
            <pc:docMk/>
            <pc:sldMk cId="938826194" sldId="351"/>
            <ac:spMk id="14" creationId="{59CDCB55-2660-44E7-8F48-FF4769B10635}"/>
          </ac:spMkLst>
        </pc:spChg>
        <pc:spChg chg="mod ord">
          <ac:chgData name="Broyles, Traci" userId="b2698ddf-8c2c-40b3-bb05-465447aa1b1e" providerId="ADAL" clId="{D1045E91-E38F-4DE5-9428-9737EA08A0FE}" dt="2025-11-21T13:34:03.133" v="1030" actId="700"/>
          <ac:spMkLst>
            <pc:docMk/>
            <pc:sldMk cId="938826194" sldId="351"/>
            <ac:spMk id="15" creationId="{83D4E702-13B4-4B6A-A9C8-063A020E5DA5}"/>
          </ac:spMkLst>
        </pc:spChg>
        <pc:spChg chg="del mod ord">
          <ac:chgData name="Broyles, Traci" userId="b2698ddf-8c2c-40b3-bb05-465447aa1b1e" providerId="ADAL" clId="{D1045E91-E38F-4DE5-9428-9737EA08A0FE}" dt="2025-11-21T13:34:26.653" v="1033" actId="21"/>
          <ac:spMkLst>
            <pc:docMk/>
            <pc:sldMk cId="938826194" sldId="351"/>
            <ac:spMk id="16" creationId="{BBDE531B-E38F-483C-866D-6F27338E1209}"/>
          </ac:spMkLst>
        </pc:spChg>
        <pc:spChg chg="add mod">
          <ac:chgData name="Broyles, Traci" userId="b2698ddf-8c2c-40b3-bb05-465447aa1b1e" providerId="ADAL" clId="{D1045E91-E38F-4DE5-9428-9737EA08A0FE}" dt="2025-11-21T11:52:08.615" v="291" actId="478"/>
          <ac:spMkLst>
            <pc:docMk/>
            <pc:sldMk cId="938826194" sldId="351"/>
            <ac:spMk id="18" creationId="{C3FEF717-FE1E-A271-490C-8398B42453EE}"/>
          </ac:spMkLst>
        </pc:spChg>
        <pc:spChg chg="add del mod ord">
          <ac:chgData name="Broyles, Traci" userId="b2698ddf-8c2c-40b3-bb05-465447aa1b1e" providerId="ADAL" clId="{D1045E91-E38F-4DE5-9428-9737EA08A0FE}" dt="2025-11-21T13:34:26.653" v="1033" actId="21"/>
          <ac:spMkLst>
            <pc:docMk/>
            <pc:sldMk cId="938826194" sldId="351"/>
            <ac:spMk id="19" creationId="{3C6EC251-E9CA-4A5C-AC37-B36B580F604C}"/>
          </ac:spMkLst>
        </pc:spChg>
        <pc:spChg chg="add del mod ord">
          <ac:chgData name="Broyles, Traci" userId="b2698ddf-8c2c-40b3-bb05-465447aa1b1e" providerId="ADAL" clId="{D1045E91-E38F-4DE5-9428-9737EA08A0FE}" dt="2025-11-21T13:34:26.653" v="1033" actId="21"/>
          <ac:spMkLst>
            <pc:docMk/>
            <pc:sldMk cId="938826194" sldId="351"/>
            <ac:spMk id="20" creationId="{2ED8A88A-8151-4E68-806A-A08DA3FD9D7F}"/>
          </ac:spMkLst>
        </pc:spChg>
        <pc:spChg chg="add del mod">
          <ac:chgData name="Broyles, Traci" userId="b2698ddf-8c2c-40b3-bb05-465447aa1b1e" providerId="ADAL" clId="{D1045E91-E38F-4DE5-9428-9737EA08A0FE}" dt="2025-11-21T13:34:19.550" v="1032" actId="21"/>
          <ac:spMkLst>
            <pc:docMk/>
            <pc:sldMk cId="938826194" sldId="351"/>
            <ac:spMk id="21" creationId="{D8588D6D-8AC0-7108-FF1E-D84C2888BAE3}"/>
          </ac:spMkLst>
        </pc:spChg>
        <pc:spChg chg="add mod">
          <ac:chgData name="Broyles, Traci" userId="b2698ddf-8c2c-40b3-bb05-465447aa1b1e" providerId="ADAL" clId="{D1045E91-E38F-4DE5-9428-9737EA08A0FE}" dt="2025-11-21T11:52:49.997" v="297" actId="478"/>
          <ac:spMkLst>
            <pc:docMk/>
            <pc:sldMk cId="938826194" sldId="351"/>
            <ac:spMk id="22" creationId="{8A6EF6A0-5A3E-331E-9308-3586BE9C9E49}"/>
          </ac:spMkLst>
        </pc:spChg>
        <pc:spChg chg="add del mod">
          <ac:chgData name="Broyles, Traci" userId="b2698ddf-8c2c-40b3-bb05-465447aa1b1e" providerId="ADAL" clId="{D1045E91-E38F-4DE5-9428-9737EA08A0FE}" dt="2025-11-21T13:34:26.653" v="1033" actId="21"/>
          <ac:spMkLst>
            <pc:docMk/>
            <pc:sldMk cId="938826194" sldId="351"/>
            <ac:spMk id="23" creationId="{238B160D-A1C2-2ACE-5977-805D57D01DB4}"/>
          </ac:spMkLst>
        </pc:spChg>
        <pc:spChg chg="add del mod ord">
          <ac:chgData name="Broyles, Traci" userId="b2698ddf-8c2c-40b3-bb05-465447aa1b1e" providerId="ADAL" clId="{D1045E91-E38F-4DE5-9428-9737EA08A0FE}" dt="2025-11-21T13:33:40.430" v="1020" actId="700"/>
          <ac:spMkLst>
            <pc:docMk/>
            <pc:sldMk cId="938826194" sldId="351"/>
            <ac:spMk id="27" creationId="{6202C8FB-70A1-428A-13D2-6FC43B856DB9}"/>
          </ac:spMkLst>
        </pc:spChg>
        <pc:spChg chg="add del mod">
          <ac:chgData name="Broyles, Traci" userId="b2698ddf-8c2c-40b3-bb05-465447aa1b1e" providerId="ADAL" clId="{D1045E91-E38F-4DE5-9428-9737EA08A0FE}" dt="2025-11-21T13:34:19.550" v="1032" actId="21"/>
          <ac:spMkLst>
            <pc:docMk/>
            <pc:sldMk cId="938826194" sldId="351"/>
            <ac:spMk id="29" creationId="{217FF15D-925D-FB14-489C-D809C484EB49}"/>
          </ac:spMkLst>
        </pc:spChg>
        <pc:spChg chg="add del mod">
          <ac:chgData name="Broyles, Traci" userId="b2698ddf-8c2c-40b3-bb05-465447aa1b1e" providerId="ADAL" clId="{D1045E91-E38F-4DE5-9428-9737EA08A0FE}" dt="2025-11-21T13:34:19.550" v="1032" actId="21"/>
          <ac:spMkLst>
            <pc:docMk/>
            <pc:sldMk cId="938826194" sldId="351"/>
            <ac:spMk id="31" creationId="{AC3A345B-F7A1-3AE4-3AED-05266C48DA1E}"/>
          </ac:spMkLst>
        </pc:spChg>
        <pc:spChg chg="add del mod">
          <ac:chgData name="Broyles, Traci" userId="b2698ddf-8c2c-40b3-bb05-465447aa1b1e" providerId="ADAL" clId="{D1045E91-E38F-4DE5-9428-9737EA08A0FE}" dt="2025-11-21T13:34:19.550" v="1032" actId="21"/>
          <ac:spMkLst>
            <pc:docMk/>
            <pc:sldMk cId="938826194" sldId="351"/>
            <ac:spMk id="1025" creationId="{73281AA6-B70E-06E4-C9C8-67B157311EB7}"/>
          </ac:spMkLst>
        </pc:spChg>
        <pc:spChg chg="add del mod">
          <ac:chgData name="Broyles, Traci" userId="b2698ddf-8c2c-40b3-bb05-465447aa1b1e" providerId="ADAL" clId="{D1045E91-E38F-4DE5-9428-9737EA08A0FE}" dt="2025-11-21T13:34:19.550" v="1032" actId="21"/>
          <ac:spMkLst>
            <pc:docMk/>
            <pc:sldMk cId="938826194" sldId="351"/>
            <ac:spMk id="1035" creationId="{8051EDB6-F924-5E79-251E-F8FB86487B4E}"/>
          </ac:spMkLst>
        </pc:spChg>
        <pc:spChg chg="add del mod">
          <ac:chgData name="Broyles, Traci" userId="b2698ddf-8c2c-40b3-bb05-465447aa1b1e" providerId="ADAL" clId="{D1045E91-E38F-4DE5-9428-9737EA08A0FE}" dt="2025-11-21T13:34:19.550" v="1032" actId="21"/>
          <ac:spMkLst>
            <pc:docMk/>
            <pc:sldMk cId="938826194" sldId="351"/>
            <ac:spMk id="1039" creationId="{44CF8F4C-BA61-48D4-3337-4BAC31CBEBE5}"/>
          </ac:spMkLst>
        </pc:spChg>
        <pc:spChg chg="add mod">
          <ac:chgData name="Broyles, Traci" userId="b2698ddf-8c2c-40b3-bb05-465447aa1b1e" providerId="ADAL" clId="{D1045E91-E38F-4DE5-9428-9737EA08A0FE}" dt="2025-11-21T13:34:26.653" v="1033" actId="21"/>
          <ac:spMkLst>
            <pc:docMk/>
            <pc:sldMk cId="938826194" sldId="351"/>
            <ac:spMk id="1045" creationId="{D1B04245-0646-2F1F-7013-447EB3123BD2}"/>
          </ac:spMkLst>
        </pc:spChg>
        <pc:spChg chg="add mod">
          <ac:chgData name="Broyles, Traci" userId="b2698ddf-8c2c-40b3-bb05-465447aa1b1e" providerId="ADAL" clId="{D1045E91-E38F-4DE5-9428-9737EA08A0FE}" dt="2025-11-21T13:34:26.653" v="1033" actId="21"/>
          <ac:spMkLst>
            <pc:docMk/>
            <pc:sldMk cId="938826194" sldId="351"/>
            <ac:spMk id="1047" creationId="{661FDA8E-0BC8-DA9D-2A1C-C928BD3B73A6}"/>
          </ac:spMkLst>
        </pc:spChg>
        <pc:picChg chg="del mod">
          <ac:chgData name="Broyles, Traci" userId="b2698ddf-8c2c-40b3-bb05-465447aa1b1e" providerId="ADAL" clId="{D1045E91-E38F-4DE5-9428-9737EA08A0FE}" dt="2025-11-21T11:41:26.279" v="136" actId="478"/>
          <ac:picMkLst>
            <pc:docMk/>
            <pc:sldMk cId="938826194" sldId="351"/>
            <ac:picMk id="3" creationId="{112501E0-8F73-C4F8-B934-ADE48C7AB851}"/>
          </ac:picMkLst>
        </pc:picChg>
        <pc:picChg chg="del">
          <ac:chgData name="Broyles, Traci" userId="b2698ddf-8c2c-40b3-bb05-465447aa1b1e" providerId="ADAL" clId="{D1045E91-E38F-4DE5-9428-9737EA08A0FE}" dt="2025-11-21T11:37:25.364" v="77" actId="478"/>
          <ac:picMkLst>
            <pc:docMk/>
            <pc:sldMk cId="938826194" sldId="351"/>
            <ac:picMk id="7" creationId="{05509C40-37A6-35E8-E8EB-52156D06E84B}"/>
          </ac:picMkLst>
        </pc:picChg>
        <pc:picChg chg="del">
          <ac:chgData name="Broyles, Traci" userId="b2698ddf-8c2c-40b3-bb05-465447aa1b1e" providerId="ADAL" clId="{D1045E91-E38F-4DE5-9428-9737EA08A0FE}" dt="2025-11-21T11:41:59.477" v="139" actId="478"/>
          <ac:picMkLst>
            <pc:docMk/>
            <pc:sldMk cId="938826194" sldId="351"/>
            <ac:picMk id="9" creationId="{3370A462-22D0-D652-011E-B075032878FF}"/>
          </ac:picMkLst>
        </pc:picChg>
        <pc:picChg chg="add mod modCrop">
          <ac:chgData name="Broyles, Traci" userId="b2698ddf-8c2c-40b3-bb05-465447aa1b1e" providerId="ADAL" clId="{D1045E91-E38F-4DE5-9428-9737EA08A0FE}" dt="2025-11-21T11:43:01.545" v="147" actId="1076"/>
          <ac:picMkLst>
            <pc:docMk/>
            <pc:sldMk cId="938826194" sldId="351"/>
            <ac:picMk id="17" creationId="{CB309B4F-C91E-B035-6EAA-5CCB72E9BF41}"/>
          </ac:picMkLst>
        </pc:picChg>
        <pc:picChg chg="add mod">
          <ac:chgData name="Broyles, Traci" userId="b2698ddf-8c2c-40b3-bb05-465447aa1b1e" providerId="ADAL" clId="{D1045E91-E38F-4DE5-9428-9737EA08A0FE}" dt="2025-11-21T11:42:56.060" v="146" actId="1076"/>
          <ac:picMkLst>
            <pc:docMk/>
            <pc:sldMk cId="938826194" sldId="351"/>
            <ac:picMk id="25" creationId="{B3EE92D7-CDCB-4D2E-BC7E-3C0F0C9E4462}"/>
          </ac:picMkLst>
        </pc:picChg>
        <pc:picChg chg="add mod modCrop">
          <ac:chgData name="Broyles, Traci" userId="b2698ddf-8c2c-40b3-bb05-465447aa1b1e" providerId="ADAL" clId="{D1045E91-E38F-4DE5-9428-9737EA08A0FE}" dt="2025-11-21T11:55:11.741" v="319" actId="1076"/>
          <ac:picMkLst>
            <pc:docMk/>
            <pc:sldMk cId="938826194" sldId="351"/>
            <ac:picMk id="26" creationId="{84A5ACEA-4EE8-134E-3EE7-511857DF759F}"/>
          </ac:picMkLst>
        </pc:picChg>
        <pc:picChg chg="add del mod">
          <ac:chgData name="Broyles, Traci" userId="b2698ddf-8c2c-40b3-bb05-465447aa1b1e" providerId="ADAL" clId="{D1045E91-E38F-4DE5-9428-9737EA08A0FE}" dt="2025-11-21T11:52:53.580" v="298" actId="478"/>
          <ac:picMkLst>
            <pc:docMk/>
            <pc:sldMk cId="938826194" sldId="351"/>
            <ac:picMk id="1028" creationId="{E1BA3757-8F9A-2545-07CC-BBBE7DA443AE}"/>
          </ac:picMkLst>
        </pc:picChg>
        <pc:picChg chg="add del mod">
          <ac:chgData name="Broyles, Traci" userId="b2698ddf-8c2c-40b3-bb05-465447aa1b1e" providerId="ADAL" clId="{D1045E91-E38F-4DE5-9428-9737EA08A0FE}" dt="2025-11-21T11:52:53.580" v="298" actId="478"/>
          <ac:picMkLst>
            <pc:docMk/>
            <pc:sldMk cId="938826194" sldId="351"/>
            <ac:picMk id="1029" creationId="{B9C6307F-9A2B-B43E-F2B8-5ADAB642AFF9}"/>
          </ac:picMkLst>
        </pc:picChg>
        <pc:picChg chg="add mod">
          <ac:chgData name="Broyles, Traci" userId="b2698ddf-8c2c-40b3-bb05-465447aa1b1e" providerId="ADAL" clId="{D1045E91-E38F-4DE5-9428-9737EA08A0FE}" dt="2025-11-21T11:52:31.632" v="294" actId="14100"/>
          <ac:picMkLst>
            <pc:docMk/>
            <pc:sldMk cId="938826194" sldId="351"/>
            <ac:picMk id="1031" creationId="{02EE6525-D711-124C-CA1F-B473C15D4B66}"/>
          </ac:picMkLst>
        </pc:picChg>
        <pc:picChg chg="add mod">
          <ac:chgData name="Broyles, Traci" userId="b2698ddf-8c2c-40b3-bb05-465447aa1b1e" providerId="ADAL" clId="{D1045E91-E38F-4DE5-9428-9737EA08A0FE}" dt="2025-11-21T11:52:31.632" v="294" actId="14100"/>
          <ac:picMkLst>
            <pc:docMk/>
            <pc:sldMk cId="938826194" sldId="351"/>
            <ac:picMk id="1032" creationId="{C6FCFD0A-4571-7915-0D3A-A02896B222DC}"/>
          </ac:picMkLst>
        </pc:picChg>
      </pc:sldChg>
      <pc:sldChg chg="delSp modSp mod modClrScheme chgLayout">
        <pc:chgData name="Broyles, Traci" userId="b2698ddf-8c2c-40b3-bb05-465447aa1b1e" providerId="ADAL" clId="{D1045E91-E38F-4DE5-9428-9737EA08A0FE}" dt="2025-11-21T13:30:50.436" v="997" actId="1076"/>
        <pc:sldMkLst>
          <pc:docMk/>
          <pc:sldMk cId="3987388710" sldId="352"/>
        </pc:sldMkLst>
        <pc:spChg chg="mod ord">
          <ac:chgData name="Broyles, Traci" userId="b2698ddf-8c2c-40b3-bb05-465447aa1b1e" providerId="ADAL" clId="{D1045E91-E38F-4DE5-9428-9737EA08A0FE}" dt="2025-11-21T13:30:46.449" v="996" actId="1076"/>
          <ac:spMkLst>
            <pc:docMk/>
            <pc:sldMk cId="3987388710" sldId="352"/>
            <ac:spMk id="2" creationId="{DEA477C8-6901-454A-84EB-A93A229328E1}"/>
          </ac:spMkLst>
        </pc:spChg>
        <pc:spChg chg="mod ord">
          <ac:chgData name="Broyles, Traci" userId="b2698ddf-8c2c-40b3-bb05-465447aa1b1e" providerId="ADAL" clId="{D1045E91-E38F-4DE5-9428-9737EA08A0FE}" dt="2025-11-21T13:30:50.436" v="997" actId="1076"/>
          <ac:spMkLst>
            <pc:docMk/>
            <pc:sldMk cId="3987388710" sldId="352"/>
            <ac:spMk id="3" creationId="{6ECD5C86-07F8-4CD1-BBA5-3529E79BCA13}"/>
          </ac:spMkLst>
        </pc:spChg>
        <pc:spChg chg="del mod ord">
          <ac:chgData name="Broyles, Traci" userId="b2698ddf-8c2c-40b3-bb05-465447aa1b1e" providerId="ADAL" clId="{D1045E91-E38F-4DE5-9428-9737EA08A0FE}" dt="2025-11-21T13:30:42.491" v="995" actId="478"/>
          <ac:spMkLst>
            <pc:docMk/>
            <pc:sldMk cId="3987388710" sldId="352"/>
            <ac:spMk id="4" creationId="{586323E2-7A7C-4E65-B180-94B3A4E15B94}"/>
          </ac:spMkLst>
        </pc:spChg>
      </pc:sldChg>
      <pc:sldChg chg="addSp delSp modSp mod modClrScheme chgLayout">
        <pc:chgData name="Broyles, Traci" userId="b2698ddf-8c2c-40b3-bb05-465447aa1b1e" providerId="ADAL" clId="{D1045E91-E38F-4DE5-9428-9737EA08A0FE}" dt="2025-11-21T13:31:49.542" v="1002" actId="313"/>
        <pc:sldMkLst>
          <pc:docMk/>
          <pc:sldMk cId="297816034" sldId="354"/>
        </pc:sldMkLst>
        <pc:spChg chg="mod ord">
          <ac:chgData name="Broyles, Traci" userId="b2698ddf-8c2c-40b3-bb05-465447aa1b1e" providerId="ADAL" clId="{D1045E91-E38F-4DE5-9428-9737EA08A0FE}" dt="2025-11-21T13:25:42.170" v="663" actId="700"/>
          <ac:spMkLst>
            <pc:docMk/>
            <pc:sldMk cId="297816034" sldId="354"/>
            <ac:spMk id="2" creationId="{00000000-0000-0000-0000-000000000000}"/>
          </ac:spMkLst>
        </pc:spChg>
        <pc:spChg chg="del mod">
          <ac:chgData name="Broyles, Traci" userId="b2698ddf-8c2c-40b3-bb05-465447aa1b1e" providerId="ADAL" clId="{D1045E91-E38F-4DE5-9428-9737EA08A0FE}" dt="2025-11-21T13:27:57.114" v="888" actId="478"/>
          <ac:spMkLst>
            <pc:docMk/>
            <pc:sldMk cId="297816034" sldId="354"/>
            <ac:spMk id="13" creationId="{0A42E3A2-9316-552A-BF5B-58B6926B0E8B}"/>
          </ac:spMkLst>
        </pc:spChg>
        <pc:spChg chg="del">
          <ac:chgData name="Broyles, Traci" userId="b2698ddf-8c2c-40b3-bb05-465447aa1b1e" providerId="ADAL" clId="{D1045E91-E38F-4DE5-9428-9737EA08A0FE}" dt="2025-11-21T13:28:01.671" v="890" actId="478"/>
          <ac:spMkLst>
            <pc:docMk/>
            <pc:sldMk cId="297816034" sldId="354"/>
            <ac:spMk id="14" creationId="{23396D13-E44E-3E41-A9A0-5FF8C4380ADD}"/>
          </ac:spMkLst>
        </pc:spChg>
        <pc:spChg chg="mod">
          <ac:chgData name="Broyles, Traci" userId="b2698ddf-8c2c-40b3-bb05-465447aa1b1e" providerId="ADAL" clId="{D1045E91-E38F-4DE5-9428-9737EA08A0FE}" dt="2025-11-21T13:29:55.508" v="984" actId="1076"/>
          <ac:spMkLst>
            <pc:docMk/>
            <pc:sldMk cId="297816034" sldId="354"/>
            <ac:spMk id="15" creationId="{6455A056-C60C-FE17-AF9B-A4CB6801AFFD}"/>
          </ac:spMkLst>
        </pc:spChg>
        <pc:spChg chg="add mod ord">
          <ac:chgData name="Broyles, Traci" userId="b2698ddf-8c2c-40b3-bb05-465447aa1b1e" providerId="ADAL" clId="{D1045E91-E38F-4DE5-9428-9737EA08A0FE}" dt="2025-11-21T13:30:01.225" v="986" actId="14100"/>
          <ac:spMkLst>
            <pc:docMk/>
            <pc:sldMk cId="297816034" sldId="354"/>
            <ac:spMk id="16" creationId="{191CA6B8-9FDF-93A2-4BBF-862A71D10DED}"/>
          </ac:spMkLst>
        </pc:spChg>
        <pc:spChg chg="add mod ord">
          <ac:chgData name="Broyles, Traci" userId="b2698ddf-8c2c-40b3-bb05-465447aa1b1e" providerId="ADAL" clId="{D1045E91-E38F-4DE5-9428-9737EA08A0FE}" dt="2025-11-21T13:30:01.225" v="986" actId="14100"/>
          <ac:spMkLst>
            <pc:docMk/>
            <pc:sldMk cId="297816034" sldId="354"/>
            <ac:spMk id="17" creationId="{A184B96A-60A7-C391-F1D0-1FFB51892BB4}"/>
          </ac:spMkLst>
        </pc:spChg>
        <pc:spChg chg="add mod ord">
          <ac:chgData name="Broyles, Traci" userId="b2698ddf-8c2c-40b3-bb05-465447aa1b1e" providerId="ADAL" clId="{D1045E91-E38F-4DE5-9428-9737EA08A0FE}" dt="2025-11-21T13:30:01.225" v="986" actId="14100"/>
          <ac:spMkLst>
            <pc:docMk/>
            <pc:sldMk cId="297816034" sldId="354"/>
            <ac:spMk id="19" creationId="{D66070FF-ADEE-51F7-5328-E2878A6AAE85}"/>
          </ac:spMkLst>
        </pc:spChg>
        <pc:spChg chg="add mod ord">
          <ac:chgData name="Broyles, Traci" userId="b2698ddf-8c2c-40b3-bb05-465447aa1b1e" providerId="ADAL" clId="{D1045E91-E38F-4DE5-9428-9737EA08A0FE}" dt="2025-11-21T13:30:01.225" v="986" actId="14100"/>
          <ac:spMkLst>
            <pc:docMk/>
            <pc:sldMk cId="297816034" sldId="354"/>
            <ac:spMk id="21" creationId="{9E7A4086-E5FC-1246-EA47-DDDA309E765A}"/>
          </ac:spMkLst>
        </pc:spChg>
        <pc:spChg chg="add mod ord">
          <ac:chgData name="Broyles, Traci" userId="b2698ddf-8c2c-40b3-bb05-465447aa1b1e" providerId="ADAL" clId="{D1045E91-E38F-4DE5-9428-9737EA08A0FE}" dt="2025-11-21T13:30:01.225" v="986" actId="14100"/>
          <ac:spMkLst>
            <pc:docMk/>
            <pc:sldMk cId="297816034" sldId="354"/>
            <ac:spMk id="2050" creationId="{13F98AA4-1174-A6FE-3112-1EFCCD42BE03}"/>
          </ac:spMkLst>
        </pc:spChg>
        <pc:spChg chg="mod">
          <ac:chgData name="Broyles, Traci" userId="b2698ddf-8c2c-40b3-bb05-465447aa1b1e" providerId="ADAL" clId="{D1045E91-E38F-4DE5-9428-9737EA08A0FE}" dt="2025-11-21T13:30:01.628" v="987" actId="14100"/>
          <ac:spMkLst>
            <pc:docMk/>
            <pc:sldMk cId="297816034" sldId="354"/>
            <ac:spMk id="2051" creationId="{ED9772B0-B0D3-6529-039D-8D8E7968AB91}"/>
          </ac:spMkLst>
        </pc:spChg>
        <pc:spChg chg="add mod ord">
          <ac:chgData name="Broyles, Traci" userId="b2698ddf-8c2c-40b3-bb05-465447aa1b1e" providerId="ADAL" clId="{D1045E91-E38F-4DE5-9428-9737EA08A0FE}" dt="2025-11-21T13:30:01.225" v="986" actId="14100"/>
          <ac:spMkLst>
            <pc:docMk/>
            <pc:sldMk cId="297816034" sldId="354"/>
            <ac:spMk id="2052" creationId="{31F7EE89-682A-BEFB-E84A-4B4FA012A7D0}"/>
          </ac:spMkLst>
        </pc:spChg>
        <pc:spChg chg="mod">
          <ac:chgData name="Broyles, Traci" userId="b2698ddf-8c2c-40b3-bb05-465447aa1b1e" providerId="ADAL" clId="{D1045E91-E38F-4DE5-9428-9737EA08A0FE}" dt="2025-11-21T13:28:52.076" v="964" actId="14100"/>
          <ac:spMkLst>
            <pc:docMk/>
            <pc:sldMk cId="297816034" sldId="354"/>
            <ac:spMk id="2053" creationId="{BB75F749-BA39-4BD3-CAE8-53EAE890EC7F}"/>
          </ac:spMkLst>
        </pc:spChg>
        <pc:spChg chg="add mod ord">
          <ac:chgData name="Broyles, Traci" userId="b2698ddf-8c2c-40b3-bb05-465447aa1b1e" providerId="ADAL" clId="{D1045E91-E38F-4DE5-9428-9737EA08A0FE}" dt="2025-11-21T13:30:08.644" v="989" actId="27636"/>
          <ac:spMkLst>
            <pc:docMk/>
            <pc:sldMk cId="297816034" sldId="354"/>
            <ac:spMk id="2054" creationId="{814E9B81-03E7-3845-0FE3-8301C3616B21}"/>
          </ac:spMkLst>
        </pc:spChg>
        <pc:spChg chg="mod">
          <ac:chgData name="Broyles, Traci" userId="b2698ddf-8c2c-40b3-bb05-465447aa1b1e" providerId="ADAL" clId="{D1045E91-E38F-4DE5-9428-9737EA08A0FE}" dt="2025-11-21T13:26:47.580" v="827" actId="20577"/>
          <ac:spMkLst>
            <pc:docMk/>
            <pc:sldMk cId="297816034" sldId="354"/>
            <ac:spMk id="2055" creationId="{C22AA91E-2823-FE06-D2F2-A8FC1C82423F}"/>
          </ac:spMkLst>
        </pc:spChg>
        <pc:spChg chg="add mod ord">
          <ac:chgData name="Broyles, Traci" userId="b2698ddf-8c2c-40b3-bb05-465447aa1b1e" providerId="ADAL" clId="{D1045E91-E38F-4DE5-9428-9737EA08A0FE}" dt="2025-11-21T13:30:01.225" v="986" actId="14100"/>
          <ac:spMkLst>
            <pc:docMk/>
            <pc:sldMk cId="297816034" sldId="354"/>
            <ac:spMk id="2056" creationId="{857C96AF-93D4-160F-08B1-C23FDB27DFE1}"/>
          </ac:spMkLst>
        </pc:spChg>
        <pc:spChg chg="add mod ord">
          <ac:chgData name="Broyles, Traci" userId="b2698ddf-8c2c-40b3-bb05-465447aa1b1e" providerId="ADAL" clId="{D1045E91-E38F-4DE5-9428-9737EA08A0FE}" dt="2025-11-21T13:30:01.225" v="986" actId="14100"/>
          <ac:spMkLst>
            <pc:docMk/>
            <pc:sldMk cId="297816034" sldId="354"/>
            <ac:spMk id="2057" creationId="{D2A45D0A-C828-DCCF-419B-0FFFD3AB97C8}"/>
          </ac:spMkLst>
        </pc:spChg>
        <pc:spChg chg="mod">
          <ac:chgData name="Broyles, Traci" userId="b2698ddf-8c2c-40b3-bb05-465447aa1b1e" providerId="ADAL" clId="{D1045E91-E38F-4DE5-9428-9737EA08A0FE}" dt="2025-11-21T13:31:49.542" v="1002" actId="313"/>
          <ac:spMkLst>
            <pc:docMk/>
            <pc:sldMk cId="297816034" sldId="354"/>
            <ac:spMk id="2058" creationId="{67DEA4B3-D4B8-68A8-60D0-3FD64D955D50}"/>
          </ac:spMkLst>
        </pc:spChg>
        <pc:grpChg chg="del">
          <ac:chgData name="Broyles, Traci" userId="b2698ddf-8c2c-40b3-bb05-465447aa1b1e" providerId="ADAL" clId="{D1045E91-E38F-4DE5-9428-9737EA08A0FE}" dt="2025-11-21T13:27:59.341" v="889" actId="478"/>
          <ac:grpSpMkLst>
            <pc:docMk/>
            <pc:sldMk cId="297816034" sldId="354"/>
            <ac:grpSpMk id="4" creationId="{C1150AD7-0456-640F-F253-E68C8BF31926}"/>
          </ac:grpSpMkLst>
        </pc:grpChg>
        <pc:grpChg chg="del">
          <ac:chgData name="Broyles, Traci" userId="b2698ddf-8c2c-40b3-bb05-465447aa1b1e" providerId="ADAL" clId="{D1045E91-E38F-4DE5-9428-9737EA08A0FE}" dt="2025-11-21T13:27:35.621" v="885" actId="478"/>
          <ac:grpSpMkLst>
            <pc:docMk/>
            <pc:sldMk cId="297816034" sldId="354"/>
            <ac:grpSpMk id="5" creationId="{A7ABD810-4AD5-3BD4-67CC-D146B7D426B5}"/>
          </ac:grpSpMkLst>
        </pc:grpChg>
        <pc:grpChg chg="del mod">
          <ac:chgData name="Broyles, Traci" userId="b2698ddf-8c2c-40b3-bb05-465447aa1b1e" providerId="ADAL" clId="{D1045E91-E38F-4DE5-9428-9737EA08A0FE}" dt="2025-11-21T13:30:24.601" v="991" actId="478"/>
          <ac:grpSpMkLst>
            <pc:docMk/>
            <pc:sldMk cId="297816034" sldId="354"/>
            <ac:grpSpMk id="24" creationId="{9C9265EB-3C87-48D9-924E-F43B2E4D678F}"/>
          </ac:grpSpMkLst>
        </pc:grpChg>
        <pc:grpChg chg="del">
          <ac:chgData name="Broyles, Traci" userId="b2698ddf-8c2c-40b3-bb05-465447aa1b1e" providerId="ADAL" clId="{D1045E91-E38F-4DE5-9428-9737EA08A0FE}" dt="2025-11-21T13:27:54.958" v="887" actId="478"/>
          <ac:grpSpMkLst>
            <pc:docMk/>
            <pc:sldMk cId="297816034" sldId="354"/>
            <ac:grpSpMk id="27" creationId="{00000000-0000-0000-0000-000000000000}"/>
          </ac:grpSpMkLst>
        </pc:grpChg>
        <pc:grpChg chg="del">
          <ac:chgData name="Broyles, Traci" userId="b2698ddf-8c2c-40b3-bb05-465447aa1b1e" providerId="ADAL" clId="{D1045E91-E38F-4DE5-9428-9737EA08A0FE}" dt="2025-11-21T13:27:52.013" v="886" actId="478"/>
          <ac:grpSpMkLst>
            <pc:docMk/>
            <pc:sldMk cId="297816034" sldId="354"/>
            <ac:grpSpMk id="33" creationId="{63EB8FFF-577F-4470-B1F2-8D9AD9A075E6}"/>
          </ac:grpSpMkLst>
        </pc:grpChg>
        <pc:grpChg chg="del">
          <ac:chgData name="Broyles, Traci" userId="b2698ddf-8c2c-40b3-bb05-465447aa1b1e" providerId="ADAL" clId="{D1045E91-E38F-4DE5-9428-9737EA08A0FE}" dt="2025-11-21T13:27:25.822" v="883" actId="478"/>
          <ac:grpSpMkLst>
            <pc:docMk/>
            <pc:sldMk cId="297816034" sldId="354"/>
            <ac:grpSpMk id="2048" creationId="{00000000-0000-0000-0000-000000000000}"/>
          </ac:grpSpMkLst>
        </pc:grpChg>
        <pc:grpChg chg="del">
          <ac:chgData name="Broyles, Traci" userId="b2698ddf-8c2c-40b3-bb05-465447aa1b1e" providerId="ADAL" clId="{D1045E91-E38F-4DE5-9428-9737EA08A0FE}" dt="2025-11-21T13:27:33.506" v="884" actId="478"/>
          <ac:grpSpMkLst>
            <pc:docMk/>
            <pc:sldMk cId="297816034" sldId="354"/>
            <ac:grpSpMk id="2049" creationId="{00000000-0000-0000-0000-000000000000}"/>
          </ac:grpSpMkLst>
        </pc:grpChg>
      </pc:sldChg>
      <pc:sldChg chg="modSp mod modClrScheme chgLayout">
        <pc:chgData name="Broyles, Traci" userId="b2698ddf-8c2c-40b3-bb05-465447aa1b1e" providerId="ADAL" clId="{D1045E91-E38F-4DE5-9428-9737EA08A0FE}" dt="2025-11-21T13:31:38.593" v="1001" actId="1076"/>
        <pc:sldMkLst>
          <pc:docMk/>
          <pc:sldMk cId="3797145135" sldId="355"/>
        </pc:sldMkLst>
        <pc:spChg chg="mod ord">
          <ac:chgData name="Broyles, Traci" userId="b2698ddf-8c2c-40b3-bb05-465447aa1b1e" providerId="ADAL" clId="{D1045E91-E38F-4DE5-9428-9737EA08A0FE}" dt="2025-11-21T13:31:38.593" v="1001" actId="1076"/>
          <ac:spMkLst>
            <pc:docMk/>
            <pc:sldMk cId="3797145135" sldId="355"/>
            <ac:spMk id="5" creationId="{2A992729-6087-4230-A0BB-BD746FFC32CE}"/>
          </ac:spMkLst>
        </pc:spChg>
      </pc:sldChg>
      <pc:sldChg chg="modSp mod modClrScheme chgLayout">
        <pc:chgData name="Broyles, Traci" userId="b2698ddf-8c2c-40b3-bb05-465447aa1b1e" providerId="ADAL" clId="{D1045E91-E38F-4DE5-9428-9737EA08A0FE}" dt="2025-11-21T13:48:35.487" v="1169" actId="255"/>
        <pc:sldMkLst>
          <pc:docMk/>
          <pc:sldMk cId="454974725" sldId="358"/>
        </pc:sldMkLst>
        <pc:spChg chg="mod ord">
          <ac:chgData name="Broyles, Traci" userId="b2698ddf-8c2c-40b3-bb05-465447aa1b1e" providerId="ADAL" clId="{D1045E91-E38F-4DE5-9428-9737EA08A0FE}" dt="2025-11-21T13:48:35.487" v="1169" actId="255"/>
          <ac:spMkLst>
            <pc:docMk/>
            <pc:sldMk cId="454974725" sldId="358"/>
            <ac:spMk id="2" creationId="{ECC47A2D-06FB-4BC3-8302-266302A9ED66}"/>
          </ac:spMkLst>
        </pc:spChg>
        <pc:spChg chg="mod ord">
          <ac:chgData name="Broyles, Traci" userId="b2698ddf-8c2c-40b3-bb05-465447aa1b1e" providerId="ADAL" clId="{D1045E91-E38F-4DE5-9428-9737EA08A0FE}" dt="2025-11-21T13:47:11.294" v="1144" actId="14100"/>
          <ac:spMkLst>
            <pc:docMk/>
            <pc:sldMk cId="454974725" sldId="358"/>
            <ac:spMk id="3" creationId="{9FB38631-E00F-4BA3-B173-4C97370BAC6F}"/>
          </ac:spMkLst>
        </pc:spChg>
      </pc:sldChg>
      <pc:sldChg chg="modSp mod modClrScheme chgLayout">
        <pc:chgData name="Broyles, Traci" userId="b2698ddf-8c2c-40b3-bb05-465447aa1b1e" providerId="ADAL" clId="{D1045E91-E38F-4DE5-9428-9737EA08A0FE}" dt="2025-11-21T13:49:47.442" v="1178" actId="1076"/>
        <pc:sldMkLst>
          <pc:docMk/>
          <pc:sldMk cId="134851097" sldId="359"/>
        </pc:sldMkLst>
        <pc:spChg chg="mod ord">
          <ac:chgData name="Broyles, Traci" userId="b2698ddf-8c2c-40b3-bb05-465447aa1b1e" providerId="ADAL" clId="{D1045E91-E38F-4DE5-9428-9737EA08A0FE}" dt="2025-11-21T13:49:42.752" v="1177" actId="700"/>
          <ac:spMkLst>
            <pc:docMk/>
            <pc:sldMk cId="134851097" sldId="359"/>
            <ac:spMk id="2" creationId="{ECC47A2D-06FB-4BC3-8302-266302A9ED66}"/>
          </ac:spMkLst>
        </pc:spChg>
        <pc:spChg chg="mod ord">
          <ac:chgData name="Broyles, Traci" userId="b2698ddf-8c2c-40b3-bb05-465447aa1b1e" providerId="ADAL" clId="{D1045E91-E38F-4DE5-9428-9737EA08A0FE}" dt="2025-11-21T13:49:47.442" v="1178" actId="1076"/>
          <ac:spMkLst>
            <pc:docMk/>
            <pc:sldMk cId="134851097" sldId="359"/>
            <ac:spMk id="3" creationId="{9FB38631-E00F-4BA3-B173-4C97370BAC6F}"/>
          </ac:spMkLst>
        </pc:spChg>
      </pc:sldChg>
      <pc:sldChg chg="delSp modSp mod modClrScheme chgLayout">
        <pc:chgData name="Broyles, Traci" userId="b2698ddf-8c2c-40b3-bb05-465447aa1b1e" providerId="ADAL" clId="{D1045E91-E38F-4DE5-9428-9737EA08A0FE}" dt="2025-11-21T13:40:46.164" v="1098" actId="1076"/>
        <pc:sldMkLst>
          <pc:docMk/>
          <pc:sldMk cId="1196253399" sldId="360"/>
        </pc:sldMkLst>
        <pc:spChg chg="del">
          <ac:chgData name="Broyles, Traci" userId="b2698ddf-8c2c-40b3-bb05-465447aa1b1e" providerId="ADAL" clId="{D1045E91-E38F-4DE5-9428-9737EA08A0FE}" dt="2025-11-21T13:40:28.040" v="1096" actId="478"/>
          <ac:spMkLst>
            <pc:docMk/>
            <pc:sldMk cId="1196253399" sldId="360"/>
            <ac:spMk id="4" creationId="{AC0D437B-9E6F-407F-9FF2-BEA43C66A95B}"/>
          </ac:spMkLst>
        </pc:spChg>
        <pc:spChg chg="mod ord">
          <ac:chgData name="Broyles, Traci" userId="b2698ddf-8c2c-40b3-bb05-465447aa1b1e" providerId="ADAL" clId="{D1045E91-E38F-4DE5-9428-9737EA08A0FE}" dt="2025-11-21T13:40:46.164" v="1098" actId="1076"/>
          <ac:spMkLst>
            <pc:docMk/>
            <pc:sldMk cId="1196253399" sldId="360"/>
            <ac:spMk id="5" creationId="{2A992729-6087-4230-A0BB-BD746FFC32CE}"/>
          </ac:spMkLst>
        </pc:spChg>
      </pc:sldChg>
      <pc:sldChg chg="addSp delSp modSp mod modClrScheme chgLayout">
        <pc:chgData name="Broyles, Traci" userId="b2698ddf-8c2c-40b3-bb05-465447aa1b1e" providerId="ADAL" clId="{D1045E91-E38F-4DE5-9428-9737EA08A0FE}" dt="2025-11-21T13:42:19.498" v="1105" actId="478"/>
        <pc:sldMkLst>
          <pc:docMk/>
          <pc:sldMk cId="3724707693" sldId="371"/>
        </pc:sldMkLst>
        <pc:spChg chg="mod ord">
          <ac:chgData name="Broyles, Traci" userId="b2698ddf-8c2c-40b3-bb05-465447aa1b1e" providerId="ADAL" clId="{D1045E91-E38F-4DE5-9428-9737EA08A0FE}" dt="2025-11-21T13:42:10.362" v="1104" actId="700"/>
          <ac:spMkLst>
            <pc:docMk/>
            <pc:sldMk cId="3724707693" sldId="371"/>
            <ac:spMk id="4" creationId="{01899AB8-BBAA-4C52-BE22-19A2A9275EE7}"/>
          </ac:spMkLst>
        </pc:spChg>
        <pc:spChg chg="mod ord">
          <ac:chgData name="Broyles, Traci" userId="b2698ddf-8c2c-40b3-bb05-465447aa1b1e" providerId="ADAL" clId="{D1045E91-E38F-4DE5-9428-9737EA08A0FE}" dt="2025-11-21T13:42:10.362" v="1104" actId="700"/>
          <ac:spMkLst>
            <pc:docMk/>
            <pc:sldMk cId="3724707693" sldId="371"/>
            <ac:spMk id="6" creationId="{AEDED3AA-226C-4D9C-B4AC-76F2D7233817}"/>
          </ac:spMkLst>
        </pc:spChg>
        <pc:spChg chg="add del mod ord">
          <ac:chgData name="Broyles, Traci" userId="b2698ddf-8c2c-40b3-bb05-465447aa1b1e" providerId="ADAL" clId="{D1045E91-E38F-4DE5-9428-9737EA08A0FE}" dt="2025-11-21T13:42:19.498" v="1105" actId="478"/>
          <ac:spMkLst>
            <pc:docMk/>
            <pc:sldMk cId="3724707693" sldId="371"/>
            <ac:spMk id="8" creationId="{517BCCD0-7C8D-74BC-59C2-E7F444953FD2}"/>
          </ac:spMkLst>
        </pc:spChg>
      </pc:sldChg>
      <pc:sldChg chg="modSp mod modClrScheme chgLayout">
        <pc:chgData name="Broyles, Traci" userId="b2698ddf-8c2c-40b3-bb05-465447aa1b1e" providerId="ADAL" clId="{D1045E91-E38F-4DE5-9428-9737EA08A0FE}" dt="2025-11-21T13:44:35.304" v="1120" actId="1076"/>
        <pc:sldMkLst>
          <pc:docMk/>
          <pc:sldMk cId="3308280895" sldId="388"/>
        </pc:sldMkLst>
        <pc:spChg chg="mod ord">
          <ac:chgData name="Broyles, Traci" userId="b2698ddf-8c2c-40b3-bb05-465447aa1b1e" providerId="ADAL" clId="{D1045E91-E38F-4DE5-9428-9737EA08A0FE}" dt="2025-11-21T13:44:35.304" v="1120" actId="1076"/>
          <ac:spMkLst>
            <pc:docMk/>
            <pc:sldMk cId="3308280895" sldId="388"/>
            <ac:spMk id="2" creationId="{00000000-0000-0000-0000-000000000000}"/>
          </ac:spMkLst>
        </pc:spChg>
        <pc:spChg chg="mod ord">
          <ac:chgData name="Broyles, Traci" userId="b2698ddf-8c2c-40b3-bb05-465447aa1b1e" providerId="ADAL" clId="{D1045E91-E38F-4DE5-9428-9737EA08A0FE}" dt="2025-11-21T13:44:29.925" v="1118" actId="700"/>
          <ac:spMkLst>
            <pc:docMk/>
            <pc:sldMk cId="3308280895" sldId="388"/>
            <ac:spMk id="4" creationId="{00000000-0000-0000-0000-000000000000}"/>
          </ac:spMkLst>
        </pc:spChg>
      </pc:sldChg>
      <pc:sldChg chg="addSp delSp modSp mod modClrScheme chgLayout">
        <pc:chgData name="Broyles, Traci" userId="b2698ddf-8c2c-40b3-bb05-465447aa1b1e" providerId="ADAL" clId="{D1045E91-E38F-4DE5-9428-9737EA08A0FE}" dt="2025-11-21T13:51:38.354" v="1196" actId="14100"/>
        <pc:sldMkLst>
          <pc:docMk/>
          <pc:sldMk cId="2145701430" sldId="418"/>
        </pc:sldMkLst>
        <pc:spChg chg="add del mod ord">
          <ac:chgData name="Broyles, Traci" userId="b2698ddf-8c2c-40b3-bb05-465447aa1b1e" providerId="ADAL" clId="{D1045E91-E38F-4DE5-9428-9737EA08A0FE}" dt="2025-11-21T13:50:29.367" v="1180" actId="700"/>
          <ac:spMkLst>
            <pc:docMk/>
            <pc:sldMk cId="2145701430" sldId="418"/>
            <ac:spMk id="3" creationId="{D3FE14C5-D6B6-572C-6C33-F4BB1B261693}"/>
          </ac:spMkLst>
        </pc:spChg>
        <pc:spChg chg="add del mod ord">
          <ac:chgData name="Broyles, Traci" userId="b2698ddf-8c2c-40b3-bb05-465447aa1b1e" providerId="ADAL" clId="{D1045E91-E38F-4DE5-9428-9737EA08A0FE}" dt="2025-11-21T13:51:05.655" v="1188" actId="700"/>
          <ac:spMkLst>
            <pc:docMk/>
            <pc:sldMk cId="2145701430" sldId="418"/>
            <ac:spMk id="4" creationId="{28E4FD8A-CBC9-9F53-A77B-444C7279EA2F}"/>
          </ac:spMkLst>
        </pc:spChg>
        <pc:spChg chg="add del mod ord">
          <ac:chgData name="Broyles, Traci" userId="b2698ddf-8c2c-40b3-bb05-465447aa1b1e" providerId="ADAL" clId="{D1045E91-E38F-4DE5-9428-9737EA08A0FE}" dt="2025-11-21T13:51:05.655" v="1188" actId="700"/>
          <ac:spMkLst>
            <pc:docMk/>
            <pc:sldMk cId="2145701430" sldId="418"/>
            <ac:spMk id="5" creationId="{2ADAEC7C-F493-A722-299D-04B9C989CFF1}"/>
          </ac:spMkLst>
        </pc:spChg>
        <pc:spChg chg="add del mod ord">
          <ac:chgData name="Broyles, Traci" userId="b2698ddf-8c2c-40b3-bb05-465447aa1b1e" providerId="ADAL" clId="{D1045E91-E38F-4DE5-9428-9737EA08A0FE}" dt="2025-11-21T13:51:24.131" v="1192" actId="478"/>
          <ac:spMkLst>
            <pc:docMk/>
            <pc:sldMk cId="2145701430" sldId="418"/>
            <ac:spMk id="6" creationId="{A4638D05-E911-4040-82D5-9FE11A6F330E}"/>
          </ac:spMkLst>
        </pc:spChg>
        <pc:spChg chg="add mod ord">
          <ac:chgData name="Broyles, Traci" userId="b2698ddf-8c2c-40b3-bb05-465447aa1b1e" providerId="ADAL" clId="{D1045E91-E38F-4DE5-9428-9737EA08A0FE}" dt="2025-11-21T13:51:38.354" v="1196" actId="14100"/>
          <ac:spMkLst>
            <pc:docMk/>
            <pc:sldMk cId="2145701430" sldId="418"/>
            <ac:spMk id="7" creationId="{9D28EAFB-4D38-C603-F9B4-E2A97D71CF74}"/>
          </ac:spMkLst>
        </pc:spChg>
      </pc:sldChg>
      <pc:sldChg chg="delSp modSp mod modClrScheme chgLayout">
        <pc:chgData name="Broyles, Traci" userId="b2698ddf-8c2c-40b3-bb05-465447aa1b1e" providerId="ADAL" clId="{D1045E91-E38F-4DE5-9428-9737EA08A0FE}" dt="2025-11-21T13:53:49.432" v="1220" actId="478"/>
        <pc:sldMkLst>
          <pc:docMk/>
          <pc:sldMk cId="1725217204" sldId="419"/>
        </pc:sldMkLst>
        <pc:spChg chg="mod ord">
          <ac:chgData name="Broyles, Traci" userId="b2698ddf-8c2c-40b3-bb05-465447aa1b1e" providerId="ADAL" clId="{D1045E91-E38F-4DE5-9428-9737EA08A0FE}" dt="2025-11-21T13:52:16.552" v="1202" actId="1076"/>
          <ac:spMkLst>
            <pc:docMk/>
            <pc:sldMk cId="1725217204" sldId="419"/>
            <ac:spMk id="2" creationId="{DE112F25-2A0D-4B34-8C57-DBD053ECF0FF}"/>
          </ac:spMkLst>
        </pc:spChg>
        <pc:spChg chg="mod ord">
          <ac:chgData name="Broyles, Traci" userId="b2698ddf-8c2c-40b3-bb05-465447aa1b1e" providerId="ADAL" clId="{D1045E91-E38F-4DE5-9428-9737EA08A0FE}" dt="2025-11-21T13:52:25.224" v="1204" actId="14100"/>
          <ac:spMkLst>
            <pc:docMk/>
            <pc:sldMk cId="1725217204" sldId="419"/>
            <ac:spMk id="3" creationId="{1A3E338B-073B-447E-BAD7-30C0C14BD9E4}"/>
          </ac:spMkLst>
        </pc:spChg>
        <pc:spChg chg="del mod ord">
          <ac:chgData name="Broyles, Traci" userId="b2698ddf-8c2c-40b3-bb05-465447aa1b1e" providerId="ADAL" clId="{D1045E91-E38F-4DE5-9428-9737EA08A0FE}" dt="2025-11-21T13:53:49.432" v="1220" actId="478"/>
          <ac:spMkLst>
            <pc:docMk/>
            <pc:sldMk cId="1725217204" sldId="419"/>
            <ac:spMk id="4" creationId="{5E5C0456-BCC4-4AF0-9184-14F1923CEDC4}"/>
          </ac:spMkLst>
        </pc:spChg>
        <pc:spChg chg="mod">
          <ac:chgData name="Broyles, Traci" userId="b2698ddf-8c2c-40b3-bb05-465447aa1b1e" providerId="ADAL" clId="{D1045E91-E38F-4DE5-9428-9737EA08A0FE}" dt="2025-11-21T13:52:10.370" v="1201" actId="1076"/>
          <ac:spMkLst>
            <pc:docMk/>
            <pc:sldMk cId="1725217204" sldId="419"/>
            <ac:spMk id="7" creationId="{DC97F951-CFC7-4958-A831-30A3C3373BE3}"/>
          </ac:spMkLst>
        </pc:spChg>
      </pc:sldChg>
      <pc:sldChg chg="delSp modSp mod modClrScheme chgLayout">
        <pc:chgData name="Broyles, Traci" userId="b2698ddf-8c2c-40b3-bb05-465447aa1b1e" providerId="ADAL" clId="{D1045E91-E38F-4DE5-9428-9737EA08A0FE}" dt="2025-11-21T13:53:45.117" v="1219" actId="478"/>
        <pc:sldMkLst>
          <pc:docMk/>
          <pc:sldMk cId="1762403072" sldId="420"/>
        </pc:sldMkLst>
        <pc:spChg chg="mod ord">
          <ac:chgData name="Broyles, Traci" userId="b2698ddf-8c2c-40b3-bb05-465447aa1b1e" providerId="ADAL" clId="{D1045E91-E38F-4DE5-9428-9737EA08A0FE}" dt="2025-11-21T13:52:56.245" v="1209" actId="1076"/>
          <ac:spMkLst>
            <pc:docMk/>
            <pc:sldMk cId="1762403072" sldId="420"/>
            <ac:spMk id="2" creationId="{DE112F25-2A0D-4B34-8C57-DBD053ECF0FF}"/>
          </ac:spMkLst>
        </pc:spChg>
        <pc:spChg chg="mod ord">
          <ac:chgData name="Broyles, Traci" userId="b2698ddf-8c2c-40b3-bb05-465447aa1b1e" providerId="ADAL" clId="{D1045E91-E38F-4DE5-9428-9737EA08A0FE}" dt="2025-11-21T13:52:50.588" v="1208" actId="1076"/>
          <ac:spMkLst>
            <pc:docMk/>
            <pc:sldMk cId="1762403072" sldId="420"/>
            <ac:spMk id="3" creationId="{1A3E338B-073B-447E-BAD7-30C0C14BD9E4}"/>
          </ac:spMkLst>
        </pc:spChg>
        <pc:spChg chg="del mod ord">
          <ac:chgData name="Broyles, Traci" userId="b2698ddf-8c2c-40b3-bb05-465447aa1b1e" providerId="ADAL" clId="{D1045E91-E38F-4DE5-9428-9737EA08A0FE}" dt="2025-11-21T13:53:45.117" v="1219" actId="478"/>
          <ac:spMkLst>
            <pc:docMk/>
            <pc:sldMk cId="1762403072" sldId="420"/>
            <ac:spMk id="4" creationId="{5E5C0456-BCC4-4AF0-9184-14F1923CEDC4}"/>
          </ac:spMkLst>
        </pc:spChg>
        <pc:picChg chg="mod">
          <ac:chgData name="Broyles, Traci" userId="b2698ddf-8c2c-40b3-bb05-465447aa1b1e" providerId="ADAL" clId="{D1045E91-E38F-4DE5-9428-9737EA08A0FE}" dt="2025-11-21T13:52:43.023" v="1206" actId="1076"/>
          <ac:picMkLst>
            <pc:docMk/>
            <pc:sldMk cId="1762403072" sldId="420"/>
            <ac:picMk id="6" creationId="{1B29F14D-1434-40F7-B621-91E6CC7B3F39}"/>
          </ac:picMkLst>
        </pc:picChg>
      </pc:sldChg>
      <pc:sldChg chg="delSp modSp mod modClrScheme chgLayout">
        <pc:chgData name="Broyles, Traci" userId="b2698ddf-8c2c-40b3-bb05-465447aa1b1e" providerId="ADAL" clId="{D1045E91-E38F-4DE5-9428-9737EA08A0FE}" dt="2025-11-21T13:53:38.523" v="1217" actId="478"/>
        <pc:sldMkLst>
          <pc:docMk/>
          <pc:sldMk cId="1699019611" sldId="423"/>
        </pc:sldMkLst>
        <pc:spChg chg="mod ord">
          <ac:chgData name="Broyles, Traci" userId="b2698ddf-8c2c-40b3-bb05-465447aa1b1e" providerId="ADAL" clId="{D1045E91-E38F-4DE5-9428-9737EA08A0FE}" dt="2025-11-21T13:53:24.833" v="1213" actId="1076"/>
          <ac:spMkLst>
            <pc:docMk/>
            <pc:sldMk cId="1699019611" sldId="423"/>
            <ac:spMk id="2" creationId="{4ADAFB74-269D-44E8-9EF4-BE836B92A1D8}"/>
          </ac:spMkLst>
        </pc:spChg>
        <pc:spChg chg="mod ord">
          <ac:chgData name="Broyles, Traci" userId="b2698ddf-8c2c-40b3-bb05-465447aa1b1e" providerId="ADAL" clId="{D1045E91-E38F-4DE5-9428-9737EA08A0FE}" dt="2025-11-21T13:53:19.678" v="1212" actId="1076"/>
          <ac:spMkLst>
            <pc:docMk/>
            <pc:sldMk cId="1699019611" sldId="423"/>
            <ac:spMk id="3" creationId="{F572E90A-25DD-4E60-96D7-97CEF3A51CBE}"/>
          </ac:spMkLst>
        </pc:spChg>
        <pc:spChg chg="del mod ord">
          <ac:chgData name="Broyles, Traci" userId="b2698ddf-8c2c-40b3-bb05-465447aa1b1e" providerId="ADAL" clId="{D1045E91-E38F-4DE5-9428-9737EA08A0FE}" dt="2025-11-21T13:53:38.523" v="1217" actId="478"/>
          <ac:spMkLst>
            <pc:docMk/>
            <pc:sldMk cId="1699019611" sldId="423"/>
            <ac:spMk id="4" creationId="{94B4A5CF-6047-43B2-835B-7CDF391DD7BB}"/>
          </ac:spMkLst>
        </pc:spChg>
        <pc:spChg chg="mod">
          <ac:chgData name="Broyles, Traci" userId="b2698ddf-8c2c-40b3-bb05-465447aa1b1e" providerId="ADAL" clId="{D1045E91-E38F-4DE5-9428-9737EA08A0FE}" dt="2025-11-21T13:53:35.537" v="1216" actId="1076"/>
          <ac:spMkLst>
            <pc:docMk/>
            <pc:sldMk cId="1699019611" sldId="423"/>
            <ac:spMk id="5" creationId="{0743647D-CB08-4B98-A899-60A5912AC8A4}"/>
          </ac:spMkLst>
        </pc:spChg>
      </pc:sldChg>
      <pc:sldChg chg="delSp modSp mod modClrScheme chgLayout">
        <pc:chgData name="Broyles, Traci" userId="b2698ddf-8c2c-40b3-bb05-465447aa1b1e" providerId="ADAL" clId="{D1045E91-E38F-4DE5-9428-9737EA08A0FE}" dt="2025-11-21T13:54:20.425" v="1225" actId="1076"/>
        <pc:sldMkLst>
          <pc:docMk/>
          <pc:sldMk cId="1349817736" sldId="424"/>
        </pc:sldMkLst>
        <pc:spChg chg="mod ord">
          <ac:chgData name="Broyles, Traci" userId="b2698ddf-8c2c-40b3-bb05-465447aa1b1e" providerId="ADAL" clId="{D1045E91-E38F-4DE5-9428-9737EA08A0FE}" dt="2025-11-21T13:54:20.425" v="1225" actId="1076"/>
          <ac:spMkLst>
            <pc:docMk/>
            <pc:sldMk cId="1349817736" sldId="424"/>
            <ac:spMk id="2" creationId="{AF76F34C-1FF3-4AF5-A1B2-6B5C0022F7CC}"/>
          </ac:spMkLst>
        </pc:spChg>
        <pc:spChg chg="mod ord">
          <ac:chgData name="Broyles, Traci" userId="b2698ddf-8c2c-40b3-bb05-465447aa1b1e" providerId="ADAL" clId="{D1045E91-E38F-4DE5-9428-9737EA08A0FE}" dt="2025-11-21T13:54:13.998" v="1224" actId="1076"/>
          <ac:spMkLst>
            <pc:docMk/>
            <pc:sldMk cId="1349817736" sldId="424"/>
            <ac:spMk id="3" creationId="{EE60F13D-1B83-495A-B973-D8860C5FEA16}"/>
          </ac:spMkLst>
        </pc:spChg>
        <pc:spChg chg="del mod">
          <ac:chgData name="Broyles, Traci" userId="b2698ddf-8c2c-40b3-bb05-465447aa1b1e" providerId="ADAL" clId="{D1045E91-E38F-4DE5-9428-9737EA08A0FE}" dt="2025-11-21T13:53:59.458" v="1222" actId="478"/>
          <ac:spMkLst>
            <pc:docMk/>
            <pc:sldMk cId="1349817736" sldId="424"/>
            <ac:spMk id="4" creationId="{93017ED1-13F6-4E9B-A98B-612213CAA37D}"/>
          </ac:spMkLst>
        </pc:spChg>
      </pc:sldChg>
      <pc:sldChg chg="modSp mod modClrScheme chgLayout">
        <pc:chgData name="Broyles, Traci" userId="b2698ddf-8c2c-40b3-bb05-465447aa1b1e" providerId="ADAL" clId="{D1045E91-E38F-4DE5-9428-9737EA08A0FE}" dt="2025-11-21T13:55:09.400" v="1236" actId="1076"/>
        <pc:sldMkLst>
          <pc:docMk/>
          <pc:sldMk cId="302433898" sldId="425"/>
        </pc:sldMkLst>
        <pc:spChg chg="mod ord">
          <ac:chgData name="Broyles, Traci" userId="b2698ddf-8c2c-40b3-bb05-465447aa1b1e" providerId="ADAL" clId="{D1045E91-E38F-4DE5-9428-9737EA08A0FE}" dt="2025-11-21T13:55:09.400" v="1236" actId="1076"/>
          <ac:spMkLst>
            <pc:docMk/>
            <pc:sldMk cId="302433898" sldId="425"/>
            <ac:spMk id="2" creationId="{ECC47A2D-06FB-4BC3-8302-266302A9ED66}"/>
          </ac:spMkLst>
        </pc:spChg>
        <pc:spChg chg="mod ord">
          <ac:chgData name="Broyles, Traci" userId="b2698ddf-8c2c-40b3-bb05-465447aa1b1e" providerId="ADAL" clId="{D1045E91-E38F-4DE5-9428-9737EA08A0FE}" dt="2025-11-21T13:55:03.923" v="1235" actId="1076"/>
          <ac:spMkLst>
            <pc:docMk/>
            <pc:sldMk cId="302433898" sldId="425"/>
            <ac:spMk id="3" creationId="{9FB38631-E00F-4BA3-B173-4C97370BAC6F}"/>
          </ac:spMkLst>
        </pc:spChg>
      </pc:sldChg>
      <pc:sldChg chg="addSp delSp modSp mod modClrScheme chgLayout">
        <pc:chgData name="Broyles, Traci" userId="b2698ddf-8c2c-40b3-bb05-465447aa1b1e" providerId="ADAL" clId="{D1045E91-E38F-4DE5-9428-9737EA08A0FE}" dt="2025-11-21T14:02:38.344" v="1381" actId="14100"/>
        <pc:sldMkLst>
          <pc:docMk/>
          <pc:sldMk cId="465528988" sldId="427"/>
        </pc:sldMkLst>
        <pc:spChg chg="del">
          <ac:chgData name="Broyles, Traci" userId="b2698ddf-8c2c-40b3-bb05-465447aa1b1e" providerId="ADAL" clId="{D1045E91-E38F-4DE5-9428-9737EA08A0FE}" dt="2025-11-21T14:02:16.349" v="1352" actId="700"/>
          <ac:spMkLst>
            <pc:docMk/>
            <pc:sldMk cId="465528988" sldId="427"/>
            <ac:spMk id="2" creationId="{00000000-0000-0000-0000-000000000000}"/>
          </ac:spMkLst>
        </pc:spChg>
        <pc:spChg chg="add mod ord">
          <ac:chgData name="Broyles, Traci" userId="b2698ddf-8c2c-40b3-bb05-465447aa1b1e" providerId="ADAL" clId="{D1045E91-E38F-4DE5-9428-9737EA08A0FE}" dt="2025-11-21T14:02:38.344" v="1381" actId="14100"/>
          <ac:spMkLst>
            <pc:docMk/>
            <pc:sldMk cId="465528988" sldId="427"/>
            <ac:spMk id="4" creationId="{364DC282-CCB5-3892-0CF1-A5643A57AAB4}"/>
          </ac:spMkLst>
        </pc:spChg>
      </pc:sldChg>
      <pc:sldChg chg="delSp modSp mod modClrScheme chgLayout">
        <pc:chgData name="Broyles, Traci" userId="b2698ddf-8c2c-40b3-bb05-465447aa1b1e" providerId="ADAL" clId="{D1045E91-E38F-4DE5-9428-9737EA08A0FE}" dt="2025-11-21T14:01:53.390" v="1351" actId="478"/>
        <pc:sldMkLst>
          <pc:docMk/>
          <pc:sldMk cId="2403737526" sldId="428"/>
        </pc:sldMkLst>
        <pc:spChg chg="mod ord">
          <ac:chgData name="Broyles, Traci" userId="b2698ddf-8c2c-40b3-bb05-465447aa1b1e" providerId="ADAL" clId="{D1045E91-E38F-4DE5-9428-9737EA08A0FE}" dt="2025-11-21T14:01:51.054" v="1350" actId="1076"/>
          <ac:spMkLst>
            <pc:docMk/>
            <pc:sldMk cId="2403737526" sldId="428"/>
            <ac:spMk id="2" creationId="{E6900A21-9B5A-4FD1-BD61-287A7DA463B2}"/>
          </ac:spMkLst>
        </pc:spChg>
        <pc:spChg chg="mod ord">
          <ac:chgData name="Broyles, Traci" userId="b2698ddf-8c2c-40b3-bb05-465447aa1b1e" providerId="ADAL" clId="{D1045E91-E38F-4DE5-9428-9737EA08A0FE}" dt="2025-11-21T14:01:48.582" v="1349" actId="1076"/>
          <ac:spMkLst>
            <pc:docMk/>
            <pc:sldMk cId="2403737526" sldId="428"/>
            <ac:spMk id="3" creationId="{E3BE820D-56CE-434F-861F-ADC19C10C2E1}"/>
          </ac:spMkLst>
        </pc:spChg>
        <pc:spChg chg="del mod ord">
          <ac:chgData name="Broyles, Traci" userId="b2698ddf-8c2c-40b3-bb05-465447aa1b1e" providerId="ADAL" clId="{D1045E91-E38F-4DE5-9428-9737EA08A0FE}" dt="2025-11-21T14:01:53.390" v="1351" actId="478"/>
          <ac:spMkLst>
            <pc:docMk/>
            <pc:sldMk cId="2403737526" sldId="428"/>
            <ac:spMk id="4" creationId="{DD6501C3-C6A4-4E01-AA3E-800D94443502}"/>
          </ac:spMkLst>
        </pc:spChg>
      </pc:sldChg>
      <pc:sldChg chg="delSp modSp mod modClrScheme chgLayout">
        <pc:chgData name="Broyles, Traci" userId="b2698ddf-8c2c-40b3-bb05-465447aa1b1e" providerId="ADAL" clId="{D1045E91-E38F-4DE5-9428-9737EA08A0FE}" dt="2025-11-21T14:01:25.089" v="1346" actId="478"/>
        <pc:sldMkLst>
          <pc:docMk/>
          <pc:sldMk cId="3231802360" sldId="429"/>
        </pc:sldMkLst>
        <pc:spChg chg="mod ord">
          <ac:chgData name="Broyles, Traci" userId="b2698ddf-8c2c-40b3-bb05-465447aa1b1e" providerId="ADAL" clId="{D1045E91-E38F-4DE5-9428-9737EA08A0FE}" dt="2025-11-21T14:01:17.416" v="1344" actId="1076"/>
          <ac:spMkLst>
            <pc:docMk/>
            <pc:sldMk cId="3231802360" sldId="429"/>
            <ac:spMk id="2" creationId="{E6900A21-9B5A-4FD1-BD61-287A7DA463B2}"/>
          </ac:spMkLst>
        </pc:spChg>
        <pc:spChg chg="mod ord">
          <ac:chgData name="Broyles, Traci" userId="b2698ddf-8c2c-40b3-bb05-465447aa1b1e" providerId="ADAL" clId="{D1045E91-E38F-4DE5-9428-9737EA08A0FE}" dt="2025-11-21T14:01:21.265" v="1345" actId="1076"/>
          <ac:spMkLst>
            <pc:docMk/>
            <pc:sldMk cId="3231802360" sldId="429"/>
            <ac:spMk id="3" creationId="{E3BE820D-56CE-434F-861F-ADC19C10C2E1}"/>
          </ac:spMkLst>
        </pc:spChg>
        <pc:spChg chg="del mod ord">
          <ac:chgData name="Broyles, Traci" userId="b2698ddf-8c2c-40b3-bb05-465447aa1b1e" providerId="ADAL" clId="{D1045E91-E38F-4DE5-9428-9737EA08A0FE}" dt="2025-11-21T14:01:25.089" v="1346" actId="478"/>
          <ac:spMkLst>
            <pc:docMk/>
            <pc:sldMk cId="3231802360" sldId="429"/>
            <ac:spMk id="4" creationId="{DD6501C3-C6A4-4E01-AA3E-800D94443502}"/>
          </ac:spMkLst>
        </pc:spChg>
      </pc:sldChg>
      <pc:sldChg chg="addSp delSp modSp mod modClrScheme chgLayout">
        <pc:chgData name="Broyles, Traci" userId="b2698ddf-8c2c-40b3-bb05-465447aa1b1e" providerId="ADAL" clId="{D1045E91-E38F-4DE5-9428-9737EA08A0FE}" dt="2025-11-21T15:05:50.008" v="1451" actId="1076"/>
        <pc:sldMkLst>
          <pc:docMk/>
          <pc:sldMk cId="1604214315" sldId="430"/>
        </pc:sldMkLst>
        <pc:spChg chg="mod ord">
          <ac:chgData name="Broyles, Traci" userId="b2698ddf-8c2c-40b3-bb05-465447aa1b1e" providerId="ADAL" clId="{D1045E91-E38F-4DE5-9428-9737EA08A0FE}" dt="2025-11-21T13:59:19.277" v="1323" actId="700"/>
          <ac:spMkLst>
            <pc:docMk/>
            <pc:sldMk cId="1604214315" sldId="430"/>
            <ac:spMk id="2" creationId="{4B2BEF5E-A6D2-4D4F-B488-62C72B664924}"/>
          </ac:spMkLst>
        </pc:spChg>
        <pc:spChg chg="add del mod ord">
          <ac:chgData name="Broyles, Traci" userId="b2698ddf-8c2c-40b3-bb05-465447aa1b1e" providerId="ADAL" clId="{D1045E91-E38F-4DE5-9428-9737EA08A0FE}" dt="2025-11-21T13:58:28.765" v="1260" actId="700"/>
          <ac:spMkLst>
            <pc:docMk/>
            <pc:sldMk cId="1604214315" sldId="430"/>
            <ac:spMk id="4" creationId="{6248AC5A-8736-0548-069D-E4A85569FF95}"/>
          </ac:spMkLst>
        </pc:spChg>
        <pc:spChg chg="add del mod ord">
          <ac:chgData name="Broyles, Traci" userId="b2698ddf-8c2c-40b3-bb05-465447aa1b1e" providerId="ADAL" clId="{D1045E91-E38F-4DE5-9428-9737EA08A0FE}" dt="2025-11-21T15:05:50.008" v="1451" actId="1076"/>
          <ac:spMkLst>
            <pc:docMk/>
            <pc:sldMk cId="1604214315" sldId="430"/>
            <ac:spMk id="5" creationId="{3502F4C0-A4F9-2073-74B2-DE497F00BA72}"/>
          </ac:spMkLst>
        </pc:spChg>
      </pc:sldChg>
      <pc:sldChg chg="modSp mod modClrScheme chgLayout">
        <pc:chgData name="Broyles, Traci" userId="b2698ddf-8c2c-40b3-bb05-465447aa1b1e" providerId="ADAL" clId="{D1045E91-E38F-4DE5-9428-9737EA08A0FE}" dt="2025-11-21T13:41:17.795" v="1102" actId="6549"/>
        <pc:sldMkLst>
          <pc:docMk/>
          <pc:sldMk cId="475113622" sldId="434"/>
        </pc:sldMkLst>
        <pc:spChg chg="mod ord">
          <ac:chgData name="Broyles, Traci" userId="b2698ddf-8c2c-40b3-bb05-465447aa1b1e" providerId="ADAL" clId="{D1045E91-E38F-4DE5-9428-9737EA08A0FE}" dt="2025-11-21T13:41:15.390" v="1101" actId="1076"/>
          <ac:spMkLst>
            <pc:docMk/>
            <pc:sldMk cId="475113622" sldId="434"/>
            <ac:spMk id="2" creationId="{C042E0AC-C1E6-4E1F-936C-EAED726DCA04}"/>
          </ac:spMkLst>
        </pc:spChg>
        <pc:spChg chg="mod ord">
          <ac:chgData name="Broyles, Traci" userId="b2698ddf-8c2c-40b3-bb05-465447aa1b1e" providerId="ADAL" clId="{D1045E91-E38F-4DE5-9428-9737EA08A0FE}" dt="2025-11-21T13:41:09.431" v="1100" actId="1076"/>
          <ac:spMkLst>
            <pc:docMk/>
            <pc:sldMk cId="475113622" sldId="434"/>
            <ac:spMk id="3" creationId="{3E79A93C-0B0A-4CFB-9602-410D2FD4A3DE}"/>
          </ac:spMkLst>
        </pc:spChg>
        <pc:spChg chg="mod ord">
          <ac:chgData name="Broyles, Traci" userId="b2698ddf-8c2c-40b3-bb05-465447aa1b1e" providerId="ADAL" clId="{D1045E91-E38F-4DE5-9428-9737EA08A0FE}" dt="2025-11-21T13:41:17.795" v="1102" actId="6549"/>
          <ac:spMkLst>
            <pc:docMk/>
            <pc:sldMk cId="475113622" sldId="434"/>
            <ac:spMk id="4" creationId="{04A8ACA5-C49F-4289-816E-C01382318830}"/>
          </ac:spMkLst>
        </pc:spChg>
      </pc:sldChg>
      <pc:sldChg chg="modSp mod modClrScheme chgLayout">
        <pc:chgData name="Broyles, Traci" userId="b2698ddf-8c2c-40b3-bb05-465447aa1b1e" providerId="ADAL" clId="{D1045E91-E38F-4DE5-9428-9737EA08A0FE}" dt="2025-11-21T13:45:47.966" v="1128" actId="1076"/>
        <pc:sldMkLst>
          <pc:docMk/>
          <pc:sldMk cId="776703902" sldId="435"/>
        </pc:sldMkLst>
        <pc:spChg chg="mod ord">
          <ac:chgData name="Broyles, Traci" userId="b2698ddf-8c2c-40b3-bb05-465447aa1b1e" providerId="ADAL" clId="{D1045E91-E38F-4DE5-9428-9737EA08A0FE}" dt="2025-11-21T13:45:47.966" v="1128" actId="1076"/>
          <ac:spMkLst>
            <pc:docMk/>
            <pc:sldMk cId="776703902" sldId="435"/>
            <ac:spMk id="2" creationId="{9489C6DB-B587-38A8-CF08-72A5B1899610}"/>
          </ac:spMkLst>
        </pc:spChg>
        <pc:spChg chg="mod ord">
          <ac:chgData name="Broyles, Traci" userId="b2698ddf-8c2c-40b3-bb05-465447aa1b1e" providerId="ADAL" clId="{D1045E91-E38F-4DE5-9428-9737EA08A0FE}" dt="2025-11-21T13:45:36.338" v="1126" actId="700"/>
          <ac:spMkLst>
            <pc:docMk/>
            <pc:sldMk cId="776703902" sldId="435"/>
            <ac:spMk id="3" creationId="{962335F7-741F-D802-C3D2-6BC95FA51777}"/>
          </ac:spMkLst>
        </pc:spChg>
      </pc:sldChg>
      <pc:sldChg chg="addSp delSp modSp mod modClrScheme chgLayout">
        <pc:chgData name="Broyles, Traci" userId="b2698ddf-8c2c-40b3-bb05-465447aa1b1e" providerId="ADAL" clId="{D1045E91-E38F-4DE5-9428-9737EA08A0FE}" dt="2025-11-21T15:06:23.946" v="1453" actId="1076"/>
        <pc:sldMkLst>
          <pc:docMk/>
          <pc:sldMk cId="3182393530" sldId="438"/>
        </pc:sldMkLst>
        <pc:spChg chg="add del mod ord">
          <ac:chgData name="Broyles, Traci" userId="b2698ddf-8c2c-40b3-bb05-465447aa1b1e" providerId="ADAL" clId="{D1045E91-E38F-4DE5-9428-9737EA08A0FE}" dt="2025-11-21T11:59:13.447" v="321" actId="478"/>
          <ac:spMkLst>
            <pc:docMk/>
            <pc:sldMk cId="3182393530" sldId="438"/>
            <ac:spMk id="3" creationId="{EB86B3B2-3790-BCE4-D269-FE0B0DE88E2C}"/>
          </ac:spMkLst>
        </pc:spChg>
        <pc:spChg chg="mod ord">
          <ac:chgData name="Broyles, Traci" userId="b2698ddf-8c2c-40b3-bb05-465447aa1b1e" providerId="ADAL" clId="{D1045E91-E38F-4DE5-9428-9737EA08A0FE}" dt="2025-11-21T15:06:23.946" v="1453" actId="1076"/>
          <ac:spMkLst>
            <pc:docMk/>
            <pc:sldMk cId="3182393530" sldId="438"/>
            <ac:spMk id="5" creationId="{E5A4FF23-DDF1-4A73-93E5-10CB9C5469EC}"/>
          </ac:spMkLst>
        </pc:spChg>
      </pc:sldChg>
      <pc:sldChg chg="addSp delSp modSp add mod ord modShow">
        <pc:chgData name="Broyles, Traci" userId="b2698ddf-8c2c-40b3-bb05-465447aa1b1e" providerId="ADAL" clId="{D1045E91-E38F-4DE5-9428-9737EA08A0FE}" dt="2025-11-21T12:19:40.223" v="506" actId="729"/>
        <pc:sldMkLst>
          <pc:docMk/>
          <pc:sldMk cId="1952264139" sldId="783"/>
        </pc:sldMkLst>
        <pc:spChg chg="mod">
          <ac:chgData name="Broyles, Traci" userId="b2698ddf-8c2c-40b3-bb05-465447aa1b1e" providerId="ADAL" clId="{D1045E91-E38F-4DE5-9428-9737EA08A0FE}" dt="2025-11-21T12:15:05.966" v="454" actId="1076"/>
          <ac:spMkLst>
            <pc:docMk/>
            <pc:sldMk cId="1952264139" sldId="783"/>
            <ac:spMk id="2" creationId="{873216C9-A3F2-BFE1-3D05-ED1EC8061117}"/>
          </ac:spMkLst>
        </pc:spChg>
        <pc:spChg chg="add mod">
          <ac:chgData name="Broyles, Traci" userId="b2698ddf-8c2c-40b3-bb05-465447aa1b1e" providerId="ADAL" clId="{D1045E91-E38F-4DE5-9428-9737EA08A0FE}" dt="2025-11-21T12:13:58.594" v="441"/>
          <ac:spMkLst>
            <pc:docMk/>
            <pc:sldMk cId="1952264139" sldId="783"/>
            <ac:spMk id="3" creationId="{12776E9A-5438-8088-6B9E-53F16D0256B4}"/>
          </ac:spMkLst>
        </pc:spChg>
        <pc:spChg chg="add mod">
          <ac:chgData name="Broyles, Traci" userId="b2698ddf-8c2c-40b3-bb05-465447aa1b1e" providerId="ADAL" clId="{D1045E91-E38F-4DE5-9428-9737EA08A0FE}" dt="2025-11-21T12:15:53.959" v="478" actId="1076"/>
          <ac:spMkLst>
            <pc:docMk/>
            <pc:sldMk cId="1952264139" sldId="783"/>
            <ac:spMk id="5" creationId="{AE3CF967-74F2-7AAF-0347-FACFE50B8795}"/>
          </ac:spMkLst>
        </pc:spChg>
        <pc:spChg chg="del">
          <ac:chgData name="Broyles, Traci" userId="b2698ddf-8c2c-40b3-bb05-465447aa1b1e" providerId="ADAL" clId="{D1045E91-E38F-4DE5-9428-9737EA08A0FE}" dt="2025-11-21T12:13:20.993" v="434" actId="478"/>
          <ac:spMkLst>
            <pc:docMk/>
            <pc:sldMk cId="1952264139" sldId="783"/>
            <ac:spMk id="9" creationId="{48EAE87C-0C5A-74AA-C717-B090DD2609EB}"/>
          </ac:spMkLst>
        </pc:spChg>
        <pc:spChg chg="mod">
          <ac:chgData name="Broyles, Traci" userId="b2698ddf-8c2c-40b3-bb05-465447aa1b1e" providerId="ADAL" clId="{D1045E91-E38F-4DE5-9428-9737EA08A0FE}" dt="2025-11-21T12:15:46.687" v="477" actId="20577"/>
          <ac:spMkLst>
            <pc:docMk/>
            <pc:sldMk cId="1952264139" sldId="783"/>
            <ac:spMk id="10" creationId="{25E2DE95-E646-FD06-BC52-F68CE9EFE357}"/>
          </ac:spMkLst>
        </pc:spChg>
        <pc:spChg chg="del">
          <ac:chgData name="Broyles, Traci" userId="b2698ddf-8c2c-40b3-bb05-465447aa1b1e" providerId="ADAL" clId="{D1045E91-E38F-4DE5-9428-9737EA08A0FE}" dt="2025-11-21T12:13:22.394" v="435" actId="478"/>
          <ac:spMkLst>
            <pc:docMk/>
            <pc:sldMk cId="1952264139" sldId="783"/>
            <ac:spMk id="11" creationId="{19ABA9CE-BD41-F256-A942-DE056A965B29}"/>
          </ac:spMkLst>
        </pc:spChg>
        <pc:spChg chg="del">
          <ac:chgData name="Broyles, Traci" userId="b2698ddf-8c2c-40b3-bb05-465447aa1b1e" providerId="ADAL" clId="{D1045E91-E38F-4DE5-9428-9737EA08A0FE}" dt="2025-11-21T12:13:25.518" v="437" actId="478"/>
          <ac:spMkLst>
            <pc:docMk/>
            <pc:sldMk cId="1952264139" sldId="783"/>
            <ac:spMk id="12" creationId="{1381EDBB-6C8D-53C9-450B-3DD5F454106F}"/>
          </ac:spMkLst>
        </pc:spChg>
        <pc:spChg chg="del">
          <ac:chgData name="Broyles, Traci" userId="b2698ddf-8c2c-40b3-bb05-465447aa1b1e" providerId="ADAL" clId="{D1045E91-E38F-4DE5-9428-9737EA08A0FE}" dt="2025-11-21T12:13:23.935" v="436" actId="478"/>
          <ac:spMkLst>
            <pc:docMk/>
            <pc:sldMk cId="1952264139" sldId="783"/>
            <ac:spMk id="13" creationId="{40AE661A-7501-3902-1A5B-9112F1E72D7F}"/>
          </ac:spMkLst>
        </pc:spChg>
        <pc:spChg chg="del mod">
          <ac:chgData name="Broyles, Traci" userId="b2698ddf-8c2c-40b3-bb05-465447aa1b1e" providerId="ADAL" clId="{D1045E91-E38F-4DE5-9428-9737EA08A0FE}" dt="2025-11-21T12:13:31.211" v="439" actId="478"/>
          <ac:spMkLst>
            <pc:docMk/>
            <pc:sldMk cId="1952264139" sldId="783"/>
            <ac:spMk id="14" creationId="{DA05E5D6-78A3-2301-8D24-1F9799E7BB54}"/>
          </ac:spMkLst>
        </pc:spChg>
        <pc:spChg chg="add del">
          <ac:chgData name="Broyles, Traci" userId="b2698ddf-8c2c-40b3-bb05-465447aa1b1e" providerId="ADAL" clId="{D1045E91-E38F-4DE5-9428-9737EA08A0FE}" dt="2025-11-21T12:14:10.013" v="443" actId="478"/>
          <ac:spMkLst>
            <pc:docMk/>
            <pc:sldMk cId="1952264139" sldId="783"/>
            <ac:spMk id="15" creationId="{329C9A34-AEAE-A63B-5221-B00BB3AB9301}"/>
          </ac:spMkLst>
        </pc:spChg>
      </pc:sldChg>
      <pc:sldChg chg="add del ord">
        <pc:chgData name="Broyles, Traci" userId="b2698ddf-8c2c-40b3-bb05-465447aa1b1e" providerId="ADAL" clId="{D1045E91-E38F-4DE5-9428-9737EA08A0FE}" dt="2025-11-21T11:35:37.321" v="56"/>
        <pc:sldMkLst>
          <pc:docMk/>
          <pc:sldMk cId="1579620970" sldId="902"/>
        </pc:sldMkLst>
      </pc:sldChg>
      <pc:sldChg chg="modSp mod">
        <pc:chgData name="Broyles, Traci" userId="b2698ddf-8c2c-40b3-bb05-465447aa1b1e" providerId="ADAL" clId="{D1045E91-E38F-4DE5-9428-9737EA08A0FE}" dt="2025-11-21T12:01:13.935" v="388" actId="20577"/>
        <pc:sldMkLst>
          <pc:docMk/>
          <pc:sldMk cId="2494374575" sldId="928"/>
        </pc:sldMkLst>
        <pc:spChg chg="mod">
          <ac:chgData name="Broyles, Traci" userId="b2698ddf-8c2c-40b3-bb05-465447aa1b1e" providerId="ADAL" clId="{D1045E91-E38F-4DE5-9428-9737EA08A0FE}" dt="2025-11-21T12:01:13.935" v="388" actId="20577"/>
          <ac:spMkLst>
            <pc:docMk/>
            <pc:sldMk cId="2494374575" sldId="928"/>
            <ac:spMk id="3" creationId="{92A63E06-9C04-6AA9-E354-D8A64B85B5AD}"/>
          </ac:spMkLst>
        </pc:spChg>
      </pc:sldChg>
      <pc:sldChg chg="addSp delSp modSp mod modClrScheme chgLayout">
        <pc:chgData name="Broyles, Traci" userId="b2698ddf-8c2c-40b3-bb05-465447aa1b1e" providerId="ADAL" clId="{D1045E91-E38F-4DE5-9428-9737EA08A0FE}" dt="2025-11-21T12:27:10.576" v="565" actId="1076"/>
        <pc:sldMkLst>
          <pc:docMk/>
          <pc:sldMk cId="599214352" sldId="2147469879"/>
        </pc:sldMkLst>
        <pc:spChg chg="mod ord">
          <ac:chgData name="Broyles, Traci" userId="b2698ddf-8c2c-40b3-bb05-465447aa1b1e" providerId="ADAL" clId="{D1045E91-E38F-4DE5-9428-9737EA08A0FE}" dt="2025-11-21T12:20:18.837" v="511" actId="1076"/>
          <ac:spMkLst>
            <pc:docMk/>
            <pc:sldMk cId="599214352" sldId="2147469879"/>
            <ac:spMk id="2" creationId="{55C83CF8-698C-4E54-9945-023C2E7830D6}"/>
          </ac:spMkLst>
        </pc:spChg>
        <pc:spChg chg="mod ord">
          <ac:chgData name="Broyles, Traci" userId="b2698ddf-8c2c-40b3-bb05-465447aa1b1e" providerId="ADAL" clId="{D1045E91-E38F-4DE5-9428-9737EA08A0FE}" dt="2025-11-21T12:27:02.965" v="563" actId="1076"/>
          <ac:spMkLst>
            <pc:docMk/>
            <pc:sldMk cId="599214352" sldId="2147469879"/>
            <ac:spMk id="3" creationId="{F7B4B2C3-4A2D-4170-8050-9798A621D8E7}"/>
          </ac:spMkLst>
        </pc:spChg>
        <pc:spChg chg="mod ord">
          <ac:chgData name="Broyles, Traci" userId="b2698ddf-8c2c-40b3-bb05-465447aa1b1e" providerId="ADAL" clId="{D1045E91-E38F-4DE5-9428-9737EA08A0FE}" dt="2025-11-21T12:20:12.980" v="509" actId="700"/>
          <ac:spMkLst>
            <pc:docMk/>
            <pc:sldMk cId="599214352" sldId="2147469879"/>
            <ac:spMk id="4" creationId="{40F462B8-8BBE-4E45-A663-CC9E778FA19A}"/>
          </ac:spMkLst>
        </pc:spChg>
        <pc:spChg chg="mod">
          <ac:chgData name="Broyles, Traci" userId="b2698ddf-8c2c-40b3-bb05-465447aa1b1e" providerId="ADAL" clId="{D1045E91-E38F-4DE5-9428-9737EA08A0FE}" dt="2025-11-21T12:23:50.631" v="541" actId="120"/>
          <ac:spMkLst>
            <pc:docMk/>
            <pc:sldMk cId="599214352" sldId="2147469879"/>
            <ac:spMk id="8" creationId="{A9C06C94-667A-4455-BD13-1B64E701286B}"/>
          </ac:spMkLst>
        </pc:spChg>
        <pc:spChg chg="mod">
          <ac:chgData name="Broyles, Traci" userId="b2698ddf-8c2c-40b3-bb05-465447aa1b1e" providerId="ADAL" clId="{D1045E91-E38F-4DE5-9428-9737EA08A0FE}" dt="2025-11-21T12:23:46.643" v="540" actId="120"/>
          <ac:spMkLst>
            <pc:docMk/>
            <pc:sldMk cId="599214352" sldId="2147469879"/>
            <ac:spMk id="9" creationId="{541B8F85-1424-43DC-9697-1E3722371CF7}"/>
          </ac:spMkLst>
        </pc:spChg>
        <pc:spChg chg="add">
          <ac:chgData name="Broyles, Traci" userId="b2698ddf-8c2c-40b3-bb05-465447aa1b1e" providerId="ADAL" clId="{D1045E91-E38F-4DE5-9428-9737EA08A0FE}" dt="2025-11-21T12:21:06.476" v="517"/>
          <ac:spMkLst>
            <pc:docMk/>
            <pc:sldMk cId="599214352" sldId="2147469879"/>
            <ac:spMk id="10" creationId="{28D15D14-E592-CC64-27D9-73D1E10FA7D8}"/>
          </ac:spMkLst>
        </pc:spChg>
        <pc:grpChg chg="mod">
          <ac:chgData name="Broyles, Traci" userId="b2698ddf-8c2c-40b3-bb05-465447aa1b1e" providerId="ADAL" clId="{D1045E91-E38F-4DE5-9428-9737EA08A0FE}" dt="2025-11-21T12:20:23.751" v="512" actId="1076"/>
          <ac:grpSpMkLst>
            <pc:docMk/>
            <pc:sldMk cId="599214352" sldId="2147469879"/>
            <ac:grpSpMk id="5" creationId="{CDE7F5EC-4DA0-FD2A-6885-782D5061DD0F}"/>
          </ac:grpSpMkLst>
        </pc:grpChg>
        <pc:picChg chg="del mod ord">
          <ac:chgData name="Broyles, Traci" userId="b2698ddf-8c2c-40b3-bb05-465447aa1b1e" providerId="ADAL" clId="{D1045E91-E38F-4DE5-9428-9737EA08A0FE}" dt="2025-11-21T12:24:10.331" v="545" actId="478"/>
          <ac:picMkLst>
            <pc:docMk/>
            <pc:sldMk cId="599214352" sldId="2147469879"/>
            <ac:picMk id="6" creationId="{FADC87F2-62DB-481D-B2C6-9BF4067A0D58}"/>
          </ac:picMkLst>
        </pc:picChg>
        <pc:picChg chg="del mod modCrop">
          <ac:chgData name="Broyles, Traci" userId="b2698ddf-8c2c-40b3-bb05-465447aa1b1e" providerId="ADAL" clId="{D1045E91-E38F-4DE5-9428-9737EA08A0FE}" dt="2025-11-21T12:21:05.614" v="516" actId="478"/>
          <ac:picMkLst>
            <pc:docMk/>
            <pc:sldMk cId="599214352" sldId="2147469879"/>
            <ac:picMk id="7" creationId="{F5739A7A-198A-4667-B482-CEDF947F4466}"/>
          </ac:picMkLst>
        </pc:picChg>
        <pc:picChg chg="add mod">
          <ac:chgData name="Broyles, Traci" userId="b2698ddf-8c2c-40b3-bb05-465447aa1b1e" providerId="ADAL" clId="{D1045E91-E38F-4DE5-9428-9737EA08A0FE}" dt="2025-11-21T12:22:26.440" v="522" actId="1076"/>
          <ac:picMkLst>
            <pc:docMk/>
            <pc:sldMk cId="599214352" sldId="2147469879"/>
            <ac:picMk id="11" creationId="{FD95FECB-BD9D-84CF-11C6-EEDEFD4D6D7B}"/>
          </ac:picMkLst>
        </pc:picChg>
        <pc:picChg chg="add mod modCrop">
          <ac:chgData name="Broyles, Traci" userId="b2698ddf-8c2c-40b3-bb05-465447aa1b1e" providerId="ADAL" clId="{D1045E91-E38F-4DE5-9428-9737EA08A0FE}" dt="2025-11-21T12:27:10.576" v="565" actId="1076"/>
          <ac:picMkLst>
            <pc:docMk/>
            <pc:sldMk cId="599214352" sldId="2147469879"/>
            <ac:picMk id="12" creationId="{65CC7E5F-1A4C-DFEB-DED8-508FEEE1FB69}"/>
          </ac:picMkLst>
        </pc:picChg>
        <pc:picChg chg="add mod">
          <ac:chgData name="Broyles, Traci" userId="b2698ddf-8c2c-40b3-bb05-465447aa1b1e" providerId="ADAL" clId="{D1045E91-E38F-4DE5-9428-9737EA08A0FE}" dt="2025-11-21T12:26:29.278" v="554" actId="1076"/>
          <ac:picMkLst>
            <pc:docMk/>
            <pc:sldMk cId="599214352" sldId="2147469879"/>
            <ac:picMk id="2052" creationId="{B7B21AE7-9C65-6964-FC6E-4BEFAD320D1E}"/>
          </ac:picMkLst>
        </pc:picChg>
      </pc:sldChg>
      <pc:sldChg chg="addSp delSp modSp mod modClrScheme chgLayout">
        <pc:chgData name="Broyles, Traci" userId="b2698ddf-8c2c-40b3-bb05-465447aa1b1e" providerId="ADAL" clId="{D1045E91-E38F-4DE5-9428-9737EA08A0FE}" dt="2025-11-21T13:25:09.361" v="662" actId="1076"/>
        <pc:sldMkLst>
          <pc:docMk/>
          <pc:sldMk cId="2572715741" sldId="2147469999"/>
        </pc:sldMkLst>
        <pc:spChg chg="mod ord">
          <ac:chgData name="Broyles, Traci" userId="b2698ddf-8c2c-40b3-bb05-465447aa1b1e" providerId="ADAL" clId="{D1045E91-E38F-4DE5-9428-9737EA08A0FE}" dt="2025-11-21T13:24:40.261" v="658" actId="1076"/>
          <ac:spMkLst>
            <pc:docMk/>
            <pc:sldMk cId="2572715741" sldId="2147469999"/>
            <ac:spMk id="2" creationId="{38062935-B277-4E84-B9C2-3E0336BCFD44}"/>
          </ac:spMkLst>
        </pc:spChg>
        <pc:spChg chg="del mod ord">
          <ac:chgData name="Broyles, Traci" userId="b2698ddf-8c2c-40b3-bb05-465447aa1b1e" providerId="ADAL" clId="{D1045E91-E38F-4DE5-9428-9737EA08A0FE}" dt="2025-11-21T13:24:49.585" v="659" actId="478"/>
          <ac:spMkLst>
            <pc:docMk/>
            <pc:sldMk cId="2572715741" sldId="2147469999"/>
            <ac:spMk id="4" creationId="{B0FB87FF-086B-4CC9-8385-A4C559BA1F88}"/>
          </ac:spMkLst>
        </pc:spChg>
        <pc:picChg chg="add mod">
          <ac:chgData name="Broyles, Traci" userId="b2698ddf-8c2c-40b3-bb05-465447aa1b1e" providerId="ADAL" clId="{D1045E91-E38F-4DE5-9428-9737EA08A0FE}" dt="2025-11-21T13:25:09.361" v="662" actId="1076"/>
          <ac:picMkLst>
            <pc:docMk/>
            <pc:sldMk cId="2572715741" sldId="2147469999"/>
            <ac:picMk id="5" creationId="{5DDE40B6-EA26-C578-C923-83D97F7C3CF5}"/>
          </ac:picMkLst>
        </pc:picChg>
        <pc:picChg chg="del">
          <ac:chgData name="Broyles, Traci" userId="b2698ddf-8c2c-40b3-bb05-465447aa1b1e" providerId="ADAL" clId="{D1045E91-E38F-4DE5-9428-9737EA08A0FE}" dt="2025-11-20T18:36:43.755" v="7" actId="478"/>
          <ac:picMkLst>
            <pc:docMk/>
            <pc:sldMk cId="2572715741" sldId="2147469999"/>
            <ac:picMk id="8" creationId="{BFED0B8D-B1B7-3124-6CA4-387402D53D7B}"/>
          </ac:picMkLst>
        </pc:picChg>
      </pc:sldChg>
      <pc:sldChg chg="modSp del mod modClrScheme chgLayout">
        <pc:chgData name="Broyles, Traci" userId="b2698ddf-8c2c-40b3-bb05-465447aa1b1e" providerId="ADAL" clId="{D1045E91-E38F-4DE5-9428-9737EA08A0FE}" dt="2025-11-21T14:06:22.214" v="1407" actId="2696"/>
        <pc:sldMkLst>
          <pc:docMk/>
          <pc:sldMk cId="3057652219" sldId="2147470000"/>
        </pc:sldMkLst>
        <pc:spChg chg="mod ord">
          <ac:chgData name="Broyles, Traci" userId="b2698ddf-8c2c-40b3-bb05-465447aa1b1e" providerId="ADAL" clId="{D1045E91-E38F-4DE5-9428-9737EA08A0FE}" dt="2025-11-21T14:04:12.160" v="1390" actId="700"/>
          <ac:spMkLst>
            <pc:docMk/>
            <pc:sldMk cId="3057652219" sldId="2147470000"/>
            <ac:spMk id="2" creationId="{ECC47A2D-06FB-4BC3-8302-266302A9ED66}"/>
          </ac:spMkLst>
        </pc:spChg>
        <pc:spChg chg="mod ord">
          <ac:chgData name="Broyles, Traci" userId="b2698ddf-8c2c-40b3-bb05-465447aa1b1e" providerId="ADAL" clId="{D1045E91-E38F-4DE5-9428-9737EA08A0FE}" dt="2025-11-21T14:04:12.160" v="1390" actId="700"/>
          <ac:spMkLst>
            <pc:docMk/>
            <pc:sldMk cId="3057652219" sldId="2147470000"/>
            <ac:spMk id="3" creationId="{9FB38631-E00F-4BA3-B173-4C97370BAC6F}"/>
          </ac:spMkLst>
        </pc:spChg>
      </pc:sldChg>
      <pc:sldChg chg="del">
        <pc:chgData name="Broyles, Traci" userId="b2698ddf-8c2c-40b3-bb05-465447aa1b1e" providerId="ADAL" clId="{D1045E91-E38F-4DE5-9428-9737EA08A0FE}" dt="2025-11-21T14:03:16.733" v="1386" actId="47"/>
        <pc:sldMkLst>
          <pc:docMk/>
          <pc:sldMk cId="4222309697" sldId="2147470001"/>
        </pc:sldMkLst>
      </pc:sldChg>
      <pc:sldChg chg="del">
        <pc:chgData name="Broyles, Traci" userId="b2698ddf-8c2c-40b3-bb05-465447aa1b1e" providerId="ADAL" clId="{D1045E91-E38F-4DE5-9428-9737EA08A0FE}" dt="2025-11-21T13:43:59.274" v="1115" actId="47"/>
        <pc:sldMkLst>
          <pc:docMk/>
          <pc:sldMk cId="83079260" sldId="2147479018"/>
        </pc:sldMkLst>
      </pc:sldChg>
      <pc:sldChg chg="add del mod chgLayout">
        <pc:chgData name="Broyles, Traci" userId="b2698ddf-8c2c-40b3-bb05-465447aa1b1e" providerId="ADAL" clId="{D1045E91-E38F-4DE5-9428-9737EA08A0FE}" dt="2025-11-21T14:00:15.409" v="1338" actId="47"/>
        <pc:sldMkLst>
          <pc:docMk/>
          <pc:sldMk cId="2349950323" sldId="2147479055"/>
        </pc:sldMkLst>
      </pc:sldChg>
      <pc:sldChg chg="delSp modSp add mod modClrScheme chgLayout">
        <pc:chgData name="Broyles, Traci" userId="b2698ddf-8c2c-40b3-bb05-465447aa1b1e" providerId="ADAL" clId="{D1045E91-E38F-4DE5-9428-9737EA08A0FE}" dt="2025-11-21T12:07:06.338" v="402" actId="1076"/>
        <pc:sldMkLst>
          <pc:docMk/>
          <pc:sldMk cId="2797999726" sldId="2147479056"/>
        </pc:sldMkLst>
        <pc:spChg chg="del">
          <ac:chgData name="Broyles, Traci" userId="b2698ddf-8c2c-40b3-bb05-465447aa1b1e" providerId="ADAL" clId="{D1045E91-E38F-4DE5-9428-9737EA08A0FE}" dt="2025-11-21T12:05:59.313" v="400" actId="478"/>
          <ac:spMkLst>
            <pc:docMk/>
            <pc:sldMk cId="2797999726" sldId="2147479056"/>
            <ac:spMk id="21" creationId="{FC54C126-CB7F-B966-07EE-A3C4529EDA6B}"/>
          </ac:spMkLst>
        </pc:spChg>
        <pc:picChg chg="mod">
          <ac:chgData name="Broyles, Traci" userId="b2698ddf-8c2c-40b3-bb05-465447aa1b1e" providerId="ADAL" clId="{D1045E91-E38F-4DE5-9428-9737EA08A0FE}" dt="2025-11-21T12:07:00.140" v="401" actId="1076"/>
          <ac:picMkLst>
            <pc:docMk/>
            <pc:sldMk cId="2797999726" sldId="2147479056"/>
            <ac:picMk id="22" creationId="{C6DD941E-2C6D-8D70-EB1F-6CFDCF4F5AD9}"/>
          </ac:picMkLst>
        </pc:picChg>
        <pc:picChg chg="mod">
          <ac:chgData name="Broyles, Traci" userId="b2698ddf-8c2c-40b3-bb05-465447aa1b1e" providerId="ADAL" clId="{D1045E91-E38F-4DE5-9428-9737EA08A0FE}" dt="2025-11-21T12:07:06.338" v="402" actId="1076"/>
          <ac:picMkLst>
            <pc:docMk/>
            <pc:sldMk cId="2797999726" sldId="2147479056"/>
            <ac:picMk id="23" creationId="{C569045F-87B2-35B9-79F0-A8553C1FC25E}"/>
          </ac:picMkLst>
        </pc:picChg>
      </pc:sldChg>
      <pc:sldChg chg="addSp delSp modSp del mod">
        <pc:chgData name="Broyles, Traci" userId="b2698ddf-8c2c-40b3-bb05-465447aa1b1e" providerId="ADAL" clId="{D1045E91-E38F-4DE5-9428-9737EA08A0FE}" dt="2025-11-21T11:51:30.996" v="284" actId="2696"/>
        <pc:sldMkLst>
          <pc:docMk/>
          <pc:sldMk cId="1184118933" sldId="2147483383"/>
        </pc:sldMkLst>
        <pc:spChg chg="mod">
          <ac:chgData name="Broyles, Traci" userId="b2698ddf-8c2c-40b3-bb05-465447aa1b1e" providerId="ADAL" clId="{D1045E91-E38F-4DE5-9428-9737EA08A0FE}" dt="2025-11-20T18:37:15.066" v="23"/>
          <ac:spMkLst>
            <pc:docMk/>
            <pc:sldMk cId="1184118933" sldId="2147483383"/>
            <ac:spMk id="4" creationId="{C6FE66AB-F802-4B1B-A4AB-5F43F3E5A17F}"/>
          </ac:spMkLst>
        </pc:spChg>
        <pc:spChg chg="add del mod">
          <ac:chgData name="Broyles, Traci" userId="b2698ddf-8c2c-40b3-bb05-465447aa1b1e" providerId="ADAL" clId="{D1045E91-E38F-4DE5-9428-9737EA08A0FE}" dt="2025-11-21T11:38:00.956" v="82" actId="21"/>
          <ac:spMkLst>
            <pc:docMk/>
            <pc:sldMk cId="1184118933" sldId="2147483383"/>
            <ac:spMk id="28" creationId="{90AC4780-320A-4A57-B464-CC1F544BF96B}"/>
          </ac:spMkLst>
        </pc:spChg>
        <pc:picChg chg="del">
          <ac:chgData name="Broyles, Traci" userId="b2698ddf-8c2c-40b3-bb05-465447aa1b1e" providerId="ADAL" clId="{D1045E91-E38F-4DE5-9428-9737EA08A0FE}" dt="2025-11-21T11:37:21.503" v="76" actId="21"/>
          <ac:picMkLst>
            <pc:docMk/>
            <pc:sldMk cId="1184118933" sldId="2147483383"/>
            <ac:picMk id="25" creationId="{B3EE92D7-CDCB-4D2E-BC7E-3C0F0C9E4462}"/>
          </ac:picMkLst>
        </pc:picChg>
      </pc:sldChg>
      <pc:sldChg chg="mod ord modShow">
        <pc:chgData name="Broyles, Traci" userId="b2698ddf-8c2c-40b3-bb05-465447aa1b1e" providerId="ADAL" clId="{D1045E91-E38F-4DE5-9428-9737EA08A0FE}" dt="2025-11-21T14:00:56.440" v="1341" actId="729"/>
        <pc:sldMkLst>
          <pc:docMk/>
          <pc:sldMk cId="0" sldId="2147483384"/>
        </pc:sldMkLst>
      </pc:sldChg>
      <pc:sldChg chg="modSp mod modClrScheme chgLayout">
        <pc:chgData name="Broyles, Traci" userId="b2698ddf-8c2c-40b3-bb05-465447aa1b1e" providerId="ADAL" clId="{D1045E91-E38F-4DE5-9428-9737EA08A0FE}" dt="2025-11-21T14:07:10.662" v="1415" actId="1076"/>
        <pc:sldMkLst>
          <pc:docMk/>
          <pc:sldMk cId="2260006989" sldId="2147483386"/>
        </pc:sldMkLst>
        <pc:spChg chg="mod ord">
          <ac:chgData name="Broyles, Traci" userId="b2698ddf-8c2c-40b3-bb05-465447aa1b1e" providerId="ADAL" clId="{D1045E91-E38F-4DE5-9428-9737EA08A0FE}" dt="2025-11-21T14:06:59.654" v="1413" actId="1076"/>
          <ac:spMkLst>
            <pc:docMk/>
            <pc:sldMk cId="2260006989" sldId="2147483386"/>
            <ac:spMk id="2" creationId="{2148D7C3-CBB5-1418-4C10-6CF13E9BDA51}"/>
          </ac:spMkLst>
        </pc:spChg>
        <pc:spChg chg="mod">
          <ac:chgData name="Broyles, Traci" userId="b2698ddf-8c2c-40b3-bb05-465447aa1b1e" providerId="ADAL" clId="{D1045E91-E38F-4DE5-9428-9737EA08A0FE}" dt="2025-11-21T14:07:05.012" v="1414" actId="14100"/>
          <ac:spMkLst>
            <pc:docMk/>
            <pc:sldMk cId="2260006989" sldId="2147483386"/>
            <ac:spMk id="6" creationId="{0ABCF6B9-BFC2-A81F-FCDA-4C840465C05E}"/>
          </ac:spMkLst>
        </pc:spChg>
        <pc:picChg chg="mod">
          <ac:chgData name="Broyles, Traci" userId="b2698ddf-8c2c-40b3-bb05-465447aa1b1e" providerId="ADAL" clId="{D1045E91-E38F-4DE5-9428-9737EA08A0FE}" dt="2025-11-21T14:07:10.662" v="1415" actId="1076"/>
          <ac:picMkLst>
            <pc:docMk/>
            <pc:sldMk cId="2260006989" sldId="2147483386"/>
            <ac:picMk id="1034" creationId="{9812CAFE-49CF-4E3E-AB22-5B8CEA84559F}"/>
          </ac:picMkLst>
        </pc:picChg>
      </pc:sldChg>
      <pc:sldChg chg="addSp delSp modSp del mod modClrScheme chgLayout">
        <pc:chgData name="Broyles, Traci" userId="b2698ddf-8c2c-40b3-bb05-465447aa1b1e" providerId="ADAL" clId="{D1045E91-E38F-4DE5-9428-9737EA08A0FE}" dt="2025-11-21T14:03:06.298" v="1384" actId="47"/>
        <pc:sldMkLst>
          <pc:docMk/>
          <pc:sldMk cId="648268210" sldId="2147483387"/>
        </pc:sldMkLst>
        <pc:spChg chg="del mod ord">
          <ac:chgData name="Broyles, Traci" userId="b2698ddf-8c2c-40b3-bb05-465447aa1b1e" providerId="ADAL" clId="{D1045E91-E38F-4DE5-9428-9737EA08A0FE}" dt="2025-11-21T13:56:21.536" v="1246" actId="700"/>
          <ac:spMkLst>
            <pc:docMk/>
            <pc:sldMk cId="648268210" sldId="2147483387"/>
            <ac:spMk id="2" creationId="{ECC47A2D-06FB-4BC3-8302-266302A9ED66}"/>
          </ac:spMkLst>
        </pc:spChg>
        <pc:spChg chg="mod ord">
          <ac:chgData name="Broyles, Traci" userId="b2698ddf-8c2c-40b3-bb05-465447aa1b1e" providerId="ADAL" clId="{D1045E91-E38F-4DE5-9428-9737EA08A0FE}" dt="2025-11-21T13:56:36.601" v="1250" actId="14100"/>
          <ac:spMkLst>
            <pc:docMk/>
            <pc:sldMk cId="648268210" sldId="2147483387"/>
            <ac:spMk id="3" creationId="{9FB38631-E00F-4BA3-B173-4C97370BAC6F}"/>
          </ac:spMkLst>
        </pc:spChg>
        <pc:spChg chg="add del mod ord">
          <ac:chgData name="Broyles, Traci" userId="b2698ddf-8c2c-40b3-bb05-465447aa1b1e" providerId="ADAL" clId="{D1045E91-E38F-4DE5-9428-9737EA08A0FE}" dt="2025-11-21T13:55:48.750" v="1245" actId="700"/>
          <ac:spMkLst>
            <pc:docMk/>
            <pc:sldMk cId="648268210" sldId="2147483387"/>
            <ac:spMk id="4" creationId="{A2F775A6-9E7C-C3D4-B5F5-99BA442D8296}"/>
          </ac:spMkLst>
        </pc:spChg>
        <pc:spChg chg="add del mod ord">
          <ac:chgData name="Broyles, Traci" userId="b2698ddf-8c2c-40b3-bb05-465447aa1b1e" providerId="ADAL" clId="{D1045E91-E38F-4DE5-9428-9737EA08A0FE}" dt="2025-11-21T13:55:48.750" v="1245" actId="700"/>
          <ac:spMkLst>
            <pc:docMk/>
            <pc:sldMk cId="648268210" sldId="2147483387"/>
            <ac:spMk id="5" creationId="{A44D9B92-FAC6-BABC-7B12-49BD484BC291}"/>
          </ac:spMkLst>
        </pc:spChg>
        <pc:spChg chg="add del mod ord">
          <ac:chgData name="Broyles, Traci" userId="b2698ddf-8c2c-40b3-bb05-465447aa1b1e" providerId="ADAL" clId="{D1045E91-E38F-4DE5-9428-9737EA08A0FE}" dt="2025-11-21T13:55:48.750" v="1245" actId="700"/>
          <ac:spMkLst>
            <pc:docMk/>
            <pc:sldMk cId="648268210" sldId="2147483387"/>
            <ac:spMk id="6" creationId="{036791A6-1B40-F74E-42F2-A1017B358A17}"/>
          </ac:spMkLst>
        </pc:spChg>
        <pc:spChg chg="add del mod ord">
          <ac:chgData name="Broyles, Traci" userId="b2698ddf-8c2c-40b3-bb05-465447aa1b1e" providerId="ADAL" clId="{D1045E91-E38F-4DE5-9428-9737EA08A0FE}" dt="2025-11-21T13:55:48.750" v="1245" actId="700"/>
          <ac:spMkLst>
            <pc:docMk/>
            <pc:sldMk cId="648268210" sldId="2147483387"/>
            <ac:spMk id="8" creationId="{0002DAB0-F79B-DF14-3E95-BE1A795B4EAB}"/>
          </ac:spMkLst>
        </pc:spChg>
        <pc:spChg chg="add del mod ord">
          <ac:chgData name="Broyles, Traci" userId="b2698ddf-8c2c-40b3-bb05-465447aa1b1e" providerId="ADAL" clId="{D1045E91-E38F-4DE5-9428-9737EA08A0FE}" dt="2025-11-21T13:55:48.750" v="1245" actId="700"/>
          <ac:spMkLst>
            <pc:docMk/>
            <pc:sldMk cId="648268210" sldId="2147483387"/>
            <ac:spMk id="9" creationId="{2A81E639-30CD-5C0D-7A39-6B1A460BD078}"/>
          </ac:spMkLst>
        </pc:spChg>
        <pc:spChg chg="mod">
          <ac:chgData name="Broyles, Traci" userId="b2698ddf-8c2c-40b3-bb05-465447aa1b1e" providerId="ADAL" clId="{D1045E91-E38F-4DE5-9428-9737EA08A0FE}" dt="2025-11-21T13:55:47.050" v="1244" actId="27636"/>
          <ac:spMkLst>
            <pc:docMk/>
            <pc:sldMk cId="648268210" sldId="2147483387"/>
            <ac:spMk id="11" creationId="{51727B58-E31D-D586-71B0-FFEAA1523E39}"/>
          </ac:spMkLst>
        </pc:spChg>
        <pc:spChg chg="add del mod ord">
          <ac:chgData name="Broyles, Traci" userId="b2698ddf-8c2c-40b3-bb05-465447aa1b1e" providerId="ADAL" clId="{D1045E91-E38F-4DE5-9428-9737EA08A0FE}" dt="2025-11-21T13:55:48.750" v="1245" actId="700"/>
          <ac:spMkLst>
            <pc:docMk/>
            <pc:sldMk cId="648268210" sldId="2147483387"/>
            <ac:spMk id="12" creationId="{20CC0B95-6EC6-D255-DFB2-86A5DEE4796F}"/>
          </ac:spMkLst>
        </pc:spChg>
        <pc:spChg chg="add del mod ord">
          <ac:chgData name="Broyles, Traci" userId="b2698ddf-8c2c-40b3-bb05-465447aa1b1e" providerId="ADAL" clId="{D1045E91-E38F-4DE5-9428-9737EA08A0FE}" dt="2025-11-21T13:55:48.750" v="1245" actId="700"/>
          <ac:spMkLst>
            <pc:docMk/>
            <pc:sldMk cId="648268210" sldId="2147483387"/>
            <ac:spMk id="13" creationId="{2F117001-7CDC-CB89-4C6A-1DA4A60915DC}"/>
          </ac:spMkLst>
        </pc:spChg>
        <pc:spChg chg="mod">
          <ac:chgData name="Broyles, Traci" userId="b2698ddf-8c2c-40b3-bb05-465447aa1b1e" providerId="ADAL" clId="{D1045E91-E38F-4DE5-9428-9737EA08A0FE}" dt="2025-11-21T13:55:47.048" v="1242" actId="27636"/>
          <ac:spMkLst>
            <pc:docMk/>
            <pc:sldMk cId="648268210" sldId="2147483387"/>
            <ac:spMk id="16" creationId="{DABDB52E-A38B-A732-2198-20AAFEE8FFCC}"/>
          </ac:spMkLst>
        </pc:spChg>
        <pc:spChg chg="add del mod ord">
          <ac:chgData name="Broyles, Traci" userId="b2698ddf-8c2c-40b3-bb05-465447aa1b1e" providerId="ADAL" clId="{D1045E91-E38F-4DE5-9428-9737EA08A0FE}" dt="2025-11-21T13:55:48.750" v="1245" actId="700"/>
          <ac:spMkLst>
            <pc:docMk/>
            <pc:sldMk cId="648268210" sldId="2147483387"/>
            <ac:spMk id="19" creationId="{BF7ECB54-1792-3956-E607-B5E0F8A9B3D3}"/>
          </ac:spMkLst>
        </pc:spChg>
        <pc:spChg chg="mod">
          <ac:chgData name="Broyles, Traci" userId="b2698ddf-8c2c-40b3-bb05-465447aa1b1e" providerId="ADAL" clId="{D1045E91-E38F-4DE5-9428-9737EA08A0FE}" dt="2025-11-21T13:55:47.042" v="1238" actId="27636"/>
          <ac:spMkLst>
            <pc:docMk/>
            <pc:sldMk cId="648268210" sldId="2147483387"/>
            <ac:spMk id="21" creationId="{6C178A4C-2648-7F6C-12E9-AEBDD46CFDDC}"/>
          </ac:spMkLst>
        </pc:spChg>
        <pc:spChg chg="add del mod ord">
          <ac:chgData name="Broyles, Traci" userId="b2698ddf-8c2c-40b3-bb05-465447aa1b1e" providerId="ADAL" clId="{D1045E91-E38F-4DE5-9428-9737EA08A0FE}" dt="2025-11-21T13:55:48.750" v="1245" actId="700"/>
          <ac:spMkLst>
            <pc:docMk/>
            <pc:sldMk cId="648268210" sldId="2147483387"/>
            <ac:spMk id="24" creationId="{9506EA05-544C-7A09-BFD0-EC95785C73C5}"/>
          </ac:spMkLst>
        </pc:spChg>
        <pc:spChg chg="add del mod ord">
          <ac:chgData name="Broyles, Traci" userId="b2698ddf-8c2c-40b3-bb05-465447aa1b1e" providerId="ADAL" clId="{D1045E91-E38F-4DE5-9428-9737EA08A0FE}" dt="2025-11-21T13:56:26.685" v="1247" actId="478"/>
          <ac:spMkLst>
            <pc:docMk/>
            <pc:sldMk cId="648268210" sldId="2147483387"/>
            <ac:spMk id="26" creationId="{D55E9223-C444-829E-A69B-66E72CEAB748}"/>
          </ac:spMkLst>
        </pc:spChg>
      </pc:sldChg>
      <pc:sldChg chg="new del">
        <pc:chgData name="Broyles, Traci" userId="b2698ddf-8c2c-40b3-bb05-465447aa1b1e" providerId="ADAL" clId="{D1045E91-E38F-4DE5-9428-9737EA08A0FE}" dt="2025-11-21T11:35:39.293" v="57" actId="680"/>
        <pc:sldMkLst>
          <pc:docMk/>
          <pc:sldMk cId="1547937429" sldId="2147483604"/>
        </pc:sldMkLst>
      </pc:sldChg>
      <pc:sldChg chg="modSp add mod ord modShow">
        <pc:chgData name="Broyles, Traci" userId="b2698ddf-8c2c-40b3-bb05-465447aa1b1e" providerId="ADAL" clId="{D1045E91-E38F-4DE5-9428-9737EA08A0FE}" dt="2025-11-21T15:05:21.307" v="1448"/>
        <pc:sldMkLst>
          <pc:docMk/>
          <pc:sldMk cId="4177322659" sldId="2147483604"/>
        </pc:sldMkLst>
        <pc:spChg chg="mod">
          <ac:chgData name="Broyles, Traci" userId="b2698ddf-8c2c-40b3-bb05-465447aa1b1e" providerId="ADAL" clId="{D1045E91-E38F-4DE5-9428-9737EA08A0FE}" dt="2025-11-21T12:18:22.765" v="496" actId="14100"/>
          <ac:spMkLst>
            <pc:docMk/>
            <pc:sldMk cId="4177322659" sldId="2147483604"/>
            <ac:spMk id="7" creationId="{61F2D130-D2BB-53B7-C132-E3A6C9E684BC}"/>
          </ac:spMkLst>
        </pc:spChg>
        <pc:spChg chg="mod">
          <ac:chgData name="Broyles, Traci" userId="b2698ddf-8c2c-40b3-bb05-465447aa1b1e" providerId="ADAL" clId="{D1045E91-E38F-4DE5-9428-9737EA08A0FE}" dt="2025-11-21T12:18:33.080" v="497" actId="14100"/>
          <ac:spMkLst>
            <pc:docMk/>
            <pc:sldMk cId="4177322659" sldId="2147483604"/>
            <ac:spMk id="8" creationId="{6354C759-15E4-08FC-F33C-A775C82A7A52}"/>
          </ac:spMkLst>
        </pc:spChg>
        <pc:spChg chg="mod">
          <ac:chgData name="Broyles, Traci" userId="b2698ddf-8c2c-40b3-bb05-465447aa1b1e" providerId="ADAL" clId="{D1045E91-E38F-4DE5-9428-9737EA08A0FE}" dt="2025-11-21T12:18:14.905" v="494" actId="14100"/>
          <ac:spMkLst>
            <pc:docMk/>
            <pc:sldMk cId="4177322659" sldId="2147483604"/>
            <ac:spMk id="9" creationId="{EEEE776C-4F7B-853C-BE80-6809D15A2DF3}"/>
          </ac:spMkLst>
        </pc:spChg>
        <pc:grpChg chg="mod">
          <ac:chgData name="Broyles, Traci" userId="b2698ddf-8c2c-40b3-bb05-465447aa1b1e" providerId="ADAL" clId="{D1045E91-E38F-4DE5-9428-9737EA08A0FE}" dt="2025-11-21T12:18:38.621" v="498" actId="14100"/>
          <ac:grpSpMkLst>
            <pc:docMk/>
            <pc:sldMk cId="4177322659" sldId="2147483604"/>
            <ac:grpSpMk id="3" creationId="{1EB84BBA-A8F8-7876-E5E1-E9AF317E8258}"/>
          </ac:grpSpMkLst>
        </pc:grpChg>
        <pc:grpChg chg="mod">
          <ac:chgData name="Broyles, Traci" userId="b2698ddf-8c2c-40b3-bb05-465447aa1b1e" providerId="ADAL" clId="{D1045E91-E38F-4DE5-9428-9737EA08A0FE}" dt="2025-11-21T12:19:00.835" v="502" actId="1076"/>
          <ac:grpSpMkLst>
            <pc:docMk/>
            <pc:sldMk cId="4177322659" sldId="2147483604"/>
            <ac:grpSpMk id="10" creationId="{910BB36E-4F24-937C-7B37-66C7CFCB6407}"/>
          </ac:grpSpMkLst>
        </pc:grpChg>
        <pc:picChg chg="mod">
          <ac:chgData name="Broyles, Traci" userId="b2698ddf-8c2c-40b3-bb05-465447aa1b1e" providerId="ADAL" clId="{D1045E91-E38F-4DE5-9428-9737EA08A0FE}" dt="2025-11-21T12:19:04.527" v="503" actId="1076"/>
          <ac:picMkLst>
            <pc:docMk/>
            <pc:sldMk cId="4177322659" sldId="2147483604"/>
            <ac:picMk id="21" creationId="{3E4B856F-BC02-C2D4-46FE-5751FBEC832E}"/>
          </ac:picMkLst>
        </pc:picChg>
        <pc:picChg chg="mod">
          <ac:chgData name="Broyles, Traci" userId="b2698ddf-8c2c-40b3-bb05-465447aa1b1e" providerId="ADAL" clId="{D1045E91-E38F-4DE5-9428-9737EA08A0FE}" dt="2025-11-21T12:19:08.096" v="504" actId="1076"/>
          <ac:picMkLst>
            <pc:docMk/>
            <pc:sldMk cId="4177322659" sldId="2147483604"/>
            <ac:picMk id="22" creationId="{7FEE7A82-21AD-5703-C842-60140ABD3DD4}"/>
          </ac:picMkLst>
        </pc:picChg>
        <pc:picChg chg="mod">
          <ac:chgData name="Broyles, Traci" userId="b2698ddf-8c2c-40b3-bb05-465447aa1b1e" providerId="ADAL" clId="{D1045E91-E38F-4DE5-9428-9737EA08A0FE}" dt="2025-11-21T12:19:14.416" v="505" actId="1076"/>
          <ac:picMkLst>
            <pc:docMk/>
            <pc:sldMk cId="4177322659" sldId="2147483604"/>
            <ac:picMk id="23" creationId="{4D622EB5-1C05-EBA9-929A-26B7D50BDE7F}"/>
          </ac:picMkLst>
        </pc:picChg>
      </pc:sldChg>
      <pc:sldChg chg="addSp modSp new mod">
        <pc:chgData name="Broyles, Traci" userId="b2698ddf-8c2c-40b3-bb05-465447aa1b1e" providerId="ADAL" clId="{D1045E91-E38F-4DE5-9428-9737EA08A0FE}" dt="2025-11-21T13:23:20.430" v="641" actId="1076"/>
        <pc:sldMkLst>
          <pc:docMk/>
          <pc:sldMk cId="2750240754" sldId="2147483605"/>
        </pc:sldMkLst>
        <pc:spChg chg="add mod">
          <ac:chgData name="Broyles, Traci" userId="b2698ddf-8c2c-40b3-bb05-465447aa1b1e" providerId="ADAL" clId="{D1045E91-E38F-4DE5-9428-9737EA08A0FE}" dt="2025-11-21T13:23:20.430" v="641" actId="1076"/>
          <ac:spMkLst>
            <pc:docMk/>
            <pc:sldMk cId="2750240754" sldId="2147483605"/>
            <ac:spMk id="4" creationId="{619C2868-85EF-E629-1949-6B8253457D9D}"/>
          </ac:spMkLst>
        </pc:spChg>
        <pc:picChg chg="add mod">
          <ac:chgData name="Broyles, Traci" userId="b2698ddf-8c2c-40b3-bb05-465447aa1b1e" providerId="ADAL" clId="{D1045E91-E38F-4DE5-9428-9737EA08A0FE}" dt="2025-11-21T13:23:14.709" v="640" actId="1076"/>
          <ac:picMkLst>
            <pc:docMk/>
            <pc:sldMk cId="2750240754" sldId="2147483605"/>
            <ac:picMk id="3" creationId="{7FDB4F3F-A050-6AB0-1327-D434BA690728}"/>
          </ac:picMkLst>
        </pc:picChg>
      </pc:sldChg>
      <pc:sldChg chg="addSp delSp modSp new mod modClrScheme chgLayout">
        <pc:chgData name="Broyles, Traci" userId="b2698ddf-8c2c-40b3-bb05-465447aa1b1e" providerId="ADAL" clId="{D1045E91-E38F-4DE5-9428-9737EA08A0FE}" dt="2025-11-21T13:40:10.464" v="1094" actId="1076"/>
        <pc:sldMkLst>
          <pc:docMk/>
          <pc:sldMk cId="2163836078" sldId="2147483606"/>
        </pc:sldMkLst>
        <pc:spChg chg="del">
          <ac:chgData name="Broyles, Traci" userId="b2698ddf-8c2c-40b3-bb05-465447aa1b1e" providerId="ADAL" clId="{D1045E91-E38F-4DE5-9428-9737EA08A0FE}" dt="2025-11-21T13:34:39.148" v="1035" actId="700"/>
          <ac:spMkLst>
            <pc:docMk/>
            <pc:sldMk cId="2163836078" sldId="2147483606"/>
            <ac:spMk id="4" creationId="{27ECE080-4690-C3AD-1AFE-7E110B632876}"/>
          </ac:spMkLst>
        </pc:spChg>
        <pc:spChg chg="del">
          <ac:chgData name="Broyles, Traci" userId="b2698ddf-8c2c-40b3-bb05-465447aa1b1e" providerId="ADAL" clId="{D1045E91-E38F-4DE5-9428-9737EA08A0FE}" dt="2025-11-21T13:34:39.148" v="1035" actId="700"/>
          <ac:spMkLst>
            <pc:docMk/>
            <pc:sldMk cId="2163836078" sldId="2147483606"/>
            <ac:spMk id="5" creationId="{EBCEDFEB-DAF7-CB8A-65BE-30B4E7FAD5B9}"/>
          </ac:spMkLst>
        </pc:spChg>
        <pc:spChg chg="del">
          <ac:chgData name="Broyles, Traci" userId="b2698ddf-8c2c-40b3-bb05-465447aa1b1e" providerId="ADAL" clId="{D1045E91-E38F-4DE5-9428-9737EA08A0FE}" dt="2025-11-21T13:34:39.148" v="1035" actId="700"/>
          <ac:spMkLst>
            <pc:docMk/>
            <pc:sldMk cId="2163836078" sldId="2147483606"/>
            <ac:spMk id="6" creationId="{B32B4C1E-2439-F30D-525B-E503CF2AE1C2}"/>
          </ac:spMkLst>
        </pc:spChg>
        <pc:spChg chg="del">
          <ac:chgData name="Broyles, Traci" userId="b2698ddf-8c2c-40b3-bb05-465447aa1b1e" providerId="ADAL" clId="{D1045E91-E38F-4DE5-9428-9737EA08A0FE}" dt="2025-11-21T13:34:39.148" v="1035" actId="700"/>
          <ac:spMkLst>
            <pc:docMk/>
            <pc:sldMk cId="2163836078" sldId="2147483606"/>
            <ac:spMk id="7" creationId="{12AD125D-08F6-F30A-BCCD-72E0D29C760A}"/>
          </ac:spMkLst>
        </pc:spChg>
        <pc:spChg chg="del">
          <ac:chgData name="Broyles, Traci" userId="b2698ddf-8c2c-40b3-bb05-465447aa1b1e" providerId="ADAL" clId="{D1045E91-E38F-4DE5-9428-9737EA08A0FE}" dt="2025-11-21T13:34:39.148" v="1035" actId="700"/>
          <ac:spMkLst>
            <pc:docMk/>
            <pc:sldMk cId="2163836078" sldId="2147483606"/>
            <ac:spMk id="9" creationId="{8CE18559-C07A-8F3C-E27C-CA13E56E8476}"/>
          </ac:spMkLst>
        </pc:spChg>
        <pc:spChg chg="del">
          <ac:chgData name="Broyles, Traci" userId="b2698ddf-8c2c-40b3-bb05-465447aa1b1e" providerId="ADAL" clId="{D1045E91-E38F-4DE5-9428-9737EA08A0FE}" dt="2025-11-21T13:34:39.148" v="1035" actId="700"/>
          <ac:spMkLst>
            <pc:docMk/>
            <pc:sldMk cId="2163836078" sldId="2147483606"/>
            <ac:spMk id="11" creationId="{5640E45F-07CC-F537-4D00-3E0C564BE30A}"/>
          </ac:spMkLst>
        </pc:spChg>
        <pc:spChg chg="del">
          <ac:chgData name="Broyles, Traci" userId="b2698ddf-8c2c-40b3-bb05-465447aa1b1e" providerId="ADAL" clId="{D1045E91-E38F-4DE5-9428-9737EA08A0FE}" dt="2025-11-21T13:34:39.148" v="1035" actId="700"/>
          <ac:spMkLst>
            <pc:docMk/>
            <pc:sldMk cId="2163836078" sldId="2147483606"/>
            <ac:spMk id="12" creationId="{642166FC-DB28-9B61-74D9-4B232D5D6707}"/>
          </ac:spMkLst>
        </pc:spChg>
        <pc:spChg chg="del">
          <ac:chgData name="Broyles, Traci" userId="b2698ddf-8c2c-40b3-bb05-465447aa1b1e" providerId="ADAL" clId="{D1045E91-E38F-4DE5-9428-9737EA08A0FE}" dt="2025-11-21T13:34:39.148" v="1035" actId="700"/>
          <ac:spMkLst>
            <pc:docMk/>
            <pc:sldMk cId="2163836078" sldId="2147483606"/>
            <ac:spMk id="15" creationId="{20FE2914-61FF-35B8-88CD-BA550C681294}"/>
          </ac:spMkLst>
        </pc:spChg>
        <pc:spChg chg="del">
          <ac:chgData name="Broyles, Traci" userId="b2698ddf-8c2c-40b3-bb05-465447aa1b1e" providerId="ADAL" clId="{D1045E91-E38F-4DE5-9428-9737EA08A0FE}" dt="2025-11-21T13:34:39.148" v="1035" actId="700"/>
          <ac:spMkLst>
            <pc:docMk/>
            <pc:sldMk cId="2163836078" sldId="2147483606"/>
            <ac:spMk id="17" creationId="{0E81BF3F-CDC1-5508-DD50-2D6A67C733D7}"/>
          </ac:spMkLst>
        </pc:spChg>
        <pc:spChg chg="del mod ord">
          <ac:chgData name="Broyles, Traci" userId="b2698ddf-8c2c-40b3-bb05-465447aa1b1e" providerId="ADAL" clId="{D1045E91-E38F-4DE5-9428-9737EA08A0FE}" dt="2025-11-21T13:35:21.388" v="1044" actId="478"/>
          <ac:spMkLst>
            <pc:docMk/>
            <pc:sldMk cId="2163836078" sldId="2147483606"/>
            <ac:spMk id="19" creationId="{984E377D-5D5A-53B4-1A26-8C7BE5060606}"/>
          </ac:spMkLst>
        </pc:spChg>
        <pc:spChg chg="add mod">
          <ac:chgData name="Broyles, Traci" userId="b2698ddf-8c2c-40b3-bb05-465447aa1b1e" providerId="ADAL" clId="{D1045E91-E38F-4DE5-9428-9737EA08A0FE}" dt="2025-11-21T13:39:12.732" v="1085" actId="14100"/>
          <ac:spMkLst>
            <pc:docMk/>
            <pc:sldMk cId="2163836078" sldId="2147483606"/>
            <ac:spMk id="20" creationId="{B76C1BD3-3130-46E9-9A04-1A089D054153}"/>
          </ac:spMkLst>
        </pc:spChg>
        <pc:spChg chg="add mod">
          <ac:chgData name="Broyles, Traci" userId="b2698ddf-8c2c-40b3-bb05-465447aa1b1e" providerId="ADAL" clId="{D1045E91-E38F-4DE5-9428-9737EA08A0FE}" dt="2025-11-21T13:38:33.426" v="1080" actId="1076"/>
          <ac:spMkLst>
            <pc:docMk/>
            <pc:sldMk cId="2163836078" sldId="2147483606"/>
            <ac:spMk id="21" creationId="{9723D8D6-6ABE-4B18-9ECF-EBCD6CB41E94}"/>
          </ac:spMkLst>
        </pc:spChg>
        <pc:spChg chg="mod">
          <ac:chgData name="Broyles, Traci" userId="b2698ddf-8c2c-40b3-bb05-465447aa1b1e" providerId="ADAL" clId="{D1045E91-E38F-4DE5-9428-9737EA08A0FE}" dt="2025-11-21T13:39:44.016" v="1090" actId="1076"/>
          <ac:spMkLst>
            <pc:docMk/>
            <pc:sldMk cId="2163836078" sldId="2147483606"/>
            <ac:spMk id="22" creationId="{59CDCB55-2660-44E7-8F48-FF4769B10635}"/>
          </ac:spMkLst>
        </pc:spChg>
        <pc:spChg chg="add mod">
          <ac:chgData name="Broyles, Traci" userId="b2698ddf-8c2c-40b3-bb05-465447aa1b1e" providerId="ADAL" clId="{D1045E91-E38F-4DE5-9428-9737EA08A0FE}" dt="2025-11-21T13:39:19.984" v="1087" actId="255"/>
          <ac:spMkLst>
            <pc:docMk/>
            <pc:sldMk cId="2163836078" sldId="2147483606"/>
            <ac:spMk id="23" creationId="{83D4E702-13B4-4B6A-A9C8-063A020E5DA5}"/>
          </ac:spMkLst>
        </pc:spChg>
        <pc:spChg chg="add mod">
          <ac:chgData name="Broyles, Traci" userId="b2698ddf-8c2c-40b3-bb05-465447aa1b1e" providerId="ADAL" clId="{D1045E91-E38F-4DE5-9428-9737EA08A0FE}" dt="2025-11-21T13:36:47.312" v="1061" actId="255"/>
          <ac:spMkLst>
            <pc:docMk/>
            <pc:sldMk cId="2163836078" sldId="2147483606"/>
            <ac:spMk id="24" creationId="{BBDE531B-E38F-483C-866D-6F27338E1209}"/>
          </ac:spMkLst>
        </pc:spChg>
        <pc:spChg chg="mod">
          <ac:chgData name="Broyles, Traci" userId="b2698ddf-8c2c-40b3-bb05-465447aa1b1e" providerId="ADAL" clId="{D1045E91-E38F-4DE5-9428-9737EA08A0FE}" dt="2025-11-21T13:38:49.995" v="1082" actId="255"/>
          <ac:spMkLst>
            <pc:docMk/>
            <pc:sldMk cId="2163836078" sldId="2147483606"/>
            <ac:spMk id="25" creationId="{3C6EC251-E9CA-4A5C-AC37-B36B580F604C}"/>
          </ac:spMkLst>
        </pc:spChg>
        <pc:spChg chg="add mod">
          <ac:chgData name="Broyles, Traci" userId="b2698ddf-8c2c-40b3-bb05-465447aa1b1e" providerId="ADAL" clId="{D1045E91-E38F-4DE5-9428-9737EA08A0FE}" dt="2025-11-21T13:39:31.146" v="1088" actId="1076"/>
          <ac:spMkLst>
            <pc:docMk/>
            <pc:sldMk cId="2163836078" sldId="2147483606"/>
            <ac:spMk id="26" creationId="{2ED8A88A-8151-4E68-806A-A08DA3FD9D7F}"/>
          </ac:spMkLst>
        </pc:spChg>
        <pc:spChg chg="add mod">
          <ac:chgData name="Broyles, Traci" userId="b2698ddf-8c2c-40b3-bb05-465447aa1b1e" providerId="ADAL" clId="{D1045E91-E38F-4DE5-9428-9737EA08A0FE}" dt="2025-11-21T13:37:04.550" v="1063" actId="255"/>
          <ac:spMkLst>
            <pc:docMk/>
            <pc:sldMk cId="2163836078" sldId="2147483606"/>
            <ac:spMk id="27" creationId="{CF2962EE-6A7D-4FE2-B099-6444445602F2}"/>
          </ac:spMkLst>
        </pc:spChg>
        <pc:spChg chg="add mod">
          <ac:chgData name="Broyles, Traci" userId="b2698ddf-8c2c-40b3-bb05-465447aa1b1e" providerId="ADAL" clId="{D1045E91-E38F-4DE5-9428-9737EA08A0FE}" dt="2025-11-21T13:39:48.333" v="1091" actId="1076"/>
          <ac:spMkLst>
            <pc:docMk/>
            <pc:sldMk cId="2163836078" sldId="2147483606"/>
            <ac:spMk id="28" creationId="{1E38C40D-FBF2-4B01-B758-EEEC642122B0}"/>
          </ac:spMkLst>
        </pc:spChg>
        <pc:spChg chg="add mod">
          <ac:chgData name="Broyles, Traci" userId="b2698ddf-8c2c-40b3-bb05-465447aa1b1e" providerId="ADAL" clId="{D1045E91-E38F-4DE5-9428-9737EA08A0FE}" dt="2025-11-21T13:38:57.063" v="1083" actId="255"/>
          <ac:spMkLst>
            <pc:docMk/>
            <pc:sldMk cId="2163836078" sldId="2147483606"/>
            <ac:spMk id="29" creationId="{BAD0921B-CB8B-0910-B5B8-11FF69713139}"/>
          </ac:spMkLst>
        </pc:spChg>
        <pc:spChg chg="add mod">
          <ac:chgData name="Broyles, Traci" userId="b2698ddf-8c2c-40b3-bb05-465447aa1b1e" providerId="ADAL" clId="{D1045E91-E38F-4DE5-9428-9737EA08A0FE}" dt="2025-11-21T13:35:43.733" v="1049" actId="1076"/>
          <ac:spMkLst>
            <pc:docMk/>
            <pc:sldMk cId="2163836078" sldId="2147483606"/>
            <ac:spMk id="30" creationId="{D8588D6D-8AC0-7108-FF1E-D84C2888BAE3}"/>
          </ac:spMkLst>
        </pc:spChg>
        <pc:spChg chg="add mod">
          <ac:chgData name="Broyles, Traci" userId="b2698ddf-8c2c-40b3-bb05-465447aa1b1e" providerId="ADAL" clId="{D1045E91-E38F-4DE5-9428-9737EA08A0FE}" dt="2025-11-21T13:36:57.149" v="1062" actId="1076"/>
          <ac:spMkLst>
            <pc:docMk/>
            <pc:sldMk cId="2163836078" sldId="2147483606"/>
            <ac:spMk id="31" creationId="{238B160D-A1C2-2ACE-5977-805D57D01DB4}"/>
          </ac:spMkLst>
        </pc:spChg>
        <pc:spChg chg="add mod">
          <ac:chgData name="Broyles, Traci" userId="b2698ddf-8c2c-40b3-bb05-465447aa1b1e" providerId="ADAL" clId="{D1045E91-E38F-4DE5-9428-9737EA08A0FE}" dt="2025-11-21T13:40:10.464" v="1094" actId="1076"/>
          <ac:spMkLst>
            <pc:docMk/>
            <pc:sldMk cId="2163836078" sldId="2147483606"/>
            <ac:spMk id="37" creationId="{D81E8FA8-FC21-E0B4-0C50-9DA0F21FB4A4}"/>
          </ac:spMkLst>
        </pc:spChg>
        <pc:picChg chg="mod">
          <ac:chgData name="Broyles, Traci" userId="b2698ddf-8c2c-40b3-bb05-465447aa1b1e" providerId="ADAL" clId="{D1045E91-E38F-4DE5-9428-9737EA08A0FE}" dt="2025-11-21T13:39:39.636" v="1089" actId="14100"/>
          <ac:picMkLst>
            <pc:docMk/>
            <pc:sldMk cId="2163836078" sldId="2147483606"/>
            <ac:picMk id="33" creationId="{84F32672-FB0E-6922-944F-9B387714A004}"/>
          </ac:picMkLst>
        </pc:picChg>
        <pc:picChg chg="mod">
          <ac:chgData name="Broyles, Traci" userId="b2698ddf-8c2c-40b3-bb05-465447aa1b1e" providerId="ADAL" clId="{D1045E91-E38F-4DE5-9428-9737EA08A0FE}" dt="2025-11-21T13:35:54.837" v="1053" actId="14100"/>
          <ac:picMkLst>
            <pc:docMk/>
            <pc:sldMk cId="2163836078" sldId="2147483606"/>
            <ac:picMk id="34" creationId="{B3EE92D7-CDCB-4D2E-BC7E-3C0F0C9E4462}"/>
          </ac:picMkLst>
        </pc:picChg>
        <pc:picChg chg="mod">
          <ac:chgData name="Broyles, Traci" userId="b2698ddf-8c2c-40b3-bb05-465447aa1b1e" providerId="ADAL" clId="{D1045E91-E38F-4DE5-9428-9737EA08A0FE}" dt="2025-11-21T13:35:57.102" v="1054" actId="14100"/>
          <ac:picMkLst>
            <pc:docMk/>
            <pc:sldMk cId="2163836078" sldId="2147483606"/>
            <ac:picMk id="35" creationId="{CB309B4F-C91E-B035-6EAA-5CCB72E9BF41}"/>
          </ac:picMkLst>
        </pc:picChg>
        <pc:picChg chg="mod">
          <ac:chgData name="Broyles, Traci" userId="b2698ddf-8c2c-40b3-bb05-465447aa1b1e" providerId="ADAL" clId="{D1045E91-E38F-4DE5-9428-9737EA08A0FE}" dt="2025-11-21T13:35:49.982" v="1051" actId="14100"/>
          <ac:picMkLst>
            <pc:docMk/>
            <pc:sldMk cId="2163836078" sldId="2147483606"/>
            <ac:picMk id="36" creationId="{84A5ACEA-4EE8-134E-3EE7-511857DF759F}"/>
          </ac:picMkLst>
        </pc:picChg>
      </pc:sldChg>
      <pc:sldChg chg="delSp modSp add mod">
        <pc:chgData name="Broyles, Traci" userId="b2698ddf-8c2c-40b3-bb05-465447aa1b1e" providerId="ADAL" clId="{D1045E91-E38F-4DE5-9428-9737EA08A0FE}" dt="2025-11-21T13:44:09.198" v="1117" actId="1076"/>
        <pc:sldMkLst>
          <pc:docMk/>
          <pc:sldMk cId="2703070509" sldId="2147483607"/>
        </pc:sldMkLst>
        <pc:spChg chg="del">
          <ac:chgData name="Broyles, Traci" userId="b2698ddf-8c2c-40b3-bb05-465447aa1b1e" providerId="ADAL" clId="{D1045E91-E38F-4DE5-9428-9737EA08A0FE}" dt="2025-11-21T13:44:05.550" v="1116" actId="478"/>
          <ac:spMkLst>
            <pc:docMk/>
            <pc:sldMk cId="2703070509" sldId="2147483607"/>
            <ac:spMk id="2" creationId="{C98066DD-9D6A-692B-BC62-599AA9676A90}"/>
          </ac:spMkLst>
        </pc:spChg>
        <pc:picChg chg="mod">
          <ac:chgData name="Broyles, Traci" userId="b2698ddf-8c2c-40b3-bb05-465447aa1b1e" providerId="ADAL" clId="{D1045E91-E38F-4DE5-9428-9737EA08A0FE}" dt="2025-11-21T13:44:09.198" v="1117" actId="1076"/>
          <ac:picMkLst>
            <pc:docMk/>
            <pc:sldMk cId="2703070509" sldId="2147483607"/>
            <ac:picMk id="6" creationId="{D6265380-0295-6EE4-8CB1-C7DEE5ACDF45}"/>
          </ac:picMkLst>
        </pc:picChg>
      </pc:sldChg>
      <pc:sldChg chg="new mod modClrScheme chgLayout">
        <pc:chgData name="Broyles, Traci" userId="b2698ddf-8c2c-40b3-bb05-465447aa1b1e" providerId="ADAL" clId="{D1045E91-E38F-4DE5-9428-9737EA08A0FE}" dt="2025-11-21T13:59:49.898" v="1336" actId="700"/>
        <pc:sldMkLst>
          <pc:docMk/>
          <pc:sldMk cId="2251592914" sldId="2147483608"/>
        </pc:sldMkLst>
      </pc:sldChg>
      <pc:sldChg chg="addSp delSp modSp add mod">
        <pc:chgData name="Broyles, Traci" userId="b2698ddf-8c2c-40b3-bb05-465447aa1b1e" providerId="ADAL" clId="{D1045E91-E38F-4DE5-9428-9737EA08A0FE}" dt="2025-11-21T14:03:03.567" v="1383" actId="478"/>
        <pc:sldMkLst>
          <pc:docMk/>
          <pc:sldMk cId="1329121171" sldId="2147483609"/>
        </pc:sldMkLst>
        <pc:spChg chg="del">
          <ac:chgData name="Broyles, Traci" userId="b2698ddf-8c2c-40b3-bb05-465447aa1b1e" providerId="ADAL" clId="{D1045E91-E38F-4DE5-9428-9737EA08A0FE}" dt="2025-11-21T14:03:03.567" v="1383" actId="478"/>
          <ac:spMkLst>
            <pc:docMk/>
            <pc:sldMk cId="1329121171" sldId="2147483609"/>
            <ac:spMk id="2" creationId="{D1A28340-9E80-84D7-E8F1-45ECD751E1B0}"/>
          </ac:spMkLst>
        </pc:spChg>
        <pc:spChg chg="add mod">
          <ac:chgData name="Broyles, Traci" userId="b2698ddf-8c2c-40b3-bb05-465447aa1b1e" providerId="ADAL" clId="{D1045E91-E38F-4DE5-9428-9737EA08A0FE}" dt="2025-11-21T14:03:03.567" v="1383" actId="478"/>
          <ac:spMkLst>
            <pc:docMk/>
            <pc:sldMk cId="1329121171" sldId="2147483609"/>
            <ac:spMk id="5" creationId="{387F440E-507F-4095-F9B9-71927A604F5C}"/>
          </ac:spMkLst>
        </pc:spChg>
      </pc:sldChg>
      <pc:sldChg chg="add">
        <pc:chgData name="Broyles, Traci" userId="b2698ddf-8c2c-40b3-bb05-465447aa1b1e" providerId="ADAL" clId="{D1045E91-E38F-4DE5-9428-9737EA08A0FE}" dt="2025-11-21T14:03:13.846" v="1385"/>
        <pc:sldMkLst>
          <pc:docMk/>
          <pc:sldMk cId="240267064" sldId="2147483610"/>
        </pc:sldMkLst>
      </pc:sldChg>
      <pc:sldChg chg="addSp delSp modSp new del mod modClrScheme chgLayout">
        <pc:chgData name="Broyles, Traci" userId="b2698ddf-8c2c-40b3-bb05-465447aa1b1e" providerId="ADAL" clId="{D1045E91-E38F-4DE5-9428-9737EA08A0FE}" dt="2025-11-21T14:05:14.497" v="1397" actId="2696"/>
        <pc:sldMkLst>
          <pc:docMk/>
          <pc:sldMk cId="1245549477" sldId="2147483611"/>
        </pc:sldMkLst>
        <pc:spChg chg="del mod ord">
          <ac:chgData name="Broyles, Traci" userId="b2698ddf-8c2c-40b3-bb05-465447aa1b1e" providerId="ADAL" clId="{D1045E91-E38F-4DE5-9428-9737EA08A0FE}" dt="2025-11-21T14:04:40.780" v="1392" actId="700"/>
          <ac:spMkLst>
            <pc:docMk/>
            <pc:sldMk cId="1245549477" sldId="2147483611"/>
            <ac:spMk id="2" creationId="{9070261D-12F1-F6E3-605B-03454ABA772B}"/>
          </ac:spMkLst>
        </pc:spChg>
        <pc:spChg chg="del mod ord">
          <ac:chgData name="Broyles, Traci" userId="b2698ddf-8c2c-40b3-bb05-465447aa1b1e" providerId="ADAL" clId="{D1045E91-E38F-4DE5-9428-9737EA08A0FE}" dt="2025-11-21T14:04:40.780" v="1392" actId="700"/>
          <ac:spMkLst>
            <pc:docMk/>
            <pc:sldMk cId="1245549477" sldId="2147483611"/>
            <ac:spMk id="3" creationId="{EA98B110-3029-B573-C37A-D03E16D9AFFD}"/>
          </ac:spMkLst>
        </pc:spChg>
        <pc:spChg chg="add mod ord">
          <ac:chgData name="Broyles, Traci" userId="b2698ddf-8c2c-40b3-bb05-465447aa1b1e" providerId="ADAL" clId="{D1045E91-E38F-4DE5-9428-9737EA08A0FE}" dt="2025-11-21T14:04:49.698" v="1395" actId="20577"/>
          <ac:spMkLst>
            <pc:docMk/>
            <pc:sldMk cId="1245549477" sldId="2147483611"/>
            <ac:spMk id="4" creationId="{33FF0E8D-74AB-574B-A7D5-049D1917EB94}"/>
          </ac:spMkLst>
        </pc:spChg>
        <pc:spChg chg="add mod ord">
          <ac:chgData name="Broyles, Traci" userId="b2698ddf-8c2c-40b3-bb05-465447aa1b1e" providerId="ADAL" clId="{D1045E91-E38F-4DE5-9428-9737EA08A0FE}" dt="2025-11-21T14:04:40.780" v="1392" actId="700"/>
          <ac:spMkLst>
            <pc:docMk/>
            <pc:sldMk cId="1245549477" sldId="2147483611"/>
            <ac:spMk id="5" creationId="{5D662819-9588-81C2-CDE0-F764FBB64F98}"/>
          </ac:spMkLst>
        </pc:spChg>
      </pc:sldChg>
      <pc:sldChg chg="addSp delSp modSp add mod">
        <pc:chgData name="Broyles, Traci" userId="b2698ddf-8c2c-40b3-bb05-465447aa1b1e" providerId="ADAL" clId="{D1045E91-E38F-4DE5-9428-9737EA08A0FE}" dt="2025-11-21T14:06:10.142" v="1406" actId="14100"/>
        <pc:sldMkLst>
          <pc:docMk/>
          <pc:sldMk cId="1049854734" sldId="2147483612"/>
        </pc:sldMkLst>
        <pc:spChg chg="mod">
          <ac:chgData name="Broyles, Traci" userId="b2698ddf-8c2c-40b3-bb05-465447aa1b1e" providerId="ADAL" clId="{D1045E91-E38F-4DE5-9428-9737EA08A0FE}" dt="2025-11-21T14:06:06.421" v="1405" actId="1076"/>
          <ac:spMkLst>
            <pc:docMk/>
            <pc:sldMk cId="1049854734" sldId="2147483612"/>
            <ac:spMk id="2" creationId="{F40CB6D6-AE67-8E96-528D-DF2D636A079B}"/>
          </ac:spMkLst>
        </pc:spChg>
        <pc:spChg chg="del">
          <ac:chgData name="Broyles, Traci" userId="b2698ddf-8c2c-40b3-bb05-465447aa1b1e" providerId="ADAL" clId="{D1045E91-E38F-4DE5-9428-9737EA08A0FE}" dt="2025-11-21T14:05:23.564" v="1398" actId="478"/>
          <ac:spMkLst>
            <pc:docMk/>
            <pc:sldMk cId="1049854734" sldId="2147483612"/>
            <ac:spMk id="3" creationId="{69166B71-8061-92E5-B299-033816228A3D}"/>
          </ac:spMkLst>
        </pc:spChg>
        <pc:spChg chg="add del mod">
          <ac:chgData name="Broyles, Traci" userId="b2698ddf-8c2c-40b3-bb05-465447aa1b1e" providerId="ADAL" clId="{D1045E91-E38F-4DE5-9428-9737EA08A0FE}" dt="2025-11-21T14:05:44.350" v="1402" actId="478"/>
          <ac:spMkLst>
            <pc:docMk/>
            <pc:sldMk cId="1049854734" sldId="2147483612"/>
            <ac:spMk id="5" creationId="{87F0723A-B3A3-AF11-A5C5-755DFE75BDB8}"/>
          </ac:spMkLst>
        </pc:spChg>
        <pc:spChg chg="add mod">
          <ac:chgData name="Broyles, Traci" userId="b2698ddf-8c2c-40b3-bb05-465447aa1b1e" providerId="ADAL" clId="{D1045E91-E38F-4DE5-9428-9737EA08A0FE}" dt="2025-11-21T14:06:10.142" v="1406" actId="14100"/>
          <ac:spMkLst>
            <pc:docMk/>
            <pc:sldMk cId="1049854734" sldId="2147483612"/>
            <ac:spMk id="6" creationId="{8B856ED1-424A-3F79-B7D0-6D5ADADDE663}"/>
          </ac:spMkLst>
        </pc:spChg>
      </pc:sldChg>
      <pc:sldChg chg="add del">
        <pc:chgData name="Broyles, Traci" userId="b2698ddf-8c2c-40b3-bb05-465447aa1b1e" providerId="ADAL" clId="{D1045E91-E38F-4DE5-9428-9737EA08A0FE}" dt="2025-11-21T14:05:27.339" v="1400"/>
        <pc:sldMkLst>
          <pc:docMk/>
          <pc:sldMk cId="673917859" sldId="2147483613"/>
        </pc:sldMkLst>
      </pc:sldChg>
      <pc:sldMasterChg chg="modSp mod modSldLayout">
        <pc:chgData name="Broyles, Traci" userId="b2698ddf-8c2c-40b3-bb05-465447aa1b1e" providerId="ADAL" clId="{D1045E91-E38F-4DE5-9428-9737EA08A0FE}" dt="2025-11-21T15:04:35.654" v="1417" actId="20577"/>
        <pc:sldMasterMkLst>
          <pc:docMk/>
          <pc:sldMasterMk cId="1066049325" sldId="2147484025"/>
        </pc:sldMasterMkLst>
        <pc:spChg chg="mod">
          <ac:chgData name="Broyles, Traci" userId="b2698ddf-8c2c-40b3-bb05-465447aa1b1e" providerId="ADAL" clId="{D1045E91-E38F-4DE5-9428-9737EA08A0FE}" dt="2025-11-21T15:04:35.650" v="1416" actId="20577"/>
          <ac:spMkLst>
            <pc:docMk/>
            <pc:sldMasterMk cId="1066049325" sldId="2147484025"/>
            <ac:spMk id="26" creationId="{657A3858-CAE3-4DFB-ABD5-87B2AF81AFA2}"/>
          </ac:spMkLst>
        </pc:spChg>
        <pc:sldLayoutChg chg="modSp mod">
          <pc:chgData name="Broyles, Traci" userId="b2698ddf-8c2c-40b3-bb05-465447aa1b1e" providerId="ADAL" clId="{D1045E91-E38F-4DE5-9428-9737EA08A0FE}" dt="2025-11-21T15:04:35.654" v="1417" actId="20577"/>
          <pc:sldLayoutMkLst>
            <pc:docMk/>
            <pc:sldMasterMk cId="1066049325" sldId="2147484025"/>
            <pc:sldLayoutMk cId="1252992847" sldId="2147484026"/>
          </pc:sldLayoutMkLst>
          <pc:spChg chg="mod">
            <ac:chgData name="Broyles, Traci" userId="b2698ddf-8c2c-40b3-bb05-465447aa1b1e" providerId="ADAL" clId="{D1045E91-E38F-4DE5-9428-9737EA08A0FE}" dt="2025-11-21T15:04:35.654" v="1417" actId="20577"/>
            <ac:spMkLst>
              <pc:docMk/>
              <pc:sldMasterMk cId="1066049325" sldId="2147484025"/>
              <pc:sldLayoutMk cId="1252992847" sldId="2147484026"/>
              <ac:spMk id="14" creationId="{AC92D302-00EE-4255-82F0-034F72E7A770}"/>
            </ac:spMkLst>
          </pc:spChg>
        </pc:sldLayoutChg>
      </pc:sldMasterChg>
      <pc:sldMasterChg chg="modSp mod modSldLayout">
        <pc:chgData name="Broyles, Traci" userId="b2698ddf-8c2c-40b3-bb05-465447aa1b1e" providerId="ADAL" clId="{D1045E91-E38F-4DE5-9428-9737EA08A0FE}" dt="2025-11-21T15:04:35.659" v="1419" actId="20577"/>
        <pc:sldMasterMkLst>
          <pc:docMk/>
          <pc:sldMasterMk cId="1066049325" sldId="2147484057"/>
        </pc:sldMasterMkLst>
        <pc:spChg chg="mod">
          <ac:chgData name="Broyles, Traci" userId="b2698ddf-8c2c-40b3-bb05-465447aa1b1e" providerId="ADAL" clId="{D1045E91-E38F-4DE5-9428-9737EA08A0FE}" dt="2025-11-21T15:04:35.656" v="1418" actId="20577"/>
          <ac:spMkLst>
            <pc:docMk/>
            <pc:sldMasterMk cId="1066049325" sldId="2147484057"/>
            <ac:spMk id="26" creationId="{657A3858-CAE3-4DFB-ABD5-87B2AF81AFA2}"/>
          </ac:spMkLst>
        </pc:spChg>
        <pc:sldLayoutChg chg="modSp mod">
          <pc:chgData name="Broyles, Traci" userId="b2698ddf-8c2c-40b3-bb05-465447aa1b1e" providerId="ADAL" clId="{D1045E91-E38F-4DE5-9428-9737EA08A0FE}" dt="2025-11-21T15:04:35.659" v="1419" actId="20577"/>
          <pc:sldLayoutMkLst>
            <pc:docMk/>
            <pc:sldMasterMk cId="1066049325" sldId="2147484057"/>
            <pc:sldLayoutMk cId="1252992847" sldId="2147484058"/>
          </pc:sldLayoutMkLst>
          <pc:spChg chg="mod">
            <ac:chgData name="Broyles, Traci" userId="b2698ddf-8c2c-40b3-bb05-465447aa1b1e" providerId="ADAL" clId="{D1045E91-E38F-4DE5-9428-9737EA08A0FE}" dt="2025-11-21T15:04:35.659" v="1419" actId="20577"/>
            <ac:spMkLst>
              <pc:docMk/>
              <pc:sldMasterMk cId="1066049325" sldId="2147484057"/>
              <pc:sldLayoutMk cId="1252992847" sldId="2147484058"/>
              <ac:spMk id="14" creationId="{AC92D302-00EE-4255-82F0-034F72E7A770}"/>
            </ac:spMkLst>
          </pc:spChg>
        </pc:sldLayoutChg>
      </pc:sldMasterChg>
      <pc:sldMasterChg chg="modSp mod modSldLayout">
        <pc:chgData name="Broyles, Traci" userId="b2698ddf-8c2c-40b3-bb05-465447aa1b1e" providerId="ADAL" clId="{D1045E91-E38F-4DE5-9428-9737EA08A0FE}" dt="2025-11-21T15:04:35.671" v="1422" actId="20577"/>
        <pc:sldMasterMkLst>
          <pc:docMk/>
          <pc:sldMasterMk cId="1243314098" sldId="2147484090"/>
        </pc:sldMasterMkLst>
        <pc:spChg chg="mod">
          <ac:chgData name="Broyles, Traci" userId="b2698ddf-8c2c-40b3-bb05-465447aa1b1e" providerId="ADAL" clId="{D1045E91-E38F-4DE5-9428-9737EA08A0FE}" dt="2025-11-21T15:04:35.663" v="1420" actId="20577"/>
          <ac:spMkLst>
            <pc:docMk/>
            <pc:sldMasterMk cId="1243314098" sldId="2147484090"/>
            <ac:spMk id="17" creationId="{60C0F77C-9D73-4BC8-8D76-03AE83D6BB7E}"/>
          </ac:spMkLst>
        </pc:spChg>
        <pc:sldLayoutChg chg="modSp mod">
          <pc:chgData name="Broyles, Traci" userId="b2698ddf-8c2c-40b3-bb05-465447aa1b1e" providerId="ADAL" clId="{D1045E91-E38F-4DE5-9428-9737EA08A0FE}" dt="2025-11-21T15:04:35.667" v="1421" actId="20577"/>
          <pc:sldLayoutMkLst>
            <pc:docMk/>
            <pc:sldMasterMk cId="1243314098" sldId="2147484090"/>
            <pc:sldLayoutMk cId="4032962506" sldId="2147484091"/>
          </pc:sldLayoutMkLst>
          <pc:spChg chg="mod">
            <ac:chgData name="Broyles, Traci" userId="b2698ddf-8c2c-40b3-bb05-465447aa1b1e" providerId="ADAL" clId="{D1045E91-E38F-4DE5-9428-9737EA08A0FE}" dt="2025-11-21T15:04:35.667" v="1421" actId="20577"/>
            <ac:spMkLst>
              <pc:docMk/>
              <pc:sldMasterMk cId="1243314098" sldId="2147484090"/>
              <pc:sldLayoutMk cId="4032962506" sldId="2147484091"/>
              <ac:spMk id="12" creationId="{5B0085D7-285F-4173-A108-D79A1B7F8C87}"/>
            </ac:spMkLst>
          </pc:spChg>
        </pc:sldLayoutChg>
        <pc:sldLayoutChg chg="modSp mod">
          <pc:chgData name="Broyles, Traci" userId="b2698ddf-8c2c-40b3-bb05-465447aa1b1e" providerId="ADAL" clId="{D1045E91-E38F-4DE5-9428-9737EA08A0FE}" dt="2025-11-21T15:04:35.671" v="1422" actId="20577"/>
          <pc:sldLayoutMkLst>
            <pc:docMk/>
            <pc:sldMasterMk cId="1243314098" sldId="2147484090"/>
            <pc:sldLayoutMk cId="2143036414" sldId="2147484092"/>
          </pc:sldLayoutMkLst>
          <pc:spChg chg="mod">
            <ac:chgData name="Broyles, Traci" userId="b2698ddf-8c2c-40b3-bb05-465447aa1b1e" providerId="ADAL" clId="{D1045E91-E38F-4DE5-9428-9737EA08A0FE}" dt="2025-11-21T15:04:35.671" v="1422" actId="20577"/>
            <ac:spMkLst>
              <pc:docMk/>
              <pc:sldMasterMk cId="1243314098" sldId="2147484090"/>
              <pc:sldLayoutMk cId="2143036414" sldId="2147484092"/>
              <ac:spMk id="12" creationId="{5B0085D7-285F-4173-A108-D79A1B7F8C87}"/>
            </ac:spMkLst>
          </pc:spChg>
        </pc:sldLayoutChg>
      </pc:sldMasterChg>
      <pc:sldMasterChg chg="modSp mod modSldLayout">
        <pc:chgData name="Broyles, Traci" userId="b2698ddf-8c2c-40b3-bb05-465447aa1b1e" providerId="ADAL" clId="{D1045E91-E38F-4DE5-9428-9737EA08A0FE}" dt="2025-11-21T15:04:35.682" v="1425" actId="20577"/>
        <pc:sldMasterMkLst>
          <pc:docMk/>
          <pc:sldMasterMk cId="2013879612" sldId="2147484188"/>
        </pc:sldMasterMkLst>
        <pc:spChg chg="mod">
          <ac:chgData name="Broyles, Traci" userId="b2698ddf-8c2c-40b3-bb05-465447aa1b1e" providerId="ADAL" clId="{D1045E91-E38F-4DE5-9428-9737EA08A0FE}" dt="2025-11-21T15:04:35.674" v="1423" actId="20577"/>
          <ac:spMkLst>
            <pc:docMk/>
            <pc:sldMasterMk cId="2013879612" sldId="2147484188"/>
            <ac:spMk id="17" creationId="{60C0F77C-9D73-4BC8-8D76-03AE83D6BB7E}"/>
          </ac:spMkLst>
        </pc:spChg>
        <pc:sldLayoutChg chg="modSp mod">
          <pc:chgData name="Broyles, Traci" userId="b2698ddf-8c2c-40b3-bb05-465447aa1b1e" providerId="ADAL" clId="{D1045E91-E38F-4DE5-9428-9737EA08A0FE}" dt="2025-11-21T15:04:35.678" v="1424" actId="20577"/>
          <pc:sldLayoutMkLst>
            <pc:docMk/>
            <pc:sldMasterMk cId="2013879612" sldId="2147484188"/>
            <pc:sldLayoutMk cId="2023186836" sldId="2147484189"/>
          </pc:sldLayoutMkLst>
          <pc:spChg chg="mod">
            <ac:chgData name="Broyles, Traci" userId="b2698ddf-8c2c-40b3-bb05-465447aa1b1e" providerId="ADAL" clId="{D1045E91-E38F-4DE5-9428-9737EA08A0FE}" dt="2025-11-21T15:04:35.678" v="1424" actId="20577"/>
            <ac:spMkLst>
              <pc:docMk/>
              <pc:sldMasterMk cId="2013879612" sldId="2147484188"/>
              <pc:sldLayoutMk cId="2023186836" sldId="2147484189"/>
              <ac:spMk id="12" creationId="{5B0085D7-285F-4173-A108-D79A1B7F8C87}"/>
            </ac:spMkLst>
          </pc:spChg>
        </pc:sldLayoutChg>
        <pc:sldLayoutChg chg="modSp mod">
          <pc:chgData name="Broyles, Traci" userId="b2698ddf-8c2c-40b3-bb05-465447aa1b1e" providerId="ADAL" clId="{D1045E91-E38F-4DE5-9428-9737EA08A0FE}" dt="2025-11-21T15:04:35.682" v="1425" actId="20577"/>
          <pc:sldLayoutMkLst>
            <pc:docMk/>
            <pc:sldMasterMk cId="2013879612" sldId="2147484188"/>
            <pc:sldLayoutMk cId="29782462" sldId="2147484190"/>
          </pc:sldLayoutMkLst>
          <pc:spChg chg="mod">
            <ac:chgData name="Broyles, Traci" userId="b2698ddf-8c2c-40b3-bb05-465447aa1b1e" providerId="ADAL" clId="{D1045E91-E38F-4DE5-9428-9737EA08A0FE}" dt="2025-11-21T15:04:35.682" v="1425" actId="20577"/>
            <ac:spMkLst>
              <pc:docMk/>
              <pc:sldMasterMk cId="2013879612" sldId="2147484188"/>
              <pc:sldLayoutMk cId="29782462" sldId="2147484190"/>
              <ac:spMk id="12" creationId="{5B0085D7-285F-4173-A108-D79A1B7F8C87}"/>
            </ac:spMkLst>
          </pc:spChg>
        </pc:sldLayoutChg>
      </pc:sldMasterChg>
      <pc:sldMasterChg chg="modSp mod modSldLayout">
        <pc:chgData name="Broyles, Traci" userId="b2698ddf-8c2c-40b3-bb05-465447aa1b1e" providerId="ADAL" clId="{D1045E91-E38F-4DE5-9428-9737EA08A0FE}" dt="2025-11-21T15:04:35.729" v="1437" actId="20577"/>
        <pc:sldMasterMkLst>
          <pc:docMk/>
          <pc:sldMasterMk cId="3503048476" sldId="2147484305"/>
        </pc:sldMasterMkLst>
        <pc:spChg chg="mod">
          <ac:chgData name="Broyles, Traci" userId="b2698ddf-8c2c-40b3-bb05-465447aa1b1e" providerId="ADAL" clId="{D1045E91-E38F-4DE5-9428-9737EA08A0FE}" dt="2025-11-21T15:04:35.686" v="1426" actId="20577"/>
          <ac:spMkLst>
            <pc:docMk/>
            <pc:sldMasterMk cId="3503048476" sldId="2147484305"/>
            <ac:spMk id="17" creationId="{60C0F77C-9D73-4BC8-8D76-03AE83D6BB7E}"/>
          </ac:spMkLst>
        </pc:spChg>
        <pc:sldLayoutChg chg="modSp mod">
          <pc:chgData name="Broyles, Traci" userId="b2698ddf-8c2c-40b3-bb05-465447aa1b1e" providerId="ADAL" clId="{D1045E91-E38F-4DE5-9428-9737EA08A0FE}" dt="2025-11-21T15:04:35.689" v="1427" actId="20577"/>
          <pc:sldLayoutMkLst>
            <pc:docMk/>
            <pc:sldMasterMk cId="3503048476" sldId="2147484305"/>
            <pc:sldLayoutMk cId="3498224015" sldId="2147484312"/>
          </pc:sldLayoutMkLst>
          <pc:spChg chg="mod">
            <ac:chgData name="Broyles, Traci" userId="b2698ddf-8c2c-40b3-bb05-465447aa1b1e" providerId="ADAL" clId="{D1045E91-E38F-4DE5-9428-9737EA08A0FE}" dt="2025-11-21T15:04:35.689" v="1427" actId="20577"/>
            <ac:spMkLst>
              <pc:docMk/>
              <pc:sldMasterMk cId="3503048476" sldId="2147484305"/>
              <pc:sldLayoutMk cId="3498224015" sldId="2147484312"/>
              <ac:spMk id="12" creationId="{5B0085D7-285F-4173-A108-D79A1B7F8C87}"/>
            </ac:spMkLst>
          </pc:spChg>
        </pc:sldLayoutChg>
        <pc:sldLayoutChg chg="modSp mod">
          <pc:chgData name="Broyles, Traci" userId="b2698ddf-8c2c-40b3-bb05-465447aa1b1e" providerId="ADAL" clId="{D1045E91-E38F-4DE5-9428-9737EA08A0FE}" dt="2025-11-21T15:04:35.693" v="1428" actId="20577"/>
          <pc:sldLayoutMkLst>
            <pc:docMk/>
            <pc:sldMasterMk cId="3503048476" sldId="2147484305"/>
            <pc:sldLayoutMk cId="2673598025" sldId="2147484313"/>
          </pc:sldLayoutMkLst>
          <pc:spChg chg="mod">
            <ac:chgData name="Broyles, Traci" userId="b2698ddf-8c2c-40b3-bb05-465447aa1b1e" providerId="ADAL" clId="{D1045E91-E38F-4DE5-9428-9737EA08A0FE}" dt="2025-11-21T15:04:35.693" v="1428" actId="20577"/>
            <ac:spMkLst>
              <pc:docMk/>
              <pc:sldMasterMk cId="3503048476" sldId="2147484305"/>
              <pc:sldLayoutMk cId="2673598025" sldId="2147484313"/>
              <ac:spMk id="12" creationId="{5B0085D7-285F-4173-A108-D79A1B7F8C87}"/>
            </ac:spMkLst>
          </pc:spChg>
        </pc:sldLayoutChg>
        <pc:sldLayoutChg chg="modSp mod">
          <pc:chgData name="Broyles, Traci" userId="b2698ddf-8c2c-40b3-bb05-465447aa1b1e" providerId="ADAL" clId="{D1045E91-E38F-4DE5-9428-9737EA08A0FE}" dt="2025-11-21T15:04:35.697" v="1429" actId="20577"/>
          <pc:sldLayoutMkLst>
            <pc:docMk/>
            <pc:sldMasterMk cId="3503048476" sldId="2147484305"/>
            <pc:sldLayoutMk cId="3663996668" sldId="2147484314"/>
          </pc:sldLayoutMkLst>
          <pc:spChg chg="mod">
            <ac:chgData name="Broyles, Traci" userId="b2698ddf-8c2c-40b3-bb05-465447aa1b1e" providerId="ADAL" clId="{D1045E91-E38F-4DE5-9428-9737EA08A0FE}" dt="2025-11-21T15:04:35.697" v="1429" actId="20577"/>
            <ac:spMkLst>
              <pc:docMk/>
              <pc:sldMasterMk cId="3503048476" sldId="2147484305"/>
              <pc:sldLayoutMk cId="3663996668" sldId="2147484314"/>
              <ac:spMk id="12" creationId="{5B0085D7-285F-4173-A108-D79A1B7F8C87}"/>
            </ac:spMkLst>
          </pc:spChg>
        </pc:sldLayoutChg>
        <pc:sldLayoutChg chg="modSp mod">
          <pc:chgData name="Broyles, Traci" userId="b2698ddf-8c2c-40b3-bb05-465447aa1b1e" providerId="ADAL" clId="{D1045E91-E38F-4DE5-9428-9737EA08A0FE}" dt="2025-11-21T15:04:35.701" v="1430" actId="20577"/>
          <pc:sldLayoutMkLst>
            <pc:docMk/>
            <pc:sldMasterMk cId="3503048476" sldId="2147484305"/>
            <pc:sldLayoutMk cId="4098847686" sldId="2147484315"/>
          </pc:sldLayoutMkLst>
          <pc:spChg chg="mod">
            <ac:chgData name="Broyles, Traci" userId="b2698ddf-8c2c-40b3-bb05-465447aa1b1e" providerId="ADAL" clId="{D1045E91-E38F-4DE5-9428-9737EA08A0FE}" dt="2025-11-21T15:04:35.701" v="1430" actId="20577"/>
            <ac:spMkLst>
              <pc:docMk/>
              <pc:sldMasterMk cId="3503048476" sldId="2147484305"/>
              <pc:sldLayoutMk cId="4098847686" sldId="2147484315"/>
              <ac:spMk id="12" creationId="{5B0085D7-285F-4173-A108-D79A1B7F8C87}"/>
            </ac:spMkLst>
          </pc:spChg>
        </pc:sldLayoutChg>
        <pc:sldLayoutChg chg="modSp mod">
          <pc:chgData name="Broyles, Traci" userId="b2698ddf-8c2c-40b3-bb05-465447aa1b1e" providerId="ADAL" clId="{D1045E91-E38F-4DE5-9428-9737EA08A0FE}" dt="2025-11-21T15:04:35.705" v="1431" actId="20577"/>
          <pc:sldLayoutMkLst>
            <pc:docMk/>
            <pc:sldMasterMk cId="3503048476" sldId="2147484305"/>
            <pc:sldLayoutMk cId="42093713" sldId="2147484316"/>
          </pc:sldLayoutMkLst>
          <pc:spChg chg="mod">
            <ac:chgData name="Broyles, Traci" userId="b2698ddf-8c2c-40b3-bb05-465447aa1b1e" providerId="ADAL" clId="{D1045E91-E38F-4DE5-9428-9737EA08A0FE}" dt="2025-11-21T15:04:35.705" v="1431" actId="20577"/>
            <ac:spMkLst>
              <pc:docMk/>
              <pc:sldMasterMk cId="3503048476" sldId="2147484305"/>
              <pc:sldLayoutMk cId="42093713" sldId="2147484316"/>
              <ac:spMk id="12" creationId="{5B0085D7-285F-4173-A108-D79A1B7F8C87}"/>
            </ac:spMkLst>
          </pc:spChg>
        </pc:sldLayoutChg>
        <pc:sldLayoutChg chg="modSp mod">
          <pc:chgData name="Broyles, Traci" userId="b2698ddf-8c2c-40b3-bb05-465447aa1b1e" providerId="ADAL" clId="{D1045E91-E38F-4DE5-9428-9737EA08A0FE}" dt="2025-11-21T15:04:35.709" v="1432" actId="20577"/>
          <pc:sldLayoutMkLst>
            <pc:docMk/>
            <pc:sldMasterMk cId="3503048476" sldId="2147484305"/>
            <pc:sldLayoutMk cId="3438405573" sldId="2147484317"/>
          </pc:sldLayoutMkLst>
          <pc:spChg chg="mod">
            <ac:chgData name="Broyles, Traci" userId="b2698ddf-8c2c-40b3-bb05-465447aa1b1e" providerId="ADAL" clId="{D1045E91-E38F-4DE5-9428-9737EA08A0FE}" dt="2025-11-21T15:04:35.709" v="1432" actId="20577"/>
            <ac:spMkLst>
              <pc:docMk/>
              <pc:sldMasterMk cId="3503048476" sldId="2147484305"/>
              <pc:sldLayoutMk cId="3438405573" sldId="2147484317"/>
              <ac:spMk id="12" creationId="{5B0085D7-285F-4173-A108-D79A1B7F8C87}"/>
            </ac:spMkLst>
          </pc:spChg>
        </pc:sldLayoutChg>
        <pc:sldLayoutChg chg="modSp mod">
          <pc:chgData name="Broyles, Traci" userId="b2698ddf-8c2c-40b3-bb05-465447aa1b1e" providerId="ADAL" clId="{D1045E91-E38F-4DE5-9428-9737EA08A0FE}" dt="2025-11-21T15:04:35.713" v="1433" actId="20577"/>
          <pc:sldLayoutMkLst>
            <pc:docMk/>
            <pc:sldMasterMk cId="3503048476" sldId="2147484305"/>
            <pc:sldLayoutMk cId="1299542202" sldId="2147484318"/>
          </pc:sldLayoutMkLst>
          <pc:spChg chg="mod">
            <ac:chgData name="Broyles, Traci" userId="b2698ddf-8c2c-40b3-bb05-465447aa1b1e" providerId="ADAL" clId="{D1045E91-E38F-4DE5-9428-9737EA08A0FE}" dt="2025-11-21T15:04:35.713" v="1433" actId="20577"/>
            <ac:spMkLst>
              <pc:docMk/>
              <pc:sldMasterMk cId="3503048476" sldId="2147484305"/>
              <pc:sldLayoutMk cId="1299542202" sldId="2147484318"/>
              <ac:spMk id="12" creationId="{5B0085D7-285F-4173-A108-D79A1B7F8C87}"/>
            </ac:spMkLst>
          </pc:spChg>
        </pc:sldLayoutChg>
        <pc:sldLayoutChg chg="modSp mod">
          <pc:chgData name="Broyles, Traci" userId="b2698ddf-8c2c-40b3-bb05-465447aa1b1e" providerId="ADAL" clId="{D1045E91-E38F-4DE5-9428-9737EA08A0FE}" dt="2025-11-21T15:04:35.717" v="1434" actId="20577"/>
          <pc:sldLayoutMkLst>
            <pc:docMk/>
            <pc:sldMasterMk cId="3503048476" sldId="2147484305"/>
            <pc:sldLayoutMk cId="843902744" sldId="2147484319"/>
          </pc:sldLayoutMkLst>
          <pc:spChg chg="mod">
            <ac:chgData name="Broyles, Traci" userId="b2698ddf-8c2c-40b3-bb05-465447aa1b1e" providerId="ADAL" clId="{D1045E91-E38F-4DE5-9428-9737EA08A0FE}" dt="2025-11-21T15:04:35.717" v="1434" actId="20577"/>
            <ac:spMkLst>
              <pc:docMk/>
              <pc:sldMasterMk cId="3503048476" sldId="2147484305"/>
              <pc:sldLayoutMk cId="843902744" sldId="2147484319"/>
              <ac:spMk id="12" creationId="{5B0085D7-285F-4173-A108-D79A1B7F8C87}"/>
            </ac:spMkLst>
          </pc:spChg>
        </pc:sldLayoutChg>
        <pc:sldLayoutChg chg="modSp mod">
          <pc:chgData name="Broyles, Traci" userId="b2698ddf-8c2c-40b3-bb05-465447aa1b1e" providerId="ADAL" clId="{D1045E91-E38F-4DE5-9428-9737EA08A0FE}" dt="2025-11-21T15:04:35.721" v="1435" actId="20577"/>
          <pc:sldLayoutMkLst>
            <pc:docMk/>
            <pc:sldMasterMk cId="3503048476" sldId="2147484305"/>
            <pc:sldLayoutMk cId="4242080809" sldId="2147484440"/>
          </pc:sldLayoutMkLst>
          <pc:spChg chg="mod">
            <ac:chgData name="Broyles, Traci" userId="b2698ddf-8c2c-40b3-bb05-465447aa1b1e" providerId="ADAL" clId="{D1045E91-E38F-4DE5-9428-9737EA08A0FE}" dt="2025-11-21T15:04:35.721" v="1435" actId="20577"/>
            <ac:spMkLst>
              <pc:docMk/>
              <pc:sldMasterMk cId="3503048476" sldId="2147484305"/>
              <pc:sldLayoutMk cId="4242080809" sldId="2147484440"/>
              <ac:spMk id="12" creationId="{5B0085D7-285F-4173-A108-D79A1B7F8C87}"/>
            </ac:spMkLst>
          </pc:spChg>
        </pc:sldLayoutChg>
        <pc:sldLayoutChg chg="modSp mod">
          <pc:chgData name="Broyles, Traci" userId="b2698ddf-8c2c-40b3-bb05-465447aa1b1e" providerId="ADAL" clId="{D1045E91-E38F-4DE5-9428-9737EA08A0FE}" dt="2025-11-21T15:04:35.725" v="1436" actId="20577"/>
          <pc:sldLayoutMkLst>
            <pc:docMk/>
            <pc:sldMasterMk cId="3503048476" sldId="2147484305"/>
            <pc:sldLayoutMk cId="4065642444" sldId="2147484441"/>
          </pc:sldLayoutMkLst>
          <pc:spChg chg="mod">
            <ac:chgData name="Broyles, Traci" userId="b2698ddf-8c2c-40b3-bb05-465447aa1b1e" providerId="ADAL" clId="{D1045E91-E38F-4DE5-9428-9737EA08A0FE}" dt="2025-11-21T15:04:35.725" v="1436" actId="20577"/>
            <ac:spMkLst>
              <pc:docMk/>
              <pc:sldMasterMk cId="3503048476" sldId="2147484305"/>
              <pc:sldLayoutMk cId="4065642444" sldId="2147484441"/>
              <ac:spMk id="12" creationId="{5B0085D7-285F-4173-A108-D79A1B7F8C87}"/>
            </ac:spMkLst>
          </pc:spChg>
        </pc:sldLayoutChg>
        <pc:sldLayoutChg chg="modSp mod">
          <pc:chgData name="Broyles, Traci" userId="b2698ddf-8c2c-40b3-bb05-465447aa1b1e" providerId="ADAL" clId="{D1045E91-E38F-4DE5-9428-9737EA08A0FE}" dt="2025-11-21T15:04:35.729" v="1437" actId="20577"/>
          <pc:sldLayoutMkLst>
            <pc:docMk/>
            <pc:sldMasterMk cId="3503048476" sldId="2147484305"/>
            <pc:sldLayoutMk cId="380232627" sldId="2147484442"/>
          </pc:sldLayoutMkLst>
          <pc:spChg chg="mod">
            <ac:chgData name="Broyles, Traci" userId="b2698ddf-8c2c-40b3-bb05-465447aa1b1e" providerId="ADAL" clId="{D1045E91-E38F-4DE5-9428-9737EA08A0FE}" dt="2025-11-21T15:04:35.729" v="1437" actId="20577"/>
            <ac:spMkLst>
              <pc:docMk/>
              <pc:sldMasterMk cId="3503048476" sldId="2147484305"/>
              <pc:sldLayoutMk cId="380232627" sldId="2147484442"/>
              <ac:spMk id="12" creationId="{5B0085D7-285F-4173-A108-D79A1B7F8C87}"/>
            </ac:spMkLst>
          </pc:spChg>
        </pc:sldLayoutChg>
      </pc:sldMasterChg>
      <pc:sldMasterChg chg="modSp mod modSldLayout">
        <pc:chgData name="Broyles, Traci" userId="b2698ddf-8c2c-40b3-bb05-465447aa1b1e" providerId="ADAL" clId="{D1045E91-E38F-4DE5-9428-9737EA08A0FE}" dt="2025-11-21T15:04:35.740" v="1440" actId="20577"/>
        <pc:sldMasterMkLst>
          <pc:docMk/>
          <pc:sldMasterMk cId="1078609682" sldId="2147484527"/>
        </pc:sldMasterMkLst>
        <pc:spChg chg="mod">
          <ac:chgData name="Broyles, Traci" userId="b2698ddf-8c2c-40b3-bb05-465447aa1b1e" providerId="ADAL" clId="{D1045E91-E38F-4DE5-9428-9737EA08A0FE}" dt="2025-11-21T15:04:35.733" v="1438" actId="20577"/>
          <ac:spMkLst>
            <pc:docMk/>
            <pc:sldMasterMk cId="1078609682" sldId="2147484527"/>
            <ac:spMk id="17" creationId="{60C0F77C-9D73-4BC8-8D76-03AE83D6BB7E}"/>
          </ac:spMkLst>
        </pc:spChg>
        <pc:sldLayoutChg chg="modSp mod">
          <pc:chgData name="Broyles, Traci" userId="b2698ddf-8c2c-40b3-bb05-465447aa1b1e" providerId="ADAL" clId="{D1045E91-E38F-4DE5-9428-9737EA08A0FE}" dt="2025-11-21T15:04:35.736" v="1439" actId="20577"/>
          <pc:sldLayoutMkLst>
            <pc:docMk/>
            <pc:sldMasterMk cId="1078609682" sldId="2147484527"/>
            <pc:sldLayoutMk cId="1380489781" sldId="2147484528"/>
          </pc:sldLayoutMkLst>
          <pc:spChg chg="mod">
            <ac:chgData name="Broyles, Traci" userId="b2698ddf-8c2c-40b3-bb05-465447aa1b1e" providerId="ADAL" clId="{D1045E91-E38F-4DE5-9428-9737EA08A0FE}" dt="2025-11-21T15:04:35.736" v="1439" actId="20577"/>
            <ac:spMkLst>
              <pc:docMk/>
              <pc:sldMasterMk cId="1078609682" sldId="2147484527"/>
              <pc:sldLayoutMk cId="1380489781" sldId="2147484528"/>
              <ac:spMk id="12" creationId="{5B0085D7-285F-4173-A108-D79A1B7F8C87}"/>
            </ac:spMkLst>
          </pc:spChg>
        </pc:sldLayoutChg>
        <pc:sldLayoutChg chg="modSp mod">
          <pc:chgData name="Broyles, Traci" userId="b2698ddf-8c2c-40b3-bb05-465447aa1b1e" providerId="ADAL" clId="{D1045E91-E38F-4DE5-9428-9737EA08A0FE}" dt="2025-11-21T15:04:35.740" v="1440" actId="20577"/>
          <pc:sldLayoutMkLst>
            <pc:docMk/>
            <pc:sldMasterMk cId="1078609682" sldId="2147484527"/>
            <pc:sldLayoutMk cId="2621344613" sldId="2147484529"/>
          </pc:sldLayoutMkLst>
          <pc:spChg chg="mod">
            <ac:chgData name="Broyles, Traci" userId="b2698ddf-8c2c-40b3-bb05-465447aa1b1e" providerId="ADAL" clId="{D1045E91-E38F-4DE5-9428-9737EA08A0FE}" dt="2025-11-21T15:04:35.740" v="1440" actId="20577"/>
            <ac:spMkLst>
              <pc:docMk/>
              <pc:sldMasterMk cId="1078609682" sldId="2147484527"/>
              <pc:sldLayoutMk cId="2621344613" sldId="2147484529"/>
              <ac:spMk id="12" creationId="{5B0085D7-285F-4173-A108-D79A1B7F8C87}"/>
            </ac:spMkLst>
          </pc:spChg>
        </pc:sldLayoutChg>
      </pc:sldMasterChg>
      <pc:sldMasterChg chg="modSp mod modSldLayout">
        <pc:chgData name="Broyles, Traci" userId="b2698ddf-8c2c-40b3-bb05-465447aa1b1e" providerId="ADAL" clId="{D1045E91-E38F-4DE5-9428-9737EA08A0FE}" dt="2025-11-21T15:04:35.751" v="1443" actId="20577"/>
        <pc:sldMasterMkLst>
          <pc:docMk/>
          <pc:sldMasterMk cId="1648492141" sldId="2147484623"/>
        </pc:sldMasterMkLst>
        <pc:spChg chg="mod">
          <ac:chgData name="Broyles, Traci" userId="b2698ddf-8c2c-40b3-bb05-465447aa1b1e" providerId="ADAL" clId="{D1045E91-E38F-4DE5-9428-9737EA08A0FE}" dt="2025-11-21T15:04:35.744" v="1441" actId="20577"/>
          <ac:spMkLst>
            <pc:docMk/>
            <pc:sldMasterMk cId="1648492141" sldId="2147484623"/>
            <ac:spMk id="17" creationId="{60C0F77C-9D73-4BC8-8D76-03AE83D6BB7E}"/>
          </ac:spMkLst>
        </pc:spChg>
        <pc:sldLayoutChg chg="modSp mod">
          <pc:chgData name="Broyles, Traci" userId="b2698ddf-8c2c-40b3-bb05-465447aa1b1e" providerId="ADAL" clId="{D1045E91-E38F-4DE5-9428-9737EA08A0FE}" dt="2025-11-21T15:04:35.747" v="1442" actId="20577"/>
          <pc:sldLayoutMkLst>
            <pc:docMk/>
            <pc:sldMasterMk cId="1648492141" sldId="2147484623"/>
            <pc:sldLayoutMk cId="3181629955" sldId="2147484624"/>
          </pc:sldLayoutMkLst>
          <pc:spChg chg="mod">
            <ac:chgData name="Broyles, Traci" userId="b2698ddf-8c2c-40b3-bb05-465447aa1b1e" providerId="ADAL" clId="{D1045E91-E38F-4DE5-9428-9737EA08A0FE}" dt="2025-11-21T15:04:35.747" v="1442" actId="20577"/>
            <ac:spMkLst>
              <pc:docMk/>
              <pc:sldMasterMk cId="1648492141" sldId="2147484623"/>
              <pc:sldLayoutMk cId="3181629955" sldId="2147484624"/>
              <ac:spMk id="12" creationId="{5B0085D7-285F-4173-A108-D79A1B7F8C87}"/>
            </ac:spMkLst>
          </pc:spChg>
        </pc:sldLayoutChg>
        <pc:sldLayoutChg chg="modSp mod">
          <pc:chgData name="Broyles, Traci" userId="b2698ddf-8c2c-40b3-bb05-465447aa1b1e" providerId="ADAL" clId="{D1045E91-E38F-4DE5-9428-9737EA08A0FE}" dt="2025-11-21T15:04:35.751" v="1443" actId="20577"/>
          <pc:sldLayoutMkLst>
            <pc:docMk/>
            <pc:sldMasterMk cId="1648492141" sldId="2147484623"/>
            <pc:sldLayoutMk cId="506903570" sldId="2147484625"/>
          </pc:sldLayoutMkLst>
          <pc:spChg chg="mod">
            <ac:chgData name="Broyles, Traci" userId="b2698ddf-8c2c-40b3-bb05-465447aa1b1e" providerId="ADAL" clId="{D1045E91-E38F-4DE5-9428-9737EA08A0FE}" dt="2025-11-21T15:04:35.751" v="1443" actId="20577"/>
            <ac:spMkLst>
              <pc:docMk/>
              <pc:sldMasterMk cId="1648492141" sldId="2147484623"/>
              <pc:sldLayoutMk cId="506903570" sldId="2147484625"/>
              <ac:spMk id="12" creationId="{5B0085D7-285F-4173-A108-D79A1B7F8C87}"/>
            </ac:spMkLst>
          </pc:spChg>
        </pc:sldLayoutChg>
      </pc:sldMasterChg>
      <pc:sldMasterChg chg="modSp mod modSldLayout">
        <pc:chgData name="Broyles, Traci" userId="b2698ddf-8c2c-40b3-bb05-465447aa1b1e" providerId="ADAL" clId="{D1045E91-E38F-4DE5-9428-9737EA08A0FE}" dt="2025-11-21T15:04:35.762" v="1446" actId="20577"/>
        <pc:sldMasterMkLst>
          <pc:docMk/>
          <pc:sldMasterMk cId="228640371" sldId="2147484720"/>
        </pc:sldMasterMkLst>
        <pc:spChg chg="mod">
          <ac:chgData name="Broyles, Traci" userId="b2698ddf-8c2c-40b3-bb05-465447aa1b1e" providerId="ADAL" clId="{D1045E91-E38F-4DE5-9428-9737EA08A0FE}" dt="2025-11-21T15:04:35.755" v="1444" actId="20577"/>
          <ac:spMkLst>
            <pc:docMk/>
            <pc:sldMasterMk cId="228640371" sldId="2147484720"/>
            <ac:spMk id="17" creationId="{60C0F77C-9D73-4BC8-8D76-03AE83D6BB7E}"/>
          </ac:spMkLst>
        </pc:spChg>
        <pc:sldLayoutChg chg="modSp mod">
          <pc:chgData name="Broyles, Traci" userId="b2698ddf-8c2c-40b3-bb05-465447aa1b1e" providerId="ADAL" clId="{D1045E91-E38F-4DE5-9428-9737EA08A0FE}" dt="2025-11-21T15:04:35.759" v="1445" actId="20577"/>
          <pc:sldLayoutMkLst>
            <pc:docMk/>
            <pc:sldMasterMk cId="228640371" sldId="2147484720"/>
            <pc:sldLayoutMk cId="2352831451" sldId="2147484721"/>
          </pc:sldLayoutMkLst>
          <pc:spChg chg="mod">
            <ac:chgData name="Broyles, Traci" userId="b2698ddf-8c2c-40b3-bb05-465447aa1b1e" providerId="ADAL" clId="{D1045E91-E38F-4DE5-9428-9737EA08A0FE}" dt="2025-11-21T15:04:35.759" v="1445" actId="20577"/>
            <ac:spMkLst>
              <pc:docMk/>
              <pc:sldMasterMk cId="228640371" sldId="2147484720"/>
              <pc:sldLayoutMk cId="2352831451" sldId="2147484721"/>
              <ac:spMk id="12" creationId="{5B0085D7-285F-4173-A108-D79A1B7F8C87}"/>
            </ac:spMkLst>
          </pc:spChg>
        </pc:sldLayoutChg>
        <pc:sldLayoutChg chg="modSp mod">
          <pc:chgData name="Broyles, Traci" userId="b2698ddf-8c2c-40b3-bb05-465447aa1b1e" providerId="ADAL" clId="{D1045E91-E38F-4DE5-9428-9737EA08A0FE}" dt="2025-11-21T15:04:35.762" v="1446" actId="20577"/>
          <pc:sldLayoutMkLst>
            <pc:docMk/>
            <pc:sldMasterMk cId="228640371" sldId="2147484720"/>
            <pc:sldLayoutMk cId="2682265144" sldId="2147484722"/>
          </pc:sldLayoutMkLst>
          <pc:spChg chg="mod">
            <ac:chgData name="Broyles, Traci" userId="b2698ddf-8c2c-40b3-bb05-465447aa1b1e" providerId="ADAL" clId="{D1045E91-E38F-4DE5-9428-9737EA08A0FE}" dt="2025-11-21T15:04:35.762" v="1446" actId="20577"/>
            <ac:spMkLst>
              <pc:docMk/>
              <pc:sldMasterMk cId="228640371" sldId="2147484720"/>
              <pc:sldLayoutMk cId="2682265144" sldId="2147484722"/>
              <ac:spMk id="12" creationId="{5B0085D7-285F-4173-A108-D79A1B7F8C87}"/>
            </ac:spMkLst>
          </pc:spChg>
        </pc:sldLayoutChg>
      </pc:sldMasterChg>
    </pc:docChg>
  </pc:docChgLst>
  <pc:docChgLst>
    <pc:chgData name="Bodla, Ravi" userId="277d5046-e6f2-454c-9a96-f0120308b008" providerId="ADAL" clId="{3D829209-2C3F-4E72-ACD2-29EC4CB1F39A}"/>
    <pc:docChg chg="custSel addSld delSld modSld sldOrd modMainMaster modSection">
      <pc:chgData name="Bodla, Ravi" userId="277d5046-e6f2-454c-9a96-f0120308b008" providerId="ADAL" clId="{3D829209-2C3F-4E72-ACD2-29EC4CB1F39A}" dt="2025-11-20T23:23:04.807" v="35" actId="47"/>
      <pc:docMkLst>
        <pc:docMk/>
      </pc:docMkLst>
      <pc:sldChg chg="add del">
        <pc:chgData name="Bodla, Ravi" userId="277d5046-e6f2-454c-9a96-f0120308b008" providerId="ADAL" clId="{3D829209-2C3F-4E72-ACD2-29EC4CB1F39A}" dt="2025-11-20T23:15:59.625" v="2"/>
        <pc:sldMkLst>
          <pc:docMk/>
          <pc:sldMk cId="1541846143" sldId="261"/>
        </pc:sldMkLst>
      </pc:sldChg>
      <pc:sldChg chg="add del">
        <pc:chgData name="Bodla, Ravi" userId="277d5046-e6f2-454c-9a96-f0120308b008" providerId="ADAL" clId="{3D829209-2C3F-4E72-ACD2-29EC4CB1F39A}" dt="2025-11-20T23:21:40.538" v="14"/>
        <pc:sldMkLst>
          <pc:docMk/>
          <pc:sldMk cId="107180402" sldId="275"/>
        </pc:sldMkLst>
      </pc:sldChg>
      <pc:sldChg chg="add del">
        <pc:chgData name="Bodla, Ravi" userId="277d5046-e6f2-454c-9a96-f0120308b008" providerId="ADAL" clId="{3D829209-2C3F-4E72-ACD2-29EC4CB1F39A}" dt="2025-11-20T23:15:59.625" v="2"/>
        <pc:sldMkLst>
          <pc:docMk/>
          <pc:sldMk cId="1294381146" sldId="290"/>
        </pc:sldMkLst>
      </pc:sldChg>
      <pc:sldChg chg="modSp mod modClrScheme chgLayout">
        <pc:chgData name="Bodla, Ravi" userId="277d5046-e6f2-454c-9a96-f0120308b008" providerId="ADAL" clId="{3D829209-2C3F-4E72-ACD2-29EC4CB1F39A}" dt="2025-11-20T23:23:02.389" v="34"/>
        <pc:sldMkLst>
          <pc:docMk/>
          <pc:sldMk cId="302433898" sldId="425"/>
        </pc:sldMkLst>
        <pc:spChg chg="mod ord">
          <ac:chgData name="Bodla, Ravi" userId="277d5046-e6f2-454c-9a96-f0120308b008" providerId="ADAL" clId="{3D829209-2C3F-4E72-ACD2-29EC4CB1F39A}" dt="2025-11-20T23:23:02.389" v="34"/>
          <ac:spMkLst>
            <pc:docMk/>
            <pc:sldMk cId="302433898" sldId="425"/>
            <ac:spMk id="2" creationId="{ECC47A2D-06FB-4BC3-8302-266302A9ED66}"/>
          </ac:spMkLst>
        </pc:spChg>
        <pc:spChg chg="mod ord">
          <ac:chgData name="Bodla, Ravi" userId="277d5046-e6f2-454c-9a96-f0120308b008" providerId="ADAL" clId="{3D829209-2C3F-4E72-ACD2-29EC4CB1F39A}" dt="2025-11-20T23:23:02.389" v="34"/>
          <ac:spMkLst>
            <pc:docMk/>
            <pc:sldMk cId="302433898" sldId="425"/>
            <ac:spMk id="3" creationId="{9FB38631-E00F-4BA3-B173-4C97370BAC6F}"/>
          </ac:spMkLst>
        </pc:spChg>
      </pc:sldChg>
      <pc:sldChg chg="add del mod ord modShow">
        <pc:chgData name="Bodla, Ravi" userId="277d5046-e6f2-454c-9a96-f0120308b008" providerId="ADAL" clId="{3D829209-2C3F-4E72-ACD2-29EC4CB1F39A}" dt="2025-11-20T23:23:04.807" v="35" actId="47"/>
        <pc:sldMkLst>
          <pc:docMk/>
          <pc:sldMk cId="3251397100" sldId="767"/>
        </pc:sldMkLst>
      </pc:sldChg>
      <pc:sldChg chg="del">
        <pc:chgData name="Bodla, Ravi" userId="277d5046-e6f2-454c-9a96-f0120308b008" providerId="ADAL" clId="{3D829209-2C3F-4E72-ACD2-29EC4CB1F39A}" dt="2025-11-20T23:16:26.040" v="9" actId="47"/>
        <pc:sldMkLst>
          <pc:docMk/>
          <pc:sldMk cId="394937147" sldId="887"/>
        </pc:sldMkLst>
      </pc:sldChg>
      <pc:sldChg chg="del">
        <pc:chgData name="Bodla, Ravi" userId="277d5046-e6f2-454c-9a96-f0120308b008" providerId="ADAL" clId="{3D829209-2C3F-4E72-ACD2-29EC4CB1F39A}" dt="2025-11-20T23:16:26.040" v="9" actId="47"/>
        <pc:sldMkLst>
          <pc:docMk/>
          <pc:sldMk cId="3876347776" sldId="890"/>
        </pc:sldMkLst>
      </pc:sldChg>
      <pc:sldChg chg="del">
        <pc:chgData name="Bodla, Ravi" userId="277d5046-e6f2-454c-9a96-f0120308b008" providerId="ADAL" clId="{3D829209-2C3F-4E72-ACD2-29EC4CB1F39A}" dt="2025-11-20T23:16:26.040" v="9" actId="47"/>
        <pc:sldMkLst>
          <pc:docMk/>
          <pc:sldMk cId="2496993023" sldId="918"/>
        </pc:sldMkLst>
      </pc:sldChg>
      <pc:sldChg chg="del">
        <pc:chgData name="Bodla, Ravi" userId="277d5046-e6f2-454c-9a96-f0120308b008" providerId="ADAL" clId="{3D829209-2C3F-4E72-ACD2-29EC4CB1F39A}" dt="2025-11-20T23:16:26.040" v="9" actId="47"/>
        <pc:sldMkLst>
          <pc:docMk/>
          <pc:sldMk cId="3811048956" sldId="953"/>
        </pc:sldMkLst>
      </pc:sldChg>
      <pc:sldChg chg="del">
        <pc:chgData name="Bodla, Ravi" userId="277d5046-e6f2-454c-9a96-f0120308b008" providerId="ADAL" clId="{3D829209-2C3F-4E72-ACD2-29EC4CB1F39A}" dt="2025-11-20T23:16:26.040" v="9" actId="47"/>
        <pc:sldMkLst>
          <pc:docMk/>
          <pc:sldMk cId="2340631839" sldId="2147483382"/>
        </pc:sldMkLst>
      </pc:sldChg>
      <pc:sldChg chg="add del modTransition">
        <pc:chgData name="Bodla, Ravi" userId="277d5046-e6f2-454c-9a96-f0120308b008" providerId="ADAL" clId="{3D829209-2C3F-4E72-ACD2-29EC4CB1F39A}" dt="2025-11-20T23:15:59.625" v="2"/>
        <pc:sldMkLst>
          <pc:docMk/>
          <pc:sldMk cId="3153958353" sldId="2147483561"/>
        </pc:sldMkLst>
      </pc:sldChg>
      <pc:sldChg chg="add del setBg">
        <pc:chgData name="Bodla, Ravi" userId="277d5046-e6f2-454c-9a96-f0120308b008" providerId="ADAL" clId="{3D829209-2C3F-4E72-ACD2-29EC4CB1F39A}" dt="2025-11-20T23:23:00.832" v="20"/>
        <pc:sldMkLst>
          <pc:docMk/>
          <pc:sldMk cId="2205456928" sldId="2147483603"/>
        </pc:sldMkLst>
      </pc:sldChg>
      <pc:sldMasterChg chg="delSldLayout">
        <pc:chgData name="Bodla, Ravi" userId="277d5046-e6f2-454c-9a96-f0120308b008" providerId="ADAL" clId="{3D829209-2C3F-4E72-ACD2-29EC4CB1F39A}" dt="2025-11-20T23:21:34.004" v="11" actId="47"/>
        <pc:sldMasterMkLst>
          <pc:docMk/>
          <pc:sldMasterMk cId="1066049325" sldId="2147484025"/>
        </pc:sldMasterMkLst>
        <pc:sldLayoutChg chg="del">
          <pc:chgData name="Bodla, Ravi" userId="277d5046-e6f2-454c-9a96-f0120308b008" providerId="ADAL" clId="{3D829209-2C3F-4E72-ACD2-29EC4CB1F39A}" dt="2025-11-20T23:16:26.040" v="9" actId="47"/>
          <pc:sldLayoutMkLst>
            <pc:docMk/>
            <pc:sldMasterMk cId="1066049325" sldId="2147484025"/>
            <pc:sldLayoutMk cId="2060840028" sldId="2147484082"/>
          </pc:sldLayoutMkLst>
        </pc:sldLayoutChg>
        <pc:sldLayoutChg chg="del">
          <pc:chgData name="Bodla, Ravi" userId="277d5046-e6f2-454c-9a96-f0120308b008" providerId="ADAL" clId="{3D829209-2C3F-4E72-ACD2-29EC4CB1F39A}" dt="2025-11-20T23:21:34.004" v="11" actId="47"/>
          <pc:sldLayoutMkLst>
            <pc:docMk/>
            <pc:sldMasterMk cId="1066049325" sldId="2147484025"/>
            <pc:sldLayoutMk cId="2068372776" sldId="2147484188"/>
          </pc:sldLayoutMkLst>
        </pc:sldLayoutChg>
      </pc:sldMasterChg>
      <pc:sldMasterChg chg="modSp mod delSldLayout modSldLayout">
        <pc:chgData name="Bodla, Ravi" userId="277d5046-e6f2-454c-9a96-f0120308b008" providerId="ADAL" clId="{3D829209-2C3F-4E72-ACD2-29EC4CB1F39A}" dt="2025-11-20T23:23:04.807" v="35" actId="47"/>
        <pc:sldMasterMkLst>
          <pc:docMk/>
          <pc:sldMasterMk cId="1243314098" sldId="2147484090"/>
        </pc:sldMasterMkLst>
        <pc:spChg chg="mod">
          <ac:chgData name="Bodla, Ravi" userId="277d5046-e6f2-454c-9a96-f0120308b008" providerId="ADAL" clId="{3D829209-2C3F-4E72-ACD2-29EC4CB1F39A}" dt="2025-11-20T23:16:00.241" v="3" actId="20577"/>
          <ac:spMkLst>
            <pc:docMk/>
            <pc:sldMasterMk cId="1243314098" sldId="2147484090"/>
            <ac:spMk id="17" creationId="{60C0F77C-9D73-4BC8-8D76-03AE83D6BB7E}"/>
          </ac:spMkLst>
        </pc:spChg>
        <pc:sldLayoutChg chg="modSp mod">
          <pc:chgData name="Bodla, Ravi" userId="277d5046-e6f2-454c-9a96-f0120308b008" providerId="ADAL" clId="{3D829209-2C3F-4E72-ACD2-29EC4CB1F39A}" dt="2025-11-20T23:16:00.247" v="4" actId="20577"/>
          <pc:sldLayoutMkLst>
            <pc:docMk/>
            <pc:sldMasterMk cId="1243314098" sldId="2147484090"/>
            <pc:sldLayoutMk cId="4032962506" sldId="2147484091"/>
          </pc:sldLayoutMkLst>
          <pc:spChg chg="mod">
            <ac:chgData name="Bodla, Ravi" userId="277d5046-e6f2-454c-9a96-f0120308b008" providerId="ADAL" clId="{3D829209-2C3F-4E72-ACD2-29EC4CB1F39A}" dt="2025-11-20T23:16:00.247" v="4" actId="20577"/>
            <ac:spMkLst>
              <pc:docMk/>
              <pc:sldMasterMk cId="1243314098" sldId="2147484090"/>
              <pc:sldLayoutMk cId="4032962506" sldId="2147484091"/>
              <ac:spMk id="12" creationId="{5B0085D7-285F-4173-A108-D79A1B7F8C87}"/>
            </ac:spMkLst>
          </pc:spChg>
        </pc:sldLayoutChg>
        <pc:sldLayoutChg chg="modSp mod">
          <pc:chgData name="Bodla, Ravi" userId="277d5046-e6f2-454c-9a96-f0120308b008" providerId="ADAL" clId="{3D829209-2C3F-4E72-ACD2-29EC4CB1F39A}" dt="2025-11-20T23:16:00.251" v="5" actId="20577"/>
          <pc:sldLayoutMkLst>
            <pc:docMk/>
            <pc:sldMasterMk cId="1243314098" sldId="2147484090"/>
            <pc:sldLayoutMk cId="2143036414" sldId="2147484092"/>
          </pc:sldLayoutMkLst>
          <pc:spChg chg="mod">
            <ac:chgData name="Bodla, Ravi" userId="277d5046-e6f2-454c-9a96-f0120308b008" providerId="ADAL" clId="{3D829209-2C3F-4E72-ACD2-29EC4CB1F39A}" dt="2025-11-20T23:16:00.251" v="5" actId="20577"/>
            <ac:spMkLst>
              <pc:docMk/>
              <pc:sldMasterMk cId="1243314098" sldId="2147484090"/>
              <pc:sldLayoutMk cId="2143036414" sldId="2147484092"/>
              <ac:spMk id="12" creationId="{5B0085D7-285F-4173-A108-D79A1B7F8C87}"/>
            </ac:spMkLst>
          </pc:spChg>
        </pc:sldLayoutChg>
        <pc:sldLayoutChg chg="del">
          <pc:chgData name="Bodla, Ravi" userId="277d5046-e6f2-454c-9a96-f0120308b008" providerId="ADAL" clId="{3D829209-2C3F-4E72-ACD2-29EC4CB1F39A}" dt="2025-11-20T23:23:04.807" v="35" actId="47"/>
          <pc:sldLayoutMkLst>
            <pc:docMk/>
            <pc:sldMasterMk cId="1243314098" sldId="2147484090"/>
            <pc:sldLayoutMk cId="355897298" sldId="2147484165"/>
          </pc:sldLayoutMkLst>
        </pc:sldLayoutChg>
      </pc:sldMasterChg>
      <pc:sldMasterChg chg="modSp mod modSldLayout">
        <pc:chgData name="Bodla, Ravi" userId="277d5046-e6f2-454c-9a96-f0120308b008" providerId="ADAL" clId="{3D829209-2C3F-4E72-ACD2-29EC4CB1F39A}" dt="2025-11-20T23:21:41.259" v="17" actId="20577"/>
        <pc:sldMasterMkLst>
          <pc:docMk/>
          <pc:sldMasterMk cId="2013879612" sldId="2147484188"/>
        </pc:sldMasterMkLst>
        <pc:spChg chg="mod">
          <ac:chgData name="Bodla, Ravi" userId="277d5046-e6f2-454c-9a96-f0120308b008" providerId="ADAL" clId="{3D829209-2C3F-4E72-ACD2-29EC4CB1F39A}" dt="2025-11-20T23:21:41.250" v="15" actId="20577"/>
          <ac:spMkLst>
            <pc:docMk/>
            <pc:sldMasterMk cId="2013879612" sldId="2147484188"/>
            <ac:spMk id="17" creationId="{60C0F77C-9D73-4BC8-8D76-03AE83D6BB7E}"/>
          </ac:spMkLst>
        </pc:spChg>
        <pc:sldLayoutChg chg="modSp mod">
          <pc:chgData name="Bodla, Ravi" userId="277d5046-e6f2-454c-9a96-f0120308b008" providerId="ADAL" clId="{3D829209-2C3F-4E72-ACD2-29EC4CB1F39A}" dt="2025-11-20T23:21:41.256" v="16" actId="20577"/>
          <pc:sldLayoutMkLst>
            <pc:docMk/>
            <pc:sldMasterMk cId="2013879612" sldId="2147484188"/>
            <pc:sldLayoutMk cId="2023186836" sldId="2147484189"/>
          </pc:sldLayoutMkLst>
          <pc:spChg chg="mod">
            <ac:chgData name="Bodla, Ravi" userId="277d5046-e6f2-454c-9a96-f0120308b008" providerId="ADAL" clId="{3D829209-2C3F-4E72-ACD2-29EC4CB1F39A}" dt="2025-11-20T23:21:41.256" v="16" actId="20577"/>
            <ac:spMkLst>
              <pc:docMk/>
              <pc:sldMasterMk cId="2013879612" sldId="2147484188"/>
              <pc:sldLayoutMk cId="2023186836" sldId="2147484189"/>
              <ac:spMk id="12" creationId="{5B0085D7-285F-4173-A108-D79A1B7F8C87}"/>
            </ac:spMkLst>
          </pc:spChg>
        </pc:sldLayoutChg>
        <pc:sldLayoutChg chg="modSp mod">
          <pc:chgData name="Bodla, Ravi" userId="277d5046-e6f2-454c-9a96-f0120308b008" providerId="ADAL" clId="{3D829209-2C3F-4E72-ACD2-29EC4CB1F39A}" dt="2025-11-20T23:21:41.259" v="17" actId="20577"/>
          <pc:sldLayoutMkLst>
            <pc:docMk/>
            <pc:sldMasterMk cId="2013879612" sldId="2147484188"/>
            <pc:sldLayoutMk cId="29782462" sldId="2147484190"/>
          </pc:sldLayoutMkLst>
          <pc:spChg chg="mod">
            <ac:chgData name="Bodla, Ravi" userId="277d5046-e6f2-454c-9a96-f0120308b008" providerId="ADAL" clId="{3D829209-2C3F-4E72-ACD2-29EC4CB1F39A}" dt="2025-11-20T23:21:41.259" v="17" actId="20577"/>
            <ac:spMkLst>
              <pc:docMk/>
              <pc:sldMasterMk cId="2013879612" sldId="2147484188"/>
              <pc:sldLayoutMk cId="29782462" sldId="2147484190"/>
              <ac:spMk id="12" creationId="{5B0085D7-285F-4173-A108-D79A1B7F8C87}"/>
            </ac:spMkLst>
          </pc:spChg>
        </pc:sldLayoutChg>
      </pc:sldMasterChg>
      <pc:sldMasterChg chg="modSp mod modSldLayout">
        <pc:chgData name="Bodla, Ravi" userId="277d5046-e6f2-454c-9a96-f0120308b008" providerId="ADAL" clId="{3D829209-2C3F-4E72-ACD2-29EC4CB1F39A}" dt="2025-11-20T23:23:02.161" v="33" actId="20577"/>
        <pc:sldMasterMkLst>
          <pc:docMk/>
          <pc:sldMasterMk cId="3503048476" sldId="2147484305"/>
        </pc:sldMasterMkLst>
        <pc:spChg chg="mod">
          <ac:chgData name="Bodla, Ravi" userId="277d5046-e6f2-454c-9a96-f0120308b008" providerId="ADAL" clId="{3D829209-2C3F-4E72-ACD2-29EC4CB1F39A}" dt="2025-11-20T23:23:02.123" v="21" actId="20577"/>
          <ac:spMkLst>
            <pc:docMk/>
            <pc:sldMasterMk cId="3503048476" sldId="2147484305"/>
            <ac:spMk id="17" creationId="{60C0F77C-9D73-4BC8-8D76-03AE83D6BB7E}"/>
          </ac:spMkLst>
        </pc:spChg>
        <pc:sldLayoutChg chg="modSp mod">
          <pc:chgData name="Bodla, Ravi" userId="277d5046-e6f2-454c-9a96-f0120308b008" providerId="ADAL" clId="{3D829209-2C3F-4E72-ACD2-29EC4CB1F39A}" dt="2025-11-20T23:23:02.129" v="22" actId="20577"/>
          <pc:sldLayoutMkLst>
            <pc:docMk/>
            <pc:sldMasterMk cId="3503048476" sldId="2147484305"/>
            <pc:sldLayoutMk cId="3498224015" sldId="2147484312"/>
          </pc:sldLayoutMkLst>
          <pc:spChg chg="mod">
            <ac:chgData name="Bodla, Ravi" userId="277d5046-e6f2-454c-9a96-f0120308b008" providerId="ADAL" clId="{3D829209-2C3F-4E72-ACD2-29EC4CB1F39A}" dt="2025-11-20T23:23:02.129" v="22" actId="20577"/>
            <ac:spMkLst>
              <pc:docMk/>
              <pc:sldMasterMk cId="3503048476" sldId="2147484305"/>
              <pc:sldLayoutMk cId="3498224015" sldId="2147484312"/>
              <ac:spMk id="12" creationId="{5B0085D7-285F-4173-A108-D79A1B7F8C87}"/>
            </ac:spMkLst>
          </pc:spChg>
        </pc:sldLayoutChg>
        <pc:sldLayoutChg chg="modSp mod">
          <pc:chgData name="Bodla, Ravi" userId="277d5046-e6f2-454c-9a96-f0120308b008" providerId="ADAL" clId="{3D829209-2C3F-4E72-ACD2-29EC4CB1F39A}" dt="2025-11-20T23:23:02.134" v="23" actId="20577"/>
          <pc:sldLayoutMkLst>
            <pc:docMk/>
            <pc:sldMasterMk cId="3503048476" sldId="2147484305"/>
            <pc:sldLayoutMk cId="2673598025" sldId="2147484313"/>
          </pc:sldLayoutMkLst>
          <pc:spChg chg="mod">
            <ac:chgData name="Bodla, Ravi" userId="277d5046-e6f2-454c-9a96-f0120308b008" providerId="ADAL" clId="{3D829209-2C3F-4E72-ACD2-29EC4CB1F39A}" dt="2025-11-20T23:23:02.134" v="23" actId="20577"/>
            <ac:spMkLst>
              <pc:docMk/>
              <pc:sldMasterMk cId="3503048476" sldId="2147484305"/>
              <pc:sldLayoutMk cId="2673598025" sldId="2147484313"/>
              <ac:spMk id="12" creationId="{5B0085D7-285F-4173-A108-D79A1B7F8C87}"/>
            </ac:spMkLst>
          </pc:spChg>
        </pc:sldLayoutChg>
        <pc:sldLayoutChg chg="modSp mod">
          <pc:chgData name="Bodla, Ravi" userId="277d5046-e6f2-454c-9a96-f0120308b008" providerId="ADAL" clId="{3D829209-2C3F-4E72-ACD2-29EC4CB1F39A}" dt="2025-11-20T23:23:02.136" v="24" actId="20577"/>
          <pc:sldLayoutMkLst>
            <pc:docMk/>
            <pc:sldMasterMk cId="3503048476" sldId="2147484305"/>
            <pc:sldLayoutMk cId="3663996668" sldId="2147484314"/>
          </pc:sldLayoutMkLst>
          <pc:spChg chg="mod">
            <ac:chgData name="Bodla, Ravi" userId="277d5046-e6f2-454c-9a96-f0120308b008" providerId="ADAL" clId="{3D829209-2C3F-4E72-ACD2-29EC4CB1F39A}" dt="2025-11-20T23:23:02.136" v="24" actId="20577"/>
            <ac:spMkLst>
              <pc:docMk/>
              <pc:sldMasterMk cId="3503048476" sldId="2147484305"/>
              <pc:sldLayoutMk cId="3663996668" sldId="2147484314"/>
              <ac:spMk id="12" creationId="{5B0085D7-285F-4173-A108-D79A1B7F8C87}"/>
            </ac:spMkLst>
          </pc:spChg>
        </pc:sldLayoutChg>
        <pc:sldLayoutChg chg="modSp mod">
          <pc:chgData name="Bodla, Ravi" userId="277d5046-e6f2-454c-9a96-f0120308b008" providerId="ADAL" clId="{3D829209-2C3F-4E72-ACD2-29EC4CB1F39A}" dt="2025-11-20T23:23:02.139" v="25" actId="20577"/>
          <pc:sldLayoutMkLst>
            <pc:docMk/>
            <pc:sldMasterMk cId="3503048476" sldId="2147484305"/>
            <pc:sldLayoutMk cId="4098847686" sldId="2147484315"/>
          </pc:sldLayoutMkLst>
          <pc:spChg chg="mod">
            <ac:chgData name="Bodla, Ravi" userId="277d5046-e6f2-454c-9a96-f0120308b008" providerId="ADAL" clId="{3D829209-2C3F-4E72-ACD2-29EC4CB1F39A}" dt="2025-11-20T23:23:02.139" v="25" actId="20577"/>
            <ac:spMkLst>
              <pc:docMk/>
              <pc:sldMasterMk cId="3503048476" sldId="2147484305"/>
              <pc:sldLayoutMk cId="4098847686" sldId="2147484315"/>
              <ac:spMk id="12" creationId="{5B0085D7-285F-4173-A108-D79A1B7F8C87}"/>
            </ac:spMkLst>
          </pc:spChg>
        </pc:sldLayoutChg>
        <pc:sldLayoutChg chg="modSp mod">
          <pc:chgData name="Bodla, Ravi" userId="277d5046-e6f2-454c-9a96-f0120308b008" providerId="ADAL" clId="{3D829209-2C3F-4E72-ACD2-29EC4CB1F39A}" dt="2025-11-20T23:23:02.141" v="26" actId="20577"/>
          <pc:sldLayoutMkLst>
            <pc:docMk/>
            <pc:sldMasterMk cId="3503048476" sldId="2147484305"/>
            <pc:sldLayoutMk cId="42093713" sldId="2147484316"/>
          </pc:sldLayoutMkLst>
          <pc:spChg chg="mod">
            <ac:chgData name="Bodla, Ravi" userId="277d5046-e6f2-454c-9a96-f0120308b008" providerId="ADAL" clId="{3D829209-2C3F-4E72-ACD2-29EC4CB1F39A}" dt="2025-11-20T23:23:02.141" v="26" actId="20577"/>
            <ac:spMkLst>
              <pc:docMk/>
              <pc:sldMasterMk cId="3503048476" sldId="2147484305"/>
              <pc:sldLayoutMk cId="42093713" sldId="2147484316"/>
              <ac:spMk id="12" creationId="{5B0085D7-285F-4173-A108-D79A1B7F8C87}"/>
            </ac:spMkLst>
          </pc:spChg>
        </pc:sldLayoutChg>
        <pc:sldLayoutChg chg="modSp mod">
          <pc:chgData name="Bodla, Ravi" userId="277d5046-e6f2-454c-9a96-f0120308b008" providerId="ADAL" clId="{3D829209-2C3F-4E72-ACD2-29EC4CB1F39A}" dt="2025-11-20T23:23:02.144" v="27" actId="20577"/>
          <pc:sldLayoutMkLst>
            <pc:docMk/>
            <pc:sldMasterMk cId="3503048476" sldId="2147484305"/>
            <pc:sldLayoutMk cId="3438405573" sldId="2147484317"/>
          </pc:sldLayoutMkLst>
          <pc:spChg chg="mod">
            <ac:chgData name="Bodla, Ravi" userId="277d5046-e6f2-454c-9a96-f0120308b008" providerId="ADAL" clId="{3D829209-2C3F-4E72-ACD2-29EC4CB1F39A}" dt="2025-11-20T23:23:02.144" v="27" actId="20577"/>
            <ac:spMkLst>
              <pc:docMk/>
              <pc:sldMasterMk cId="3503048476" sldId="2147484305"/>
              <pc:sldLayoutMk cId="3438405573" sldId="2147484317"/>
              <ac:spMk id="12" creationId="{5B0085D7-285F-4173-A108-D79A1B7F8C87}"/>
            </ac:spMkLst>
          </pc:spChg>
        </pc:sldLayoutChg>
        <pc:sldLayoutChg chg="modSp mod">
          <pc:chgData name="Bodla, Ravi" userId="277d5046-e6f2-454c-9a96-f0120308b008" providerId="ADAL" clId="{3D829209-2C3F-4E72-ACD2-29EC4CB1F39A}" dt="2025-11-20T23:23:02.147" v="28" actId="20577"/>
          <pc:sldLayoutMkLst>
            <pc:docMk/>
            <pc:sldMasterMk cId="3503048476" sldId="2147484305"/>
            <pc:sldLayoutMk cId="1299542202" sldId="2147484318"/>
          </pc:sldLayoutMkLst>
          <pc:spChg chg="mod">
            <ac:chgData name="Bodla, Ravi" userId="277d5046-e6f2-454c-9a96-f0120308b008" providerId="ADAL" clId="{3D829209-2C3F-4E72-ACD2-29EC4CB1F39A}" dt="2025-11-20T23:23:02.147" v="28" actId="20577"/>
            <ac:spMkLst>
              <pc:docMk/>
              <pc:sldMasterMk cId="3503048476" sldId="2147484305"/>
              <pc:sldLayoutMk cId="1299542202" sldId="2147484318"/>
              <ac:spMk id="12" creationId="{5B0085D7-285F-4173-A108-D79A1B7F8C87}"/>
            </ac:spMkLst>
          </pc:spChg>
        </pc:sldLayoutChg>
        <pc:sldLayoutChg chg="modSp mod">
          <pc:chgData name="Bodla, Ravi" userId="277d5046-e6f2-454c-9a96-f0120308b008" providerId="ADAL" clId="{3D829209-2C3F-4E72-ACD2-29EC4CB1F39A}" dt="2025-11-20T23:23:02.150" v="29" actId="20577"/>
          <pc:sldLayoutMkLst>
            <pc:docMk/>
            <pc:sldMasterMk cId="3503048476" sldId="2147484305"/>
            <pc:sldLayoutMk cId="843902744" sldId="2147484319"/>
          </pc:sldLayoutMkLst>
          <pc:spChg chg="mod">
            <ac:chgData name="Bodla, Ravi" userId="277d5046-e6f2-454c-9a96-f0120308b008" providerId="ADAL" clId="{3D829209-2C3F-4E72-ACD2-29EC4CB1F39A}" dt="2025-11-20T23:23:02.150" v="29" actId="20577"/>
            <ac:spMkLst>
              <pc:docMk/>
              <pc:sldMasterMk cId="3503048476" sldId="2147484305"/>
              <pc:sldLayoutMk cId="843902744" sldId="2147484319"/>
              <ac:spMk id="12" creationId="{5B0085D7-285F-4173-A108-D79A1B7F8C87}"/>
            </ac:spMkLst>
          </pc:spChg>
        </pc:sldLayoutChg>
        <pc:sldLayoutChg chg="modSp mod">
          <pc:chgData name="Bodla, Ravi" userId="277d5046-e6f2-454c-9a96-f0120308b008" providerId="ADAL" clId="{3D829209-2C3F-4E72-ACD2-29EC4CB1F39A}" dt="2025-11-20T23:23:02.153" v="30" actId="20577"/>
          <pc:sldLayoutMkLst>
            <pc:docMk/>
            <pc:sldMasterMk cId="3503048476" sldId="2147484305"/>
            <pc:sldLayoutMk cId="4242080809" sldId="2147484440"/>
          </pc:sldLayoutMkLst>
          <pc:spChg chg="mod">
            <ac:chgData name="Bodla, Ravi" userId="277d5046-e6f2-454c-9a96-f0120308b008" providerId="ADAL" clId="{3D829209-2C3F-4E72-ACD2-29EC4CB1F39A}" dt="2025-11-20T23:23:02.153" v="30" actId="20577"/>
            <ac:spMkLst>
              <pc:docMk/>
              <pc:sldMasterMk cId="3503048476" sldId="2147484305"/>
              <pc:sldLayoutMk cId="4242080809" sldId="2147484440"/>
              <ac:spMk id="12" creationId="{5B0085D7-285F-4173-A108-D79A1B7F8C87}"/>
            </ac:spMkLst>
          </pc:spChg>
        </pc:sldLayoutChg>
        <pc:sldLayoutChg chg="modSp mod">
          <pc:chgData name="Bodla, Ravi" userId="277d5046-e6f2-454c-9a96-f0120308b008" providerId="ADAL" clId="{3D829209-2C3F-4E72-ACD2-29EC4CB1F39A}" dt="2025-11-20T23:23:02.156" v="31" actId="20577"/>
          <pc:sldLayoutMkLst>
            <pc:docMk/>
            <pc:sldMasterMk cId="3503048476" sldId="2147484305"/>
            <pc:sldLayoutMk cId="4065642444" sldId="2147484441"/>
          </pc:sldLayoutMkLst>
          <pc:spChg chg="mod">
            <ac:chgData name="Bodla, Ravi" userId="277d5046-e6f2-454c-9a96-f0120308b008" providerId="ADAL" clId="{3D829209-2C3F-4E72-ACD2-29EC4CB1F39A}" dt="2025-11-20T23:23:02.156" v="31" actId="20577"/>
            <ac:spMkLst>
              <pc:docMk/>
              <pc:sldMasterMk cId="3503048476" sldId="2147484305"/>
              <pc:sldLayoutMk cId="4065642444" sldId="2147484441"/>
              <ac:spMk id="12" creationId="{5B0085D7-285F-4173-A108-D79A1B7F8C87}"/>
            </ac:spMkLst>
          </pc:spChg>
        </pc:sldLayoutChg>
        <pc:sldLayoutChg chg="modSp mod">
          <pc:chgData name="Bodla, Ravi" userId="277d5046-e6f2-454c-9a96-f0120308b008" providerId="ADAL" clId="{3D829209-2C3F-4E72-ACD2-29EC4CB1F39A}" dt="2025-11-20T23:23:02.158" v="32" actId="20577"/>
          <pc:sldLayoutMkLst>
            <pc:docMk/>
            <pc:sldMasterMk cId="3503048476" sldId="2147484305"/>
            <pc:sldLayoutMk cId="380232627" sldId="2147484442"/>
          </pc:sldLayoutMkLst>
          <pc:spChg chg="mod">
            <ac:chgData name="Bodla, Ravi" userId="277d5046-e6f2-454c-9a96-f0120308b008" providerId="ADAL" clId="{3D829209-2C3F-4E72-ACD2-29EC4CB1F39A}" dt="2025-11-20T23:23:02.158" v="32" actId="20577"/>
            <ac:spMkLst>
              <pc:docMk/>
              <pc:sldMasterMk cId="3503048476" sldId="2147484305"/>
              <pc:sldLayoutMk cId="380232627" sldId="2147484442"/>
              <ac:spMk id="12" creationId="{5B0085D7-285F-4173-A108-D79A1B7F8C87}"/>
            </ac:spMkLst>
          </pc:spChg>
        </pc:sldLayoutChg>
        <pc:sldLayoutChg chg="modSp mod">
          <pc:chgData name="Bodla, Ravi" userId="277d5046-e6f2-454c-9a96-f0120308b008" providerId="ADAL" clId="{3D829209-2C3F-4E72-ACD2-29EC4CB1F39A}" dt="2025-11-20T23:23:02.161" v="33" actId="20577"/>
          <pc:sldLayoutMkLst>
            <pc:docMk/>
            <pc:sldMasterMk cId="3503048476" sldId="2147484305"/>
            <pc:sldLayoutMk cId="501872359" sldId="2147484443"/>
          </pc:sldLayoutMkLst>
          <pc:spChg chg="mod">
            <ac:chgData name="Bodla, Ravi" userId="277d5046-e6f2-454c-9a96-f0120308b008" providerId="ADAL" clId="{3D829209-2C3F-4E72-ACD2-29EC4CB1F39A}" dt="2025-11-20T23:23:02.161" v="33" actId="20577"/>
            <ac:spMkLst>
              <pc:docMk/>
              <pc:sldMasterMk cId="3503048476" sldId="2147484305"/>
              <pc:sldLayoutMk cId="501872359" sldId="2147484443"/>
              <ac:spMk id="12" creationId="{5B0085D7-285F-4173-A108-D79A1B7F8C87}"/>
            </ac:spMkLst>
          </pc:spChg>
        </pc:sldLayoutChg>
      </pc:sldMasterChg>
    </pc:docChg>
  </pc:docChgLst>
</pc:chgInfo>
</file>

<file path=ppt/comments/modernComment_15C_69F5D9EB.xml><?xml version="1.0" encoding="utf-8"?>
<p188:cmLst xmlns:a="http://schemas.openxmlformats.org/drawingml/2006/main" xmlns:r="http://schemas.openxmlformats.org/officeDocument/2006/relationships" xmlns:p188="http://schemas.microsoft.com/office/powerpoint/2018/8/main">
  <p188:cm id="{9EFFF206-19B3-421E-B338-4519F0B444E8}" authorId="{310A0FF1-E770-FC1D-6C7A-2A04EDFB5784}" created="2024-11-20T23:26:46.464">
    <pc:sldMkLst xmlns:pc="http://schemas.microsoft.com/office/powerpoint/2013/main/command">
      <pc:docMk/>
      <pc:sldMk cId="1777719787" sldId="348"/>
    </pc:sldMkLst>
    <p188:txBody>
      <a:bodyPr/>
      <a:lstStyle/>
      <a:p>
        <a:r>
          <a:rPr lang="en-US"/>
          <a:t>Wendy to present</a:t>
        </a:r>
      </a:p>
    </p188:txBody>
  </p188:cm>
</p188:cmLst>
</file>

<file path=ppt/comments/modernComment_15E_2430067F.xml><?xml version="1.0" encoding="utf-8"?>
<p188:cmLst xmlns:a="http://schemas.openxmlformats.org/drawingml/2006/main" xmlns:r="http://schemas.openxmlformats.org/officeDocument/2006/relationships" xmlns:p188="http://schemas.microsoft.com/office/powerpoint/2018/8/main">
  <p188:cm id="{9B0F7299-AD0A-4913-B9F5-EFB1EE49143A}" authorId="{310A0FF1-E770-FC1D-6C7A-2A04EDFB5784}" created="2024-11-20T23:27:22.700">
    <pc:sldMkLst xmlns:pc="http://schemas.microsoft.com/office/powerpoint/2013/main/command">
      <pc:docMk/>
      <pc:sldMk cId="607127167" sldId="350"/>
    </pc:sldMkLst>
    <p188:txBody>
      <a:bodyPr/>
      <a:lstStyle/>
      <a:p>
        <a:r>
          <a:rPr lang="en-US"/>
          <a:t>Wendy to present</a:t>
        </a:r>
      </a:p>
    </p188:txBody>
  </p188:cm>
</p188:cmLst>
</file>

<file path=ppt/comments/modernComment_160_EDAAB926.xml><?xml version="1.0" encoding="utf-8"?>
<p188:cmLst xmlns:a="http://schemas.openxmlformats.org/drawingml/2006/main" xmlns:r="http://schemas.openxmlformats.org/officeDocument/2006/relationships" xmlns:p188="http://schemas.microsoft.com/office/powerpoint/2018/8/main">
  <p188:cm id="{1BA74DD7-8D4C-4C07-A311-D01B321C028E}" authorId="{310A0FF1-E770-FC1D-6C7A-2A04EDFB5784}" created="2024-11-21T20:07:32.876">
    <pc:sldMkLst xmlns:pc="http://schemas.microsoft.com/office/powerpoint/2013/main/command">
      <pc:docMk/>
      <pc:sldMk cId="3987388710" sldId="352"/>
    </pc:sldMkLst>
    <p188:txBody>
      <a:bodyPr/>
      <a:lstStyle/>
      <a:p>
        <a:r>
          <a:rPr lang="en-US"/>
          <a:t>Traci to present</a:t>
        </a:r>
      </a:p>
    </p188:txBody>
  </p188:cm>
</p188:cmLst>
</file>

<file path=ppt/comments/modernComment_162_11C04FE2.xml><?xml version="1.0" encoding="utf-8"?>
<p188:cmLst xmlns:a="http://schemas.openxmlformats.org/drawingml/2006/main" xmlns:r="http://schemas.openxmlformats.org/officeDocument/2006/relationships" xmlns:p188="http://schemas.microsoft.com/office/powerpoint/2018/8/main">
  <p188:cm id="{2AEA7E29-E62D-4C62-9980-57949023A5A4}" authorId="{310A0FF1-E770-FC1D-6C7A-2A04EDFB5784}" created="2024-11-21T20:07:03.351">
    <pc:sldMkLst xmlns:pc="http://schemas.microsoft.com/office/powerpoint/2013/main/command">
      <pc:docMk/>
      <pc:sldMk cId="297816034" sldId="354"/>
    </pc:sldMkLst>
    <p188:txBody>
      <a:bodyPr/>
      <a:lstStyle/>
      <a:p>
        <a:r>
          <a:rPr lang="en-US"/>
          <a:t>Traci to present</a:t>
        </a:r>
      </a:p>
    </p188:txBody>
  </p188:cm>
</p188:cmLst>
</file>

<file path=ppt/comments/modernComment_163_E253D62F.xml><?xml version="1.0" encoding="utf-8"?>
<p188:cmLst xmlns:a="http://schemas.openxmlformats.org/drawingml/2006/main" xmlns:r="http://schemas.openxmlformats.org/officeDocument/2006/relationships" xmlns:p188="http://schemas.microsoft.com/office/powerpoint/2018/8/main">
  <p188:cm id="{D9ADCC7D-33FD-4574-B8AF-99AFBA5341FF}" authorId="{310A0FF1-E770-FC1D-6C7A-2A04EDFB5784}" created="2024-11-21T20:08:40.250">
    <pc:sldMkLst xmlns:pc="http://schemas.microsoft.com/office/powerpoint/2013/main/command">
      <pc:docMk/>
      <pc:sldMk cId="3797145135" sldId="355"/>
    </pc:sldMkLst>
    <p188:txBody>
      <a:bodyPr/>
      <a:lstStyle/>
      <a:p>
        <a:r>
          <a:rPr lang="en-US"/>
          <a:t>Traci to present</a:t>
        </a:r>
      </a:p>
    </p188:txBody>
  </p188:cm>
</p188:cmLst>
</file>

<file path=ppt/comments/modernComment_168_474D60D7.xml><?xml version="1.0" encoding="utf-8"?>
<p188:cmLst xmlns:a="http://schemas.openxmlformats.org/drawingml/2006/main" xmlns:r="http://schemas.openxmlformats.org/officeDocument/2006/relationships" xmlns:p188="http://schemas.microsoft.com/office/powerpoint/2018/8/main">
  <p188:cm id="{28FA5837-A0DC-4E91-9712-1723242A1F29}" authorId="{310A0FF1-E770-FC1D-6C7A-2A04EDFB5784}" created="2024-11-21T20:08:59.233">
    <pc:sldMkLst xmlns:pc="http://schemas.microsoft.com/office/powerpoint/2013/main/command">
      <pc:docMk/>
      <pc:sldMk cId="1196253399" sldId="360"/>
    </pc:sldMkLst>
    <p188:txBody>
      <a:bodyPr/>
      <a:lstStyle/>
      <a:p>
        <a:r>
          <a:rPr lang="en-US"/>
          <a:t>Graydon to present</a:t>
        </a:r>
      </a:p>
    </p188:txBody>
  </p188:cm>
</p188:cmLst>
</file>

<file path=ppt/comments/modernComment_1AB_1BBF689C.xml><?xml version="1.0" encoding="utf-8"?>
<p188:cmLst xmlns:a="http://schemas.openxmlformats.org/drawingml/2006/main" xmlns:r="http://schemas.openxmlformats.org/officeDocument/2006/relationships" xmlns:p188="http://schemas.microsoft.com/office/powerpoint/2018/8/main">
  <p188:cm id="{769EE8F7-14EB-44B4-8BB0-CB71A56573ED}" authorId="{310A0FF1-E770-FC1D-6C7A-2A04EDFB5784}" created="2024-11-21T20:14:28.664">
    <pc:sldMkLst xmlns:pc="http://schemas.microsoft.com/office/powerpoint/2013/main/command">
      <pc:docMk/>
      <pc:sldMk cId="465528988" sldId="427"/>
    </pc:sldMkLst>
    <p188:txBody>
      <a:bodyPr/>
      <a:lstStyle/>
      <a:p>
        <a:r>
          <a:rPr lang="en-US"/>
          <a:t>Graydon to present</a:t>
        </a:r>
      </a:p>
    </p188:txBody>
  </p188:cm>
</p188:cmLst>
</file>

<file path=ppt/comments/modernComment_1AC_8F461FB6.xml><?xml version="1.0" encoding="utf-8"?>
<p188:cmLst xmlns:a="http://schemas.openxmlformats.org/drawingml/2006/main" xmlns:r="http://schemas.openxmlformats.org/officeDocument/2006/relationships" xmlns:p188="http://schemas.microsoft.com/office/powerpoint/2018/8/main">
  <p188:cm id="{9B330BAC-9BE9-4705-855E-A2B2E72B19B2}" authorId="{310A0FF1-E770-FC1D-6C7A-2A04EDFB5784}" created="2024-11-21T20:16:58.830">
    <pc:sldMkLst xmlns:pc="http://schemas.microsoft.com/office/powerpoint/2013/main/command">
      <pc:docMk/>
      <pc:sldMk cId="2403737526" sldId="428"/>
    </pc:sldMkLst>
    <p188:txBody>
      <a:bodyPr/>
      <a:lstStyle/>
      <a:p>
        <a:r>
          <a:rPr lang="en-US"/>
          <a:t>Traci to present</a:t>
        </a:r>
      </a:p>
    </p188:txBody>
  </p188:cm>
</p188:cmLst>
</file>

<file path=ppt/comments/modernComment_1AD_C0A163F8.xml><?xml version="1.0" encoding="utf-8"?>
<p188:cmLst xmlns:a="http://schemas.openxmlformats.org/drawingml/2006/main" xmlns:r="http://schemas.openxmlformats.org/officeDocument/2006/relationships" xmlns:p188="http://schemas.microsoft.com/office/powerpoint/2018/8/main">
  <p188:cm id="{F43F0022-07D9-42F2-8D8F-E0370E67F1E6}" authorId="{310A0FF1-E770-FC1D-6C7A-2A04EDFB5784}" created="2024-11-21T20:17:39.515">
    <pc:sldMkLst xmlns:pc="http://schemas.microsoft.com/office/powerpoint/2013/main/command">
      <pc:docMk/>
      <pc:sldMk cId="3231802360" sldId="429"/>
    </pc:sldMkLst>
    <p188:txBody>
      <a:bodyPr/>
      <a:lstStyle/>
      <a:p>
        <a:r>
          <a:rPr lang="en-US"/>
          <a:t>Wendy and/or Aureon to present</a:t>
        </a:r>
      </a:p>
    </p188:txBody>
  </p188:cm>
</p188:cmLst>
</file>

<file path=ppt/comments/modernComment_1B6_BDAF78BA.xml><?xml version="1.0" encoding="utf-8"?>
<p188:cmLst xmlns:a="http://schemas.openxmlformats.org/drawingml/2006/main" xmlns:r="http://schemas.openxmlformats.org/officeDocument/2006/relationships" xmlns:p188="http://schemas.microsoft.com/office/powerpoint/2018/8/main">
  <p188:cm id="{816A8ECE-FD54-4F9E-9F76-F7AE2E073F6D}" authorId="{310A0FF1-E770-FC1D-6C7A-2A04EDFB5784}" created="2024-11-21T20:12:24.931">
    <pc:sldMkLst xmlns:pc="http://schemas.microsoft.com/office/powerpoint/2013/main/command">
      <pc:docMk/>
      <pc:sldMk cId="3182393530" sldId="438"/>
    </pc:sldMkLst>
    <p188:txBody>
      <a:bodyPr/>
      <a:lstStyle/>
      <a:p>
        <a:r>
          <a:rPr lang="en-US"/>
          <a:t>Traci to present</a:t>
        </a:r>
      </a:p>
    </p188:txBody>
  </p188:cm>
</p188:cmLst>
</file>

<file path=ppt/comments/modernComment_3A0_94AD22AF.xml><?xml version="1.0" encoding="utf-8"?>
<p188:cmLst xmlns:a="http://schemas.openxmlformats.org/drawingml/2006/main" xmlns:r="http://schemas.openxmlformats.org/officeDocument/2006/relationships" xmlns:p188="http://schemas.microsoft.com/office/powerpoint/2018/8/main">
  <p188:cm id="{C6945AAF-19B9-4B44-8739-3FC825606B13}" authorId="{310A0FF1-E770-FC1D-6C7A-2A04EDFB5784}" created="2024-11-21T20:13:18.467">
    <pc:sldMkLst xmlns:pc="http://schemas.microsoft.com/office/powerpoint/2013/main/command">
      <pc:docMk/>
      <pc:sldMk cId="2494374575" sldId="928"/>
    </pc:sldMkLst>
    <p188:txBody>
      <a:bodyPr/>
      <a:lstStyle/>
      <a:p>
        <a:r>
          <a:rPr lang="en-US"/>
          <a:t>LeAnn to present</a:t>
        </a:r>
      </a:p>
    </p188:txBody>
  </p188:cm>
</p188:cmLst>
</file>

<file path=ppt/comments/modernComment_7FFFCA37_23B74910.xml><?xml version="1.0" encoding="utf-8"?>
<p188:cmLst xmlns:a="http://schemas.openxmlformats.org/drawingml/2006/main" xmlns:r="http://schemas.openxmlformats.org/officeDocument/2006/relationships" xmlns:p188="http://schemas.microsoft.com/office/powerpoint/2018/8/main">
  <p188:cm id="{CC6D9EAA-0F4A-46F3-B880-929716649752}" authorId="{310A0FF1-E770-FC1D-6C7A-2A04EDFB5784}" created="2024-11-20T23:27:45.063">
    <pc:sldMkLst xmlns:pc="http://schemas.microsoft.com/office/powerpoint/2013/main/command">
      <pc:docMk/>
      <pc:sldMk cId="599214352" sldId="2147469879"/>
    </pc:sldMkLst>
    <p188:txBody>
      <a:bodyPr/>
      <a:lstStyle/>
      <a:p>
        <a:r>
          <a:rPr lang="en-US"/>
          <a:t>Aureon to present</a:t>
        </a:r>
      </a:p>
    </p188:txBody>
  </p188:cm>
</p188:cmLst>
</file>

<file path=ppt/comments/modernComment_7FFFCAAF_995886DD.xml><?xml version="1.0" encoding="utf-8"?>
<p188:cmLst xmlns:a="http://schemas.openxmlformats.org/drawingml/2006/main" xmlns:r="http://schemas.openxmlformats.org/officeDocument/2006/relationships" xmlns:p188="http://schemas.microsoft.com/office/powerpoint/2018/8/main">
  <p188:cm id="{3A20C37F-AF3A-462C-A0C3-FB424550337F}" authorId="{310A0FF1-E770-FC1D-6C7A-2A04EDFB5784}" created="2024-11-21T20:07:18.697">
    <pc:sldMkLst xmlns:pc="http://schemas.microsoft.com/office/powerpoint/2013/main/command">
      <pc:docMk/>
      <pc:sldMk cId="2572715741" sldId="2147469999"/>
    </pc:sldMkLst>
    <p188:txBody>
      <a:bodyPr/>
      <a:lstStyle/>
      <a:p>
        <a:r>
          <a:rPr lang="en-US"/>
          <a:t>Traci to present</a:t>
        </a:r>
      </a:p>
    </p188:txBody>
  </p188:cm>
</p188:cmLst>
</file>

<file path=ppt/comments/modernComment_7FFFFEF8_0.xml><?xml version="1.0" encoding="utf-8"?>
<p188:cmLst xmlns:a="http://schemas.openxmlformats.org/drawingml/2006/main" xmlns:r="http://schemas.openxmlformats.org/officeDocument/2006/relationships" xmlns:p188="http://schemas.microsoft.com/office/powerpoint/2018/8/main">
  <p188:cm id="{358DE6E9-0632-44F0-9F67-617DCAE14E7F}" authorId="{310A0FF1-E770-FC1D-6C7A-2A04EDFB5784}" created="2024-11-21T20:13:32.139">
    <pc:sldMkLst xmlns:pc="http://schemas.microsoft.com/office/powerpoint/2013/main/command">
      <pc:docMk/>
      <pc:sldMk cId="0" sldId="2147483384"/>
    </pc:sldMkLst>
    <p188:txBody>
      <a:bodyPr/>
      <a:lstStyle/>
      <a:p>
        <a:r>
          <a:rPr lang="en-US"/>
          <a:t>Jay to present</a:t>
        </a:r>
      </a:p>
    </p188:txBody>
  </p188:cm>
</p188:cmLst>
</file>

<file path=ppt/comments/modernComment_7FFFFEF9_AB43E293.xml><?xml version="1.0" encoding="utf-8"?>
<p188:cmLst xmlns:a="http://schemas.openxmlformats.org/drawingml/2006/main" xmlns:r="http://schemas.openxmlformats.org/officeDocument/2006/relationships" xmlns:p188="http://schemas.microsoft.com/office/powerpoint/2018/8/main">
  <p188:cm id="{DC2E278C-34BF-4CC6-8447-B76DBF54F8D2}" authorId="{310A0FF1-E770-FC1D-6C7A-2A04EDFB5784}" created="2024-11-21T20:13:04.403">
    <pc:sldMkLst xmlns:pc="http://schemas.microsoft.com/office/powerpoint/2013/main/command">
      <pc:docMk/>
      <pc:sldMk cId="2873352851" sldId="2147483385"/>
    </pc:sldMkLst>
    <p188:txBody>
      <a:bodyPr/>
      <a:lstStyle/>
      <a:p>
        <a:r>
          <a:rPr lang="en-US"/>
          <a:t>Dashaun and Devin to presen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4143588" y="0"/>
            <a:ext cx="3169920" cy="481728"/>
          </a:xfrm>
          <a:prstGeom prst="rect">
            <a:avLst/>
          </a:prstGeom>
        </p:spPr>
        <p:txBody>
          <a:bodyPr vert="horz" lIns="91440" tIns="45720" rIns="91440" bIns="45720" rtlCol="0"/>
          <a:lstStyle>
            <a:lvl1pPr algn="r">
              <a:defRPr sz="1200"/>
            </a:lvl1pPr>
          </a:lstStyle>
          <a:p>
            <a:fld id="{52BFA14D-54A2-4187-A846-DF8E4A034F6C}" type="datetimeFigureOut">
              <a:rPr lang="en-GB" smtClean="0"/>
              <a:t>21/11/2025</a:t>
            </a:fld>
            <a:endParaRPr lang="en-GB"/>
          </a:p>
        </p:txBody>
      </p:sp>
      <p:sp>
        <p:nvSpPr>
          <p:cNvPr id="4" name="Footer Placeholder 3"/>
          <p:cNvSpPr>
            <a:spLocks noGrp="1"/>
          </p:cNvSpPr>
          <p:nvPr>
            <p:ph type="ftr" sz="quarter" idx="2"/>
          </p:nvPr>
        </p:nvSpPr>
        <p:spPr>
          <a:xfrm>
            <a:off x="0" y="9119475"/>
            <a:ext cx="3169920" cy="48172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4143588" y="9119475"/>
            <a:ext cx="3169920" cy="481727"/>
          </a:xfrm>
          <a:prstGeom prst="rect">
            <a:avLst/>
          </a:prstGeom>
        </p:spPr>
        <p:txBody>
          <a:bodyPr vert="horz" lIns="91440" tIns="45720" rIns="91440" bIns="45720" rtlCol="0" anchor="b"/>
          <a:lstStyle>
            <a:lvl1pPr algn="r">
              <a:defRPr sz="1200"/>
            </a:lvl1pPr>
          </a:lstStyle>
          <a:p>
            <a:fld id="{CA8BDCBC-A4FF-45D3-981C-561BCB959359}" type="slidenum">
              <a:rPr lang="en-GB" smtClean="0"/>
              <a:t>‹#›</a:t>
            </a:fld>
            <a:endParaRPr lang="en-GB"/>
          </a:p>
        </p:txBody>
      </p:sp>
    </p:spTree>
    <p:extLst>
      <p:ext uri="{BB962C8B-B14F-4D97-AF65-F5344CB8AC3E}">
        <p14:creationId xmlns:p14="http://schemas.microsoft.com/office/powerpoint/2010/main" val="9916632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588" y="0"/>
            <a:ext cx="3169920" cy="480060"/>
          </a:xfrm>
          <a:prstGeom prst="rect">
            <a:avLst/>
          </a:prstGeom>
        </p:spPr>
        <p:txBody>
          <a:bodyPr vert="horz" lIns="91440" tIns="45720" rIns="91440" bIns="45720" rtlCol="0"/>
          <a:lstStyle>
            <a:lvl1pPr algn="r">
              <a:defRPr sz="1200"/>
            </a:lvl1pPr>
          </a:lstStyle>
          <a:p>
            <a:fld id="{769BB741-F384-4D32-B9CF-4DDB67ADA8C8}" type="datetimeFigureOut">
              <a:rPr lang="en-GB" smtClean="0"/>
              <a:t>21/11/2025</a:t>
            </a:fld>
            <a:endParaRPr lang="en-GB"/>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521" y="4560570"/>
            <a:ext cx="5852160" cy="432054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3"/>
            <a:ext cx="3169920" cy="48006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588" y="9119473"/>
            <a:ext cx="3169920" cy="480060"/>
          </a:xfrm>
          <a:prstGeom prst="rect">
            <a:avLst/>
          </a:prstGeom>
        </p:spPr>
        <p:txBody>
          <a:bodyPr vert="horz" lIns="91440" tIns="45720" rIns="91440" bIns="45720" rtlCol="0" anchor="b"/>
          <a:lstStyle>
            <a:lvl1pPr algn="r">
              <a:defRPr sz="1200"/>
            </a:lvl1pPr>
          </a:lstStyle>
          <a:p>
            <a:fld id="{6F740980-25A4-4896-BDE4-3BB2753A65B5}" type="slidenum">
              <a:rPr lang="en-GB" smtClean="0"/>
              <a:t>‹#›</a:t>
            </a:fld>
            <a:endParaRPr lang="en-GB"/>
          </a:p>
        </p:txBody>
      </p:sp>
    </p:spTree>
    <p:extLst>
      <p:ext uri="{BB962C8B-B14F-4D97-AF65-F5344CB8AC3E}">
        <p14:creationId xmlns:p14="http://schemas.microsoft.com/office/powerpoint/2010/main" val="3179917932"/>
      </p:ext>
    </p:extLst>
  </p:cSld>
  <p:clrMap bg1="lt1" tx1="dk1" bg2="lt2" tx2="dk2" accent1="accent1" accent2="accent2" accent3="accent3" accent4="accent4" accent5="accent5" accent6="accent6" hlink="hlink" folHlink="folHlink"/>
  <p:notesStyle>
    <a:lvl1pPr marL="0" algn="l" defTabSz="954092" rtl="0" eaLnBrk="1" latinLnBrk="0" hangingPunct="1">
      <a:defRPr sz="1200" kern="1200">
        <a:solidFill>
          <a:schemeClr val="tx1"/>
        </a:solidFill>
        <a:latin typeface="+mn-lt"/>
        <a:ea typeface="+mn-ea"/>
        <a:cs typeface="+mn-cs"/>
      </a:defRPr>
    </a:lvl1pPr>
    <a:lvl2pPr marL="477047" algn="l" defTabSz="954092" rtl="0" eaLnBrk="1" latinLnBrk="0" hangingPunct="1">
      <a:defRPr sz="1200" kern="1200">
        <a:solidFill>
          <a:schemeClr val="tx1"/>
        </a:solidFill>
        <a:latin typeface="+mn-lt"/>
        <a:ea typeface="+mn-ea"/>
        <a:cs typeface="+mn-cs"/>
      </a:defRPr>
    </a:lvl2pPr>
    <a:lvl3pPr marL="954092" algn="l" defTabSz="954092" rtl="0" eaLnBrk="1" latinLnBrk="0" hangingPunct="1">
      <a:defRPr sz="1200" kern="1200">
        <a:solidFill>
          <a:schemeClr val="tx1"/>
        </a:solidFill>
        <a:latin typeface="+mn-lt"/>
        <a:ea typeface="+mn-ea"/>
        <a:cs typeface="+mn-cs"/>
      </a:defRPr>
    </a:lvl3pPr>
    <a:lvl4pPr marL="1431138" algn="l" defTabSz="954092" rtl="0" eaLnBrk="1" latinLnBrk="0" hangingPunct="1">
      <a:defRPr sz="1200" kern="1200">
        <a:solidFill>
          <a:schemeClr val="tx1"/>
        </a:solidFill>
        <a:latin typeface="+mn-lt"/>
        <a:ea typeface="+mn-ea"/>
        <a:cs typeface="+mn-cs"/>
      </a:defRPr>
    </a:lvl4pPr>
    <a:lvl5pPr marL="1908184" algn="l" defTabSz="954092" rtl="0" eaLnBrk="1" latinLnBrk="0" hangingPunct="1">
      <a:defRPr sz="1200" kern="1200">
        <a:solidFill>
          <a:schemeClr val="tx1"/>
        </a:solidFill>
        <a:latin typeface="+mn-lt"/>
        <a:ea typeface="+mn-ea"/>
        <a:cs typeface="+mn-cs"/>
      </a:defRPr>
    </a:lvl5pPr>
    <a:lvl6pPr marL="2385230" algn="l" defTabSz="954092" rtl="0" eaLnBrk="1" latinLnBrk="0" hangingPunct="1">
      <a:defRPr sz="1200" kern="1200">
        <a:solidFill>
          <a:schemeClr val="tx1"/>
        </a:solidFill>
        <a:latin typeface="+mn-lt"/>
        <a:ea typeface="+mn-ea"/>
        <a:cs typeface="+mn-cs"/>
      </a:defRPr>
    </a:lvl6pPr>
    <a:lvl7pPr marL="2862276" algn="l" defTabSz="954092" rtl="0" eaLnBrk="1" latinLnBrk="0" hangingPunct="1">
      <a:defRPr sz="1200" kern="1200">
        <a:solidFill>
          <a:schemeClr val="tx1"/>
        </a:solidFill>
        <a:latin typeface="+mn-lt"/>
        <a:ea typeface="+mn-ea"/>
        <a:cs typeface="+mn-cs"/>
      </a:defRPr>
    </a:lvl7pPr>
    <a:lvl8pPr marL="3339322" algn="l" defTabSz="954092" rtl="0" eaLnBrk="1" latinLnBrk="0" hangingPunct="1">
      <a:defRPr sz="1200" kern="1200">
        <a:solidFill>
          <a:schemeClr val="tx1"/>
        </a:solidFill>
        <a:latin typeface="+mn-lt"/>
        <a:ea typeface="+mn-ea"/>
        <a:cs typeface="+mn-cs"/>
      </a:defRPr>
    </a:lvl8pPr>
    <a:lvl9pPr marL="3816367" algn="l" defTabSz="9540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ANNE Welcome to our ERP Readiness Open House. We appreciate that you made the time to join us this afternoon. </a:t>
            </a:r>
            <a:r>
              <a:rPr lang="en-US" b="0" i="0">
                <a:solidFill>
                  <a:srgbClr val="0D0D0D"/>
                </a:solidFill>
                <a:effectLst/>
                <a:latin typeface="Söhne"/>
              </a:rPr>
              <a:t>As leaders in your respective industries, you understand the importance of staying ahead in a rapidly evolving business landscape. Today's event is designed to help you do just that by exploring the critical aspects of ERP readiness. We're here to provide you with valuable insights, practical strategies, and the opportunity to network with peers who are on a similar journey. </a:t>
            </a:r>
            <a:r>
              <a:rPr lang="en-US"/>
              <a:t>We are excited to dig into key considerations and activities that you can do to prepare your business for an ERP implementation.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BFFC86-8DCC-4AEB-B1A3-767D57D6E41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9408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740980-25A4-4896-BDE4-3BB2753A65B5}" type="slidenum">
              <a:rPr lang="en-GB" smtClean="0"/>
              <a:t>20</a:t>
            </a:fld>
            <a:endParaRPr lang="en-GB"/>
          </a:p>
        </p:txBody>
      </p:sp>
    </p:spTree>
    <p:extLst>
      <p:ext uri="{BB962C8B-B14F-4D97-AF65-F5344CB8AC3E}">
        <p14:creationId xmlns:p14="http://schemas.microsoft.com/office/powerpoint/2010/main" val="28158781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Business-Focused Technology Talking Points</a:t>
            </a:r>
          </a:p>
          <a:p>
            <a:endParaRPr lang="en-US" b="1"/>
          </a:p>
          <a:p>
            <a:r>
              <a:rPr lang="en-US" b="1"/>
              <a:t>1. Aligning Technology to Business Goals</a:t>
            </a:r>
            <a:endParaRPr lang="en-US"/>
          </a:p>
          <a:p>
            <a:r>
              <a:rPr lang="en-US"/>
              <a:t>Focus on how the business operates today and how technology can enable growth, efficiency, and better decision-making.</a:t>
            </a:r>
          </a:p>
          <a:p>
            <a:r>
              <a:rPr lang="en-US"/>
              <a:t>Ensure that tech investments directly support core goals like improving customer experience, increasing revenue, and enhancing productivity.</a:t>
            </a:r>
          </a:p>
          <a:p>
            <a:r>
              <a:rPr lang="en-US" b="1"/>
              <a:t>2. Key Business Questions Technology Can Help Address</a:t>
            </a:r>
            <a:endParaRPr lang="en-US"/>
          </a:p>
          <a:p>
            <a:r>
              <a:rPr lang="en-US" b="1"/>
              <a:t>Brand Awareness:</a:t>
            </a:r>
            <a:endParaRPr lang="en-US"/>
          </a:p>
          <a:p>
            <a:pPr lvl="1"/>
            <a:r>
              <a:rPr lang="en-US"/>
              <a:t>How can technology expand our presence in existing markets?</a:t>
            </a:r>
          </a:p>
          <a:p>
            <a:pPr lvl="1"/>
            <a:r>
              <a:rPr lang="en-US"/>
              <a:t>Are we leveraging digital marketing tools, analytics, and customer data effectively?</a:t>
            </a:r>
          </a:p>
          <a:p>
            <a:r>
              <a:rPr lang="en-US" b="1"/>
              <a:t>Operational Efficiency:</a:t>
            </a:r>
            <a:endParaRPr lang="en-US"/>
          </a:p>
          <a:p>
            <a:pPr lvl="1"/>
            <a:r>
              <a:rPr lang="en-US"/>
              <a:t>How can we streamline processes like expense report handling?</a:t>
            </a:r>
          </a:p>
          <a:p>
            <a:pPr lvl="1"/>
            <a:r>
              <a:rPr lang="en-US"/>
              <a:t>Can automation or workflow tools reduce bottlenecks and manual work?</a:t>
            </a:r>
          </a:p>
          <a:p>
            <a:r>
              <a:rPr lang="en-US" b="1"/>
              <a:t>Sales &amp; Market Insights:</a:t>
            </a:r>
            <a:endParaRPr lang="en-US"/>
          </a:p>
          <a:p>
            <a:pPr lvl="1"/>
            <a:r>
              <a:rPr lang="en-US"/>
              <a:t>How can we better identify emerging trends in sales?</a:t>
            </a:r>
          </a:p>
          <a:p>
            <a:pPr lvl="1"/>
            <a:r>
              <a:rPr lang="en-US"/>
              <a:t>Are our reporting tools, dashboards, and data models enabling timely decisions?</a:t>
            </a:r>
          </a:p>
          <a:p>
            <a:r>
              <a:rPr lang="en-US" b="1"/>
              <a:t>3. Foundational Support: People, Process, and Systems</a:t>
            </a:r>
          </a:p>
          <a:p>
            <a:endParaRPr lang="en-US"/>
          </a:p>
          <a:p>
            <a:r>
              <a:rPr lang="en-US"/>
              <a:t>Technology success depends on strong underlying support. Consider the following pillars:</a:t>
            </a:r>
          </a:p>
          <a:p>
            <a:r>
              <a:rPr lang="en-US" b="1"/>
              <a:t>Network &amp; Infrastructure</a:t>
            </a:r>
            <a:endParaRPr lang="en-US"/>
          </a:p>
          <a:p>
            <a:pPr lvl="1"/>
            <a:r>
              <a:rPr lang="en-US"/>
              <a:t>Ensures secure, reliable connectivity and supports business-critical applications.</a:t>
            </a:r>
          </a:p>
          <a:p>
            <a:r>
              <a:rPr lang="en-US" b="1"/>
              <a:t>Software &amp; Applications</a:t>
            </a:r>
            <a:endParaRPr lang="en-US"/>
          </a:p>
          <a:p>
            <a:pPr lvl="1"/>
            <a:r>
              <a:rPr lang="en-US"/>
              <a:t>Provides the tools teams rely on daily; must be maintained, updated, and aligned with business needs.</a:t>
            </a:r>
          </a:p>
          <a:p>
            <a:r>
              <a:rPr lang="en-US" b="1"/>
              <a:t>Help Desk / Support Services</a:t>
            </a:r>
            <a:endParaRPr lang="en-US"/>
          </a:p>
          <a:p>
            <a:pPr lvl="1"/>
            <a:r>
              <a:rPr lang="en-US"/>
              <a:t>Ensures employees have quick resolutions to issues so productivity isn’t impacted.</a:t>
            </a:r>
          </a:p>
          <a:p>
            <a:r>
              <a:rPr lang="en-US" b="1"/>
              <a:t>Databases &amp; Data Management</a:t>
            </a:r>
            <a:endParaRPr lang="en-US"/>
          </a:p>
          <a:p>
            <a:pPr lvl="1"/>
            <a:r>
              <a:rPr lang="en-US"/>
              <a:t>Supports reporting, compliance, analytics, and informed decision-making.</a:t>
            </a:r>
          </a:p>
          <a:p>
            <a:r>
              <a:rPr lang="en-US" b="1"/>
              <a:t>Telephony / Communication Systems</a:t>
            </a:r>
            <a:endParaRPr lang="en-US"/>
          </a:p>
          <a:p>
            <a:pPr lvl="1"/>
            <a:r>
              <a:rPr lang="en-US"/>
              <a:t>Enables internal and client communication, collaboration, and responsiveness.</a:t>
            </a:r>
          </a:p>
          <a:p>
            <a:endParaRPr lang="en-US"/>
          </a:p>
        </p:txBody>
      </p:sp>
      <p:sp>
        <p:nvSpPr>
          <p:cNvPr id="4" name="Slide Number Placeholder 3"/>
          <p:cNvSpPr>
            <a:spLocks noGrp="1"/>
          </p:cNvSpPr>
          <p:nvPr>
            <p:ph type="sldNum" sz="quarter" idx="5"/>
          </p:nvPr>
        </p:nvSpPr>
        <p:spPr/>
        <p:txBody>
          <a:bodyPr/>
          <a:lstStyle/>
          <a:p>
            <a:fld id="{6F740980-25A4-4896-BDE4-3BB2753A65B5}" type="slidenum">
              <a:rPr lang="en-GB" smtClean="0"/>
              <a:t>31</a:t>
            </a:fld>
            <a:endParaRPr lang="en-GB"/>
          </a:p>
        </p:txBody>
      </p:sp>
    </p:spTree>
    <p:extLst>
      <p:ext uri="{BB962C8B-B14F-4D97-AF65-F5344CB8AC3E}">
        <p14:creationId xmlns:p14="http://schemas.microsoft.com/office/powerpoint/2010/main" val="4159722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Speaker Notes: Azure Migration — Key Triggers &amp; Drivers</a:t>
            </a:r>
          </a:p>
          <a:p>
            <a:r>
              <a:rPr lang="en-US" sz="1800"/>
              <a:t>This slide highlights the key pressures, motivations, and challenges driving higher education institutions to move to Azure – It outlines both strategic and operational reasons for migration.</a:t>
            </a:r>
          </a:p>
          <a:p>
            <a:endParaRPr lang="en-US" sz="1800"/>
          </a:p>
          <a:p>
            <a:r>
              <a:rPr lang="en-US" sz="1800"/>
              <a:t>Let’s start at the top with Leadership Mandate for Digital Transformation:</a:t>
            </a:r>
          </a:p>
          <a:p>
            <a:br>
              <a:rPr lang="en-US" sz="1800"/>
            </a:br>
            <a:r>
              <a:rPr lang="en-US" sz="1800" b="1"/>
              <a:t>Leadership mandates</a:t>
            </a:r>
            <a:r>
              <a:rPr lang="en-US" sz="1800"/>
              <a:t> are playing a major role. </a:t>
            </a:r>
          </a:p>
          <a:p>
            <a:pPr marL="285750" indent="-285750">
              <a:buFont typeface="Arial" panose="020B0604020202020204" pitchFamily="34" charset="0"/>
              <a:buChar char="•"/>
            </a:pPr>
            <a:r>
              <a:rPr lang="en-US" sz="1800"/>
              <a:t>Presidents, provosts, and boards are prioritizing modernization to improve institutional competitiveness. </a:t>
            </a:r>
          </a:p>
          <a:p>
            <a:pPr marL="285750" indent="-285750">
              <a:buFont typeface="Arial" panose="020B0604020202020204" pitchFamily="34" charset="0"/>
              <a:buChar char="•"/>
            </a:pPr>
            <a:r>
              <a:rPr lang="en-US" sz="1800"/>
              <a:t>Cloud migration is not just a technical initiative — it’s part of the broader digital transformation strategy that supports academic excellence and operational sustainability.</a:t>
            </a:r>
          </a:p>
          <a:p>
            <a:endParaRPr lang="en-US" sz="1800"/>
          </a:p>
          <a:p>
            <a:r>
              <a:rPr lang="en-US" sz="1800"/>
              <a:t>Next, we have </a:t>
            </a:r>
            <a:r>
              <a:rPr lang="en-US" sz="1800" b="1"/>
              <a:t>cybersecurity threats</a:t>
            </a:r>
            <a:r>
              <a:rPr lang="en-US" sz="1800"/>
              <a:t>. </a:t>
            </a:r>
          </a:p>
          <a:p>
            <a:pPr marL="285750" indent="-285750">
              <a:buFont typeface="Arial" panose="020B0604020202020204" pitchFamily="34" charset="0"/>
              <a:buChar char="•"/>
            </a:pPr>
            <a:r>
              <a:rPr lang="en-US" sz="1800"/>
              <a:t>Education remains a top target for ransomware and data breaches. </a:t>
            </a:r>
          </a:p>
          <a:p>
            <a:pPr marL="285750" indent="-285750">
              <a:buFont typeface="Arial" panose="020B0604020202020204" pitchFamily="34" charset="0"/>
              <a:buChar char="•"/>
            </a:pPr>
            <a:r>
              <a:rPr lang="en-US" sz="1800"/>
              <a:t>Azure’s Zero Trust architecture and advanced threat protection help institutions strengthen their security posture and protect student and research data.</a:t>
            </a:r>
          </a:p>
          <a:p>
            <a:endParaRPr lang="en-US" sz="1800"/>
          </a:p>
          <a:p>
            <a:r>
              <a:rPr lang="en-US" sz="1800" b="1"/>
              <a:t>Budget constraints and cost volatility</a:t>
            </a:r>
            <a:r>
              <a:rPr lang="en-US" sz="1800"/>
              <a:t> are also major drivers. </a:t>
            </a:r>
          </a:p>
          <a:p>
            <a:pPr marL="285750" indent="-285750">
              <a:buFont typeface="Arial" panose="020B0604020202020204" pitchFamily="34" charset="0"/>
              <a:buChar char="•"/>
            </a:pPr>
            <a:r>
              <a:rPr lang="en-US" sz="1800"/>
              <a:t>Many schools face shrinking budgets and unpredictable IT costs. </a:t>
            </a:r>
          </a:p>
          <a:p>
            <a:pPr marL="285750" indent="-285750">
              <a:buFont typeface="Arial" panose="020B0604020202020204" pitchFamily="34" charset="0"/>
              <a:buChar char="•"/>
            </a:pPr>
            <a:r>
              <a:rPr lang="en-US" sz="1800"/>
              <a:t>By moving to Azure, institutions shift from large capital investments to a more predictable operational expense model.</a:t>
            </a:r>
          </a:p>
          <a:p>
            <a:endParaRPr lang="en-US" sz="1800"/>
          </a:p>
          <a:p>
            <a:r>
              <a:rPr lang="en-US" sz="1800" b="1"/>
              <a:t>Aging on-premises infrastructure</a:t>
            </a:r>
            <a:r>
              <a:rPr lang="en-US" sz="1800"/>
              <a:t> adds further pressure. </a:t>
            </a:r>
          </a:p>
          <a:p>
            <a:r>
              <a:rPr lang="en-US" sz="1800"/>
              <a:t>Legacy data centers are expensive to maintain and lack scalability. </a:t>
            </a:r>
          </a:p>
          <a:p>
            <a:r>
              <a:rPr lang="en-US" sz="1800"/>
              <a:t>Azure offers a way to modernize infrastructure, reduce technical debt, and improve performance without major reinvestment in hardware.</a:t>
            </a:r>
          </a:p>
          <a:p>
            <a:endParaRPr lang="en-US" sz="1800"/>
          </a:p>
          <a:p>
            <a:r>
              <a:rPr lang="en-US" sz="1800" b="1"/>
              <a:t>Vendor and market shifts</a:t>
            </a:r>
            <a:r>
              <a:rPr lang="en-US" sz="1800"/>
              <a:t> — like the VMware–Broadcom changes — are accelerating cloud adoption. </a:t>
            </a:r>
          </a:p>
          <a:p>
            <a:pPr marL="285750" indent="-285750">
              <a:buFont typeface="Arial" panose="020B0604020202020204" pitchFamily="34" charset="0"/>
              <a:buChar char="•"/>
            </a:pPr>
            <a:r>
              <a:rPr lang="en-US" sz="1800"/>
              <a:t>Institutions are re-evaluating traditional platforms and finding Azure to be a stable, future-ready environment for their workloads.</a:t>
            </a:r>
          </a:p>
          <a:p>
            <a:endParaRPr lang="en-US" sz="1800"/>
          </a:p>
          <a:p>
            <a:r>
              <a:rPr lang="en-US" sz="1800" b="1"/>
              <a:t>Compliance and governance requirements</a:t>
            </a:r>
            <a:r>
              <a:rPr lang="en-US" sz="1800"/>
              <a:t> are increasingly complex. </a:t>
            </a:r>
          </a:p>
          <a:p>
            <a:pPr marL="285750" indent="-285750">
              <a:buFont typeface="Arial" panose="020B0604020202020204" pitchFamily="34" charset="0"/>
              <a:buChar char="•"/>
            </a:pPr>
            <a:r>
              <a:rPr lang="en-US" sz="1800"/>
              <a:t>With FERPA, HIPAA, and research funding mandates, Azure provides built-in compliance frameworks and centralized policy management to ensure accountability and transparency.</a:t>
            </a:r>
          </a:p>
          <a:p>
            <a:endParaRPr lang="en-US" sz="1800"/>
          </a:p>
          <a:p>
            <a:r>
              <a:rPr lang="en-US" sz="1800"/>
              <a:t>And finally, </a:t>
            </a:r>
            <a:r>
              <a:rPr lang="en-US" sz="1800" b="1"/>
              <a:t>disaster recovery gaps</a:t>
            </a:r>
            <a:r>
              <a:rPr lang="en-US" sz="1800"/>
              <a:t> are a key operational risk. </a:t>
            </a:r>
          </a:p>
          <a:p>
            <a:pPr marL="285750" indent="-285750">
              <a:buFont typeface="Arial" panose="020B0604020202020204" pitchFamily="34" charset="0"/>
              <a:buChar char="•"/>
            </a:pPr>
            <a:r>
              <a:rPr lang="en-US" sz="1800"/>
              <a:t>Traditional DR solutions are expensive and often unreliable. </a:t>
            </a:r>
          </a:p>
          <a:p>
            <a:pPr marL="285750" indent="-285750">
              <a:buFont typeface="Arial" panose="020B0604020202020204" pitchFamily="34" charset="0"/>
              <a:buChar char="•"/>
            </a:pPr>
            <a:r>
              <a:rPr lang="en-US" sz="1800"/>
              <a:t>Azure provides an affordable, automated, and tested way to ensure business continuity — keeping academic and research operations running through disruptions.</a:t>
            </a:r>
          </a:p>
          <a:p>
            <a:endParaRPr lang="en-US" sz="1800"/>
          </a:p>
          <a:p>
            <a:r>
              <a:rPr lang="en-US" sz="1800" b="1"/>
              <a:t>In summary</a:t>
            </a:r>
            <a:r>
              <a:rPr lang="en-US" sz="1800"/>
              <a:t>, </a:t>
            </a:r>
          </a:p>
          <a:p>
            <a:pPr marL="285750" indent="-285750">
              <a:buFont typeface="Arial" panose="020B0604020202020204" pitchFamily="34" charset="0"/>
              <a:buChar char="•"/>
            </a:pPr>
            <a:r>
              <a:rPr lang="en-US" sz="1800"/>
              <a:t>The move to Azure is not just about technology; </a:t>
            </a:r>
          </a:p>
          <a:p>
            <a:pPr marL="285750" indent="-285750">
              <a:buFont typeface="Arial" panose="020B0604020202020204" pitchFamily="34" charset="0"/>
              <a:buChar char="•"/>
            </a:pPr>
            <a:r>
              <a:rPr lang="en-US" sz="1800"/>
              <a:t>it’s about institutional resilience, financial sustainability, and protecting the mission of education.</a:t>
            </a:r>
            <a:r>
              <a:rPr lang="en-US" i="1"/>
              <a:t>In short:</a:t>
            </a:r>
            <a:r>
              <a:rPr lang="en-US"/>
              <a:t> Drivers are the </a:t>
            </a:r>
            <a:r>
              <a:rPr lang="en-US" i="1"/>
              <a:t>external or internal forces</a:t>
            </a:r>
            <a:r>
              <a:rPr lang="en-US"/>
              <a:t> making “status quo” unsustainable.</a:t>
            </a:r>
          </a:p>
          <a:p>
            <a:endParaRPr lang="en-US"/>
          </a:p>
        </p:txBody>
      </p:sp>
      <p:sp>
        <p:nvSpPr>
          <p:cNvPr id="4" name="Slide Number Placeholder 3"/>
          <p:cNvSpPr>
            <a:spLocks noGrp="1"/>
          </p:cNvSpPr>
          <p:nvPr>
            <p:ph type="sldNum" sz="quarter" idx="5"/>
          </p:nvPr>
        </p:nvSpPr>
        <p:spPr/>
        <p:txBody>
          <a:bodyPr/>
          <a:lstStyle/>
          <a:p>
            <a:fld id="{3A4EE016-BB2A-4056-AAED-A5E948B0F48E}" type="slidenum">
              <a:rPr lang="en-US" smtClean="0"/>
              <a:t>32</a:t>
            </a:fld>
            <a:endParaRPr lang="en-US"/>
          </a:p>
        </p:txBody>
      </p:sp>
    </p:spTree>
    <p:extLst>
      <p:ext uri="{BB962C8B-B14F-4D97-AF65-F5344CB8AC3E}">
        <p14:creationId xmlns:p14="http://schemas.microsoft.com/office/powerpoint/2010/main" val="163270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va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DF661-5A09-4F20-9510-10F4C68012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3714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Speaker Notes: Azure Migration — Key Benefits &amp; Outcom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zure empowers institutions to improve educational outcomes, s</a:t>
            </a:r>
            <a:r>
              <a:rPr lang="en-US"/>
              <a:t>cale intelligently, strengthen security, protect data, reduce cost, spend wisely, innovate continuously, improve resilience, p</a:t>
            </a:r>
            <a:r>
              <a:rPr lang="en-US" b="1"/>
              <a:t>repare effectively for disaster - </a:t>
            </a:r>
            <a:r>
              <a:rPr lang="en-US"/>
              <a:t>and </a:t>
            </a:r>
            <a:r>
              <a:rPr lang="en-US" b="1"/>
              <a:t>empower faculty, staff, and students</a:t>
            </a:r>
            <a:r>
              <a:rPr lang="en-US"/>
              <a:t> to focus on what matters most —learning, research, and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slide outlines the tangible benefits that higher education institutions gain from migrating to Azure — focusing on how cloud transformation directly supports academic, operational, and financial goals.</a:t>
            </a:r>
          </a:p>
          <a:p>
            <a:endParaRPr lang="en-US"/>
          </a:p>
          <a:p>
            <a:endParaRPr lang="en-US"/>
          </a:p>
          <a:p>
            <a:endParaRPr lang="en-US"/>
          </a:p>
          <a:p>
            <a:r>
              <a:rPr lang="en-US" b="1"/>
              <a:t>Speaker Notes (Condensed)</a:t>
            </a:r>
          </a:p>
          <a:p>
            <a:r>
              <a:rPr lang="en-US"/>
              <a:t>This slide highlights how migrating to Azure delivers measurable benefits across academic, operational, and financial dimensions.</a:t>
            </a:r>
          </a:p>
          <a:p>
            <a:endParaRPr lang="en-US"/>
          </a:p>
          <a:p>
            <a:pPr marL="228600" indent="-228600">
              <a:buAutoNum type="arabicPeriod"/>
            </a:pPr>
            <a:r>
              <a:rPr lang="en-US" b="1"/>
              <a:t>Student Experience &amp; Academic Success</a:t>
            </a:r>
            <a:br>
              <a:rPr lang="en-US"/>
            </a:br>
            <a:r>
              <a:rPr lang="en-US"/>
              <a:t>Azure enhances hybrid and flexible learning, enabling access anywhere on any device.</a:t>
            </a:r>
            <a:br>
              <a:rPr lang="en-US"/>
            </a:br>
            <a:r>
              <a:rPr lang="en-US"/>
              <a:t>It promotes digital equity and uses AI-driven insights to identify and support at-risk students, improving retention and outcomes.</a:t>
            </a:r>
          </a:p>
          <a:p>
            <a:pPr marL="0" indent="0">
              <a:buNone/>
            </a:pPr>
            <a:endParaRPr lang="en-US"/>
          </a:p>
          <a:p>
            <a:pPr marL="0" indent="0">
              <a:buFont typeface="Arial" panose="020B0604020202020204" pitchFamily="34" charset="0"/>
              <a:buNone/>
            </a:pPr>
            <a:r>
              <a:rPr lang="en-US" b="1"/>
              <a:t>Security, Privacy &amp; Compliance</a:t>
            </a:r>
          </a:p>
          <a:p>
            <a:pPr marL="171450" indent="-171450">
              <a:buFont typeface="Arial" panose="020B0604020202020204" pitchFamily="34" charset="0"/>
              <a:buChar char="•"/>
            </a:pPr>
            <a:r>
              <a:rPr lang="en-US"/>
              <a:t>Higher education manages sensitive student, financial, and research data.</a:t>
            </a:r>
          </a:p>
          <a:p>
            <a:pPr marL="171450" indent="-171450">
              <a:buFont typeface="Arial" panose="020B0604020202020204" pitchFamily="34" charset="0"/>
              <a:buChar char="•"/>
            </a:pPr>
            <a:r>
              <a:rPr lang="en-US"/>
              <a:t>Azure ensures enterprise-grade security with built-in Zero Trust, and compliance with </a:t>
            </a:r>
            <a:r>
              <a:rPr lang="en-US" b="1"/>
              <a:t>FERPA, HIPAA, and GDPR</a:t>
            </a:r>
            <a:r>
              <a:rPr lang="en-US"/>
              <a:t>.</a:t>
            </a:r>
          </a:p>
          <a:p>
            <a:pPr marL="171450" indent="-171450">
              <a:buFont typeface="Arial" panose="020B0604020202020204" pitchFamily="34" charset="0"/>
              <a:buChar char="•"/>
            </a:pPr>
            <a:r>
              <a:rPr lang="en-US"/>
              <a:t>Centralized identity governance (via </a:t>
            </a:r>
            <a:r>
              <a:rPr lang="en-US" b="1"/>
              <a:t>Entra ID</a:t>
            </a:r>
            <a:r>
              <a:rPr lang="en-US"/>
              <a:t>) strengthens data protection and simplifies auditing.</a:t>
            </a:r>
          </a:p>
          <a:p>
            <a:endParaRPr lang="en-US"/>
          </a:p>
          <a:p>
            <a:r>
              <a:rPr lang="en-US" b="1"/>
              <a:t>3. Agility, Scalability &amp; Resilience</a:t>
            </a:r>
            <a:br>
              <a:rPr lang="en-US"/>
            </a:br>
            <a:r>
              <a:rPr lang="en-US"/>
              <a:t>Azure enables institutions to scale dynamically during enrollment surges or research demands.</a:t>
            </a:r>
            <a:br>
              <a:rPr lang="en-US"/>
            </a:br>
            <a:r>
              <a:rPr lang="en-US"/>
              <a:t>It ensures consistent performance and operational continuity during disruptions — without overpaying for unused capacity.</a:t>
            </a:r>
          </a:p>
          <a:p>
            <a:endParaRPr lang="en-US"/>
          </a:p>
          <a:p>
            <a:r>
              <a:rPr lang="en-US" b="1"/>
              <a:t>4. Disaster Recovery &amp; Business Continuity</a:t>
            </a:r>
            <a:br>
              <a:rPr lang="en-US"/>
            </a:br>
            <a:r>
              <a:rPr lang="en-US"/>
              <a:t>With geo-redundant backups, replication, and automated failover, Azure keeps critical workloads available.</a:t>
            </a:r>
            <a:br>
              <a:rPr lang="en-US"/>
            </a:br>
            <a:r>
              <a:rPr lang="en-US"/>
              <a:t>IT teams can test recovery plans safely while maintaining uninterrupted learning and research.</a:t>
            </a:r>
          </a:p>
          <a:p>
            <a:endParaRPr lang="en-US"/>
          </a:p>
          <a:p>
            <a:r>
              <a:rPr lang="en-US" b="1"/>
              <a:t>5. Innovation &amp; Modernization</a:t>
            </a:r>
            <a:br>
              <a:rPr lang="en-US"/>
            </a:br>
            <a:r>
              <a:rPr lang="en-US" err="1"/>
              <a:t>Modernization</a:t>
            </a:r>
            <a:r>
              <a:rPr lang="en-US"/>
              <a:t> unlocks new capabilities in AI, machine learning, and data analytics.</a:t>
            </a:r>
            <a:br>
              <a:rPr lang="en-US"/>
            </a:br>
            <a:r>
              <a:rPr lang="en-US"/>
              <a:t>Cloud-based HPC and low-code tools empower faster innovation, research collaboration, and institutional planning.</a:t>
            </a:r>
          </a:p>
          <a:p>
            <a:endParaRPr lang="en-US"/>
          </a:p>
          <a:p>
            <a:r>
              <a:rPr lang="en-US" b="1"/>
              <a:t>6. Cost Efficiency &amp; Sustainability</a:t>
            </a:r>
            <a:br>
              <a:rPr lang="en-US"/>
            </a:br>
            <a:r>
              <a:rPr lang="en-US"/>
              <a:t>Azure replaces capital expenses with predictable </a:t>
            </a:r>
            <a:r>
              <a:rPr lang="en-US" err="1"/>
              <a:t>OpEx</a:t>
            </a:r>
            <a:r>
              <a:rPr lang="en-US"/>
              <a:t>, improving cash flow and financial agility.</a:t>
            </a:r>
            <a:br>
              <a:rPr lang="en-US"/>
            </a:br>
            <a:r>
              <a:rPr lang="en-US"/>
              <a:t>Education grants and incentive programs reduce migration costs, while transparent pricing minimizes licensing complexity and volatility.</a:t>
            </a:r>
          </a:p>
          <a:p>
            <a:endParaRPr lang="en-US"/>
          </a:p>
          <a:p>
            <a:r>
              <a:rPr lang="en-US" b="1"/>
              <a:t>Summary:</a:t>
            </a:r>
            <a:br>
              <a:rPr lang="en-US"/>
            </a:br>
            <a:r>
              <a:rPr lang="en-US"/>
              <a:t>Azure enables institutions to strengthen learning, security, scalability, resilience, innovation, and cost control — aligning technology with the mission of education.</a:t>
            </a:r>
          </a:p>
          <a:p>
            <a:endParaRPr lang="en-US"/>
          </a:p>
          <a:p>
            <a:endParaRPr lang="en-US"/>
          </a:p>
          <a:p>
            <a:endParaRPr lang="en-US"/>
          </a:p>
          <a:p>
            <a:endParaRPr lang="en-US"/>
          </a:p>
          <a:p>
            <a:r>
              <a:rPr lang="en-US" b="1"/>
              <a:t>Old Summary:</a:t>
            </a:r>
          </a:p>
          <a:p>
            <a:endParaRPr lang="en-US" b="1"/>
          </a:p>
          <a:p>
            <a:r>
              <a:rPr lang="en-US"/>
              <a:t>For higher education leaders, the most important goals can be summarized as:</a:t>
            </a:r>
          </a:p>
          <a:p>
            <a:r>
              <a:rPr lang="en-US" b="1"/>
              <a:t>Empower students. Protect data. Scale with agility. Spend wisely. Innovate continuously. Prepare effectively for Disaster</a:t>
            </a:r>
            <a:endParaRPr lang="en-US"/>
          </a:p>
          <a:p>
            <a:endParaRPr lang="en-US" b="1"/>
          </a:p>
          <a:p>
            <a:r>
              <a:rPr lang="en-US" b="1"/>
              <a:t>1. Student Experience and Academic Success</a:t>
            </a:r>
          </a:p>
          <a:p>
            <a:r>
              <a:rPr lang="en-US"/>
              <a:t>At the heart of every institution is the mission to </a:t>
            </a:r>
            <a:r>
              <a:rPr lang="en-US" b="1"/>
              <a:t>educate, engage, and empower students</a:t>
            </a:r>
            <a:r>
              <a:rPr lang="en-US"/>
              <a:t>.</a:t>
            </a:r>
            <a:br>
              <a:rPr lang="en-US"/>
            </a:br>
            <a:r>
              <a:rPr lang="en-US"/>
              <a:t>Cloud technology enables:</a:t>
            </a:r>
          </a:p>
          <a:p>
            <a:r>
              <a:rPr lang="en-US" b="1"/>
              <a:t>Hybrid and flexible learning models</a:t>
            </a:r>
            <a:r>
              <a:rPr lang="en-US"/>
              <a:t> that meet students where they are.</a:t>
            </a:r>
          </a:p>
          <a:p>
            <a:r>
              <a:rPr lang="en-US" b="1"/>
              <a:t>Digital equity</a:t>
            </a:r>
            <a:r>
              <a:rPr lang="en-US"/>
              <a:t>, ensuring all students have access to tools and resources regardless of location or device.</a:t>
            </a:r>
          </a:p>
          <a:p>
            <a:r>
              <a:rPr lang="en-US" b="1"/>
              <a:t>Personalized learning insights</a:t>
            </a:r>
            <a:r>
              <a:rPr lang="en-US"/>
              <a:t>, using data and AI to identify at-risk students and improve retention.</a:t>
            </a:r>
          </a:p>
          <a:p>
            <a:r>
              <a:rPr lang="en-US"/>
              <a:t>💡 </a:t>
            </a:r>
            <a:r>
              <a:rPr lang="en-US" i="1"/>
              <a:t>Key outcome:</a:t>
            </a:r>
            <a:r>
              <a:rPr lang="en-US"/>
              <a:t> Empower students to learn anytime, anywhere, and in ways that best fit their needs.</a:t>
            </a:r>
          </a:p>
          <a:p>
            <a:endParaRPr lang="en-US"/>
          </a:p>
          <a:p>
            <a:r>
              <a:rPr lang="en-US" b="1"/>
              <a:t>2. Security, Privacy, and Compliance</a:t>
            </a:r>
          </a:p>
          <a:p>
            <a:r>
              <a:rPr lang="en-US"/>
              <a:t>Universities handle some of the </a:t>
            </a:r>
            <a:r>
              <a:rPr lang="en-US" b="1"/>
              <a:t>most sensitive data in any sector</a:t>
            </a:r>
            <a:r>
              <a:rPr lang="en-US"/>
              <a:t> — student records, financial information, research data, and intellectual property.</a:t>
            </a:r>
          </a:p>
          <a:p>
            <a:r>
              <a:rPr lang="en-US"/>
              <a:t>Cloud services like Azure provide </a:t>
            </a:r>
            <a:r>
              <a:rPr lang="en-US" b="1"/>
              <a:t>enterprise-grade protection</a:t>
            </a:r>
            <a:r>
              <a:rPr lang="en-US"/>
              <a:t>, built-in </a:t>
            </a:r>
            <a:r>
              <a:rPr lang="en-US" b="1"/>
              <a:t>Zero Trust architectures</a:t>
            </a:r>
            <a:r>
              <a:rPr lang="en-US"/>
              <a:t>, and </a:t>
            </a:r>
            <a:r>
              <a:rPr lang="en-US" b="1"/>
              <a:t>FERPA/HIPAA/GDPR compliance</a:t>
            </a:r>
            <a:r>
              <a:rPr lang="en-US"/>
              <a:t>.</a:t>
            </a:r>
          </a:p>
          <a:p>
            <a:r>
              <a:rPr lang="en-US"/>
              <a:t>Strong identity governance (Azure AD / Entra ID) protects against unauthorized access and data breaches.</a:t>
            </a:r>
          </a:p>
          <a:p>
            <a:r>
              <a:rPr lang="en-US"/>
              <a:t>💡 </a:t>
            </a:r>
            <a:r>
              <a:rPr lang="en-US" i="1"/>
              <a:t>Key outcome:</a:t>
            </a:r>
            <a:r>
              <a:rPr lang="en-US"/>
              <a:t> Protect the institution’s reputation and safeguard data while maintaining compliance with education regulations.</a:t>
            </a:r>
          </a:p>
          <a:p>
            <a:endParaRPr lang="en-US"/>
          </a:p>
          <a:p>
            <a:r>
              <a:rPr lang="en-US" b="1"/>
              <a:t>3. Agility, Scalability, and Resilience</a:t>
            </a:r>
          </a:p>
          <a:p>
            <a:r>
              <a:rPr lang="en-US"/>
              <a:t>Higher education is dynamic — enrollment surges, research spikes, and hybrid instruction all create unpredictable demand.</a:t>
            </a:r>
          </a:p>
          <a:p>
            <a:r>
              <a:rPr lang="en-US"/>
              <a:t>The cloud allows campuses to </a:t>
            </a:r>
            <a:r>
              <a:rPr lang="en-US" b="1"/>
              <a:t>scale resources on demand</a:t>
            </a:r>
            <a:r>
              <a:rPr lang="en-US"/>
              <a:t>, avoiding overprovisioned or underutilized hardware.</a:t>
            </a:r>
          </a:p>
          <a:p>
            <a:r>
              <a:rPr lang="en-US" b="1"/>
              <a:t>Disaster recovery and high availability</a:t>
            </a:r>
            <a:r>
              <a:rPr lang="en-US"/>
              <a:t> keep operations running even during outages or crises.</a:t>
            </a:r>
          </a:p>
          <a:p>
            <a:r>
              <a:rPr lang="en-US"/>
              <a:t>💡 </a:t>
            </a:r>
            <a:r>
              <a:rPr lang="en-US" i="1"/>
              <a:t>Key outcome:</a:t>
            </a:r>
            <a:r>
              <a:rPr lang="en-US"/>
              <a:t> Ensure reliable, scalable operations that support both academic and administrative agility.</a:t>
            </a:r>
          </a:p>
          <a:p>
            <a:endParaRPr lang="en-US"/>
          </a:p>
          <a:p>
            <a:r>
              <a:rPr lang="en-US" b="1"/>
              <a:t>4. Disaster Recovery and Business Continuity</a:t>
            </a:r>
          </a:p>
          <a:p>
            <a:r>
              <a:rPr lang="en-US"/>
              <a:t>Continuity is essential — whether it’s maintaining access to learning systems, protecting research data, or ensuring operational uptime during crises.</a:t>
            </a:r>
          </a:p>
          <a:p>
            <a:r>
              <a:rPr lang="en-US"/>
              <a:t>Azure enables geo-redundant backups, failover replication, and automated recovery for mission-critical workloads.</a:t>
            </a:r>
          </a:p>
          <a:p>
            <a:r>
              <a:rPr lang="en-US"/>
              <a:t>Integrated tools like Azure Site Recovery and Backup safeguard data and ensure minimal disruption during outages or cyber incidents.</a:t>
            </a:r>
          </a:p>
          <a:p>
            <a:r>
              <a:rPr lang="en-US"/>
              <a:t>Cloud-based DR plans allow IT teams to test and recover systems without impacting production environments.</a:t>
            </a:r>
          </a:p>
          <a:p>
            <a:r>
              <a:rPr lang="en-US"/>
              <a:t>💡 </a:t>
            </a:r>
            <a:r>
              <a:rPr lang="en-US" b="1"/>
              <a:t>Key outcome:</a:t>
            </a:r>
            <a:r>
              <a:rPr lang="en-US"/>
              <a:t> Maintain uninterrupted learning, research, and operations — even in the face of unplanned disruptions.</a:t>
            </a:r>
          </a:p>
          <a:p>
            <a:endParaRPr lang="en-US"/>
          </a:p>
          <a:p>
            <a:r>
              <a:rPr lang="en-US" b="1"/>
              <a:t>5. Innovation and </a:t>
            </a:r>
            <a:r>
              <a:rPr lang="en-US" sz="1200" b="1" kern="1200">
                <a:solidFill>
                  <a:schemeClr val="tx1"/>
                </a:solidFill>
                <a:effectLst/>
                <a:latin typeface="+mn-lt"/>
                <a:ea typeface="+mn-ea"/>
                <a:cs typeface="+mn-cs"/>
              </a:rPr>
              <a:t>Modernization</a:t>
            </a:r>
            <a:endParaRPr lang="en-US" sz="1200" kern="1200">
              <a:solidFill>
                <a:schemeClr val="tx1"/>
              </a:solidFill>
              <a:effectLst/>
              <a:latin typeface="+mn-lt"/>
              <a:ea typeface="+mn-ea"/>
              <a:cs typeface="+mn-cs"/>
            </a:endParaRPr>
          </a:p>
          <a:p>
            <a:r>
              <a:rPr lang="en-US"/>
              <a:t>The cloud accelerates innovation in both teaching and research.</a:t>
            </a:r>
          </a:p>
          <a:p>
            <a:r>
              <a:rPr lang="en-US"/>
              <a:t>Presidents, provosts, and boards are pushing for modernization to improve institutional competitiven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AI, data analytics, and machine learning</a:t>
            </a:r>
            <a:r>
              <a:rPr lang="en-US"/>
              <a:t> support advanced research and institutional planning. </a:t>
            </a:r>
            <a:r>
              <a:rPr lang="en-US" sz="1200" b="1" kern="1200">
                <a:solidFill>
                  <a:schemeClr val="tx1"/>
                </a:solidFill>
                <a:effectLst/>
                <a:latin typeface="+mn-lt"/>
                <a:ea typeface="+mn-ea"/>
                <a:cs typeface="+mn-cs"/>
              </a:rPr>
              <a:t>Access to AI &amp; Automation:</a:t>
            </a:r>
            <a:r>
              <a:rPr lang="en-US" sz="1200" kern="1200">
                <a:solidFill>
                  <a:schemeClr val="tx1"/>
                </a:solidFill>
                <a:effectLst/>
                <a:latin typeface="+mn-lt"/>
                <a:ea typeface="+mn-ea"/>
                <a:cs typeface="+mn-cs"/>
              </a:rPr>
              <a:t> Use Azure Open AI, Cognitive Services, and Power Automate to streamline workflows and improve constituent experiences.</a:t>
            </a:r>
          </a:p>
          <a:p>
            <a:r>
              <a:rPr lang="en-US" b="1"/>
              <a:t>Cloud-based HPC environments</a:t>
            </a:r>
            <a:r>
              <a:rPr lang="en-US"/>
              <a:t> allow for massive computational workloads without on-campus infrastructure.</a:t>
            </a:r>
          </a:p>
          <a:p>
            <a:r>
              <a:rPr lang="en-US"/>
              <a:t>Faculty and students gain access to modern tools that encourage experimentation and collaboration.</a:t>
            </a:r>
          </a:p>
          <a:p>
            <a:r>
              <a:rPr lang="en-US" sz="1200" b="1" kern="1200">
                <a:solidFill>
                  <a:schemeClr val="tx1"/>
                </a:solidFill>
                <a:effectLst/>
                <a:latin typeface="+mn-lt"/>
                <a:ea typeface="+mn-ea"/>
                <a:cs typeface="+mn-cs"/>
              </a:rPr>
              <a:t>Modern app development:</a:t>
            </a:r>
            <a:r>
              <a:rPr lang="en-US" sz="1200" kern="1200">
                <a:solidFill>
                  <a:schemeClr val="tx1"/>
                </a:solidFill>
                <a:effectLst/>
                <a:latin typeface="+mn-lt"/>
                <a:ea typeface="+mn-ea"/>
                <a:cs typeface="+mn-cs"/>
              </a:rPr>
              <a:t> Build or modernize apps with low-code tools, APIs, and serverless services.</a:t>
            </a:r>
          </a:p>
          <a:p>
            <a:pPr lvl="0"/>
            <a:r>
              <a:rPr lang="en-US" sz="1200" b="1" kern="1200">
                <a:solidFill>
                  <a:schemeClr val="tx1"/>
                </a:solidFill>
                <a:effectLst/>
                <a:latin typeface="+mn-lt"/>
                <a:ea typeface="+mn-ea"/>
                <a:cs typeface="+mn-cs"/>
              </a:rPr>
              <a:t>Future-ready infrastructure:</a:t>
            </a:r>
            <a:r>
              <a:rPr lang="en-US" sz="1200" kern="1200">
                <a:solidFill>
                  <a:schemeClr val="tx1"/>
                </a:solidFill>
                <a:effectLst/>
                <a:latin typeface="+mn-lt"/>
                <a:ea typeface="+mn-ea"/>
                <a:cs typeface="+mn-cs"/>
              </a:rPr>
              <a:t> Stay ahead of technology shifts without major reinvestment cyc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r>
              <a:rPr lang="en-US" i="1"/>
              <a:t>Key outcome:</a:t>
            </a:r>
            <a:r>
              <a:rPr lang="en-US"/>
              <a:t> Drive academic innovation and global research collaboration.</a:t>
            </a:r>
          </a:p>
          <a:p>
            <a:pPr lvl="0"/>
            <a:endParaRPr lang="en-US" sz="1200" kern="1200">
              <a:solidFill>
                <a:schemeClr val="tx1"/>
              </a:solidFill>
              <a:effectLst/>
              <a:latin typeface="+mn-lt"/>
              <a:ea typeface="+mn-ea"/>
              <a:cs typeface="+mn-cs"/>
            </a:endParaRPr>
          </a:p>
          <a:p>
            <a:r>
              <a:rPr lang="en-US" b="1"/>
              <a:t>6. Cost Efficiency and Financial Sustainability</a:t>
            </a:r>
          </a:p>
          <a:p>
            <a:r>
              <a:rPr lang="en-US"/>
              <a:t>Budget constraints are constant in education.</a:t>
            </a:r>
          </a:p>
          <a:p>
            <a:r>
              <a:rPr lang="en-US"/>
              <a:t>Cloud adoption replaces capital expenditures with predictable operational costs.</a:t>
            </a:r>
          </a:p>
          <a:p>
            <a:r>
              <a:rPr lang="en-US" b="1"/>
              <a:t>Microsoft’s Education pricing and incentive programs</a:t>
            </a:r>
            <a:r>
              <a:rPr lang="en-US"/>
              <a:t> make advanced tools accessible without large upfront invest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icensing &amp; cost uncertainty: VMware’s Broadcom acquisition and pricing increases, licensing complexity, and support uncertainty.</a:t>
            </a:r>
          </a:p>
          <a:p>
            <a:r>
              <a:rPr lang="en-US" b="1"/>
              <a:t>Even…Automation and AI-driven optimization</a:t>
            </a:r>
            <a:r>
              <a:rPr lang="en-US"/>
              <a:t> free staff time and reduce maintenance overhead.</a:t>
            </a:r>
          </a:p>
          <a:p>
            <a:r>
              <a:rPr lang="en-US"/>
              <a:t>💡 </a:t>
            </a:r>
            <a:r>
              <a:rPr lang="en-US" i="1"/>
              <a:t>Key outcome:</a:t>
            </a:r>
            <a:r>
              <a:rPr lang="en-US"/>
              <a:t> Reinvest savings into programs, research, and student success initiatives.</a:t>
            </a:r>
          </a:p>
          <a:p>
            <a:endParaRPr lang="en-US"/>
          </a:p>
        </p:txBody>
      </p:sp>
      <p:sp>
        <p:nvSpPr>
          <p:cNvPr id="4" name="Slide Number Placeholder 3"/>
          <p:cNvSpPr>
            <a:spLocks noGrp="1"/>
          </p:cNvSpPr>
          <p:nvPr>
            <p:ph type="sldNum" sz="quarter" idx="5"/>
          </p:nvPr>
        </p:nvSpPr>
        <p:spPr/>
        <p:txBody>
          <a:bodyPr/>
          <a:lstStyle/>
          <a:p>
            <a:fld id="{ACBFFC86-8DCC-4AEB-B1A3-767D57D6E417}" type="slidenum">
              <a:rPr lang="en-GB" smtClean="0"/>
              <a:t>34</a:t>
            </a:fld>
            <a:endParaRPr lang="en-GB"/>
          </a:p>
        </p:txBody>
      </p:sp>
    </p:spTree>
    <p:extLst>
      <p:ext uri="{BB962C8B-B14F-4D97-AF65-F5344CB8AC3E}">
        <p14:creationId xmlns:p14="http://schemas.microsoft.com/office/powerpoint/2010/main" val="277868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rvices:</a:t>
            </a:r>
          </a:p>
          <a:p>
            <a:endParaRPr lang="en-US"/>
          </a:p>
          <a:p>
            <a:r>
              <a:rPr lang="en-US" b="1"/>
              <a:t>Tier 1 – Vulnerability Management</a:t>
            </a:r>
          </a:p>
          <a:p>
            <a:pPr marL="171450" indent="-171450">
              <a:buFont typeface="Arial" panose="020B0604020202020204" pitchFamily="34" charset="0"/>
              <a:buChar char="•"/>
            </a:pPr>
            <a:r>
              <a:rPr lang="en-US"/>
              <a:t>We deploy agents linked to a cloud platform.  Or collectors in your environment. Or scan from the cloud.</a:t>
            </a:r>
          </a:p>
          <a:p>
            <a:pPr marL="171450" indent="-171450">
              <a:buFont typeface="Arial" panose="020B0604020202020204" pitchFamily="34" charset="0"/>
              <a:buChar char="•"/>
            </a:pPr>
            <a:r>
              <a:rPr lang="en-US"/>
              <a:t>Scan the devices against constantly updated known vulnerability information in applications, and device configurations</a:t>
            </a:r>
          </a:p>
          <a:p>
            <a:pPr marL="171450" indent="-171450">
              <a:buFont typeface="Arial" panose="020B0604020202020204" pitchFamily="34" charset="0"/>
              <a:buChar char="•"/>
            </a:pPr>
            <a:r>
              <a:rPr lang="en-US"/>
              <a:t>Urgent, critical, or zero-day vulnerabilities are escalated to you immediately</a:t>
            </a:r>
          </a:p>
          <a:p>
            <a:pPr marL="171450" indent="-171450">
              <a:buFont typeface="Arial" panose="020B0604020202020204" pitchFamily="34" charset="0"/>
              <a:buChar char="•"/>
            </a:pPr>
            <a:r>
              <a:rPr lang="en-US"/>
              <a:t>Otherwise, this service reports to you on a monthly basis with a point in time snapshot of your technical configuration</a:t>
            </a:r>
          </a:p>
          <a:p>
            <a:pPr marL="171450" indent="-171450">
              <a:buFont typeface="Arial" panose="020B0604020202020204" pitchFamily="34" charset="0"/>
              <a:buChar char="•"/>
            </a:pPr>
            <a:r>
              <a:rPr lang="en-US"/>
              <a:t>These risks are prioritized based on data and assets that you’ve told us are most critical to you during onboarding</a:t>
            </a:r>
          </a:p>
          <a:p>
            <a:pPr marL="171450" indent="-171450">
              <a:buFont typeface="Arial" panose="020B0604020202020204" pitchFamily="34" charset="0"/>
              <a:buChar char="•"/>
            </a:pPr>
            <a:r>
              <a:rPr lang="en-US"/>
              <a:t>These results are then tracked over time to show progress in reducing risk</a:t>
            </a:r>
          </a:p>
          <a:p>
            <a:endParaRPr lang="en-US"/>
          </a:p>
          <a:p>
            <a:r>
              <a:rPr lang="en-US" b="1"/>
              <a:t>Tier 2 – Network Security / Monitoring + SOC &amp; SIEM</a:t>
            </a:r>
          </a:p>
          <a:p>
            <a:endParaRPr lang="en-US" b="1"/>
          </a:p>
          <a:p>
            <a:pPr marL="171450" indent="-171450">
              <a:buFont typeface="Arial" panose="020B0604020202020204" pitchFamily="34" charset="0"/>
              <a:buChar char="•"/>
            </a:pPr>
            <a:r>
              <a:rPr lang="en-US"/>
              <a:t>We deploy a combination of agents and network collectors based on your desired level of visibility</a:t>
            </a:r>
          </a:p>
          <a:p>
            <a:pPr marL="628650" lvl="1" indent="-171450">
              <a:buFont typeface="Arial" panose="020B0604020202020204" pitchFamily="34" charset="0"/>
              <a:buChar char="•"/>
            </a:pPr>
            <a:r>
              <a:rPr lang="en-US" b="1"/>
              <a:t>If you aren’t sure – We will guide you!</a:t>
            </a:r>
          </a:p>
          <a:p>
            <a:pPr marL="171450" indent="-171450">
              <a:buFont typeface="Arial" panose="020B0604020202020204" pitchFamily="34" charset="0"/>
              <a:buChar char="•"/>
            </a:pPr>
            <a:r>
              <a:rPr lang="en-US"/>
              <a:t>From cloud to closet we ingest network traffic up / down / left / and right and run correlation logic against that data to search for attack patterns and other indicators of compromise</a:t>
            </a:r>
          </a:p>
          <a:p>
            <a:pPr marL="171450" indent="-171450">
              <a:buFont typeface="Arial" panose="020B0604020202020204" pitchFamily="34" charset="0"/>
              <a:buChar char="•"/>
            </a:pPr>
            <a:r>
              <a:rPr lang="en-US"/>
              <a:t>We leverage 1000’s of ruleset, MITRE Attack Framework to stop both signature and more advanced persistent threats</a:t>
            </a:r>
          </a:p>
          <a:p>
            <a:pPr marL="0" indent="0">
              <a:buFont typeface="Arial" panose="020B0604020202020204" pitchFamily="34" charset="0"/>
              <a:buNone/>
            </a:pPr>
            <a:endParaRPr lang="en-US"/>
          </a:p>
          <a:p>
            <a:pPr marL="0" indent="0">
              <a:buFont typeface="Arial" panose="020B0604020202020204" pitchFamily="34" charset="0"/>
              <a:buNone/>
            </a:pPr>
            <a:r>
              <a:rPr lang="en-US"/>
              <a:t>**There are limitations on the types of detections and response depending on the breadth of this deployment as a standalone service.</a:t>
            </a:r>
          </a:p>
          <a:p>
            <a:pPr marL="0" indent="0">
              <a:buFont typeface="Arial" panose="020B0604020202020204" pitchFamily="34" charset="0"/>
              <a:buNone/>
            </a:pPr>
            <a:r>
              <a:rPr lang="en-US"/>
              <a:t>	e.g. – with no endpoint, server data, or active directory integration – Detections like keylogging, privilege escalation, etc. are not possible</a:t>
            </a:r>
          </a:p>
          <a:p>
            <a:pPr marL="0" indent="0">
              <a:buFont typeface="Arial" panose="020B0604020202020204" pitchFamily="34" charset="0"/>
              <a:buNone/>
            </a:pPr>
            <a:endParaRPr lang="en-US"/>
          </a:p>
          <a:p>
            <a:pPr marL="171450" indent="-171450">
              <a:buFont typeface="Arial" panose="020B0604020202020204" pitchFamily="34" charset="0"/>
              <a:buChar char="•"/>
            </a:pPr>
            <a:r>
              <a:rPr lang="en-US"/>
              <a:t>But detections of incoming and outgoing communications to known and suspected malicious domains &amp; Ips or peculiar encrypted payloads are still possible</a:t>
            </a:r>
          </a:p>
          <a:p>
            <a:pPr marL="0" indent="0">
              <a:buFont typeface="Arial" panose="020B0604020202020204" pitchFamily="34" charset="0"/>
              <a:buNone/>
            </a:pPr>
            <a:endParaRPr lang="en-US"/>
          </a:p>
          <a:p>
            <a:pPr marL="0" indent="0">
              <a:buFont typeface="Arial" panose="020B0604020202020204" pitchFamily="34" charset="0"/>
              <a:buNone/>
            </a:pPr>
            <a:r>
              <a:rPr lang="en-US" b="1"/>
              <a:t>Tier 3 – Managed Endpoint Detection and Respons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b="0"/>
              <a:t>If you have an EDR – we can build integrations for collection and alerting overlayed with threat intelligence</a:t>
            </a:r>
          </a:p>
          <a:p>
            <a:pPr marL="171450" indent="-171450">
              <a:buFont typeface="Arial" panose="020B0604020202020204" pitchFamily="34" charset="0"/>
              <a:buChar char="•"/>
            </a:pPr>
            <a:r>
              <a:rPr lang="en-US" b="0"/>
              <a:t>If you don’t have an EDR – Wazuh is cross platform support for workstations and servers</a:t>
            </a:r>
          </a:p>
          <a:p>
            <a:pPr marL="628650" lvl="1" indent="-171450">
              <a:buFont typeface="Arial" panose="020B0604020202020204" pitchFamily="34" charset="0"/>
              <a:buChar char="•"/>
            </a:pPr>
            <a:r>
              <a:rPr lang="en-US" b="0"/>
              <a:t>Config mgmt.</a:t>
            </a:r>
          </a:p>
          <a:p>
            <a:pPr marL="628650" lvl="1" indent="-171450">
              <a:buFont typeface="Arial" panose="020B0604020202020204" pitchFamily="34" charset="0"/>
              <a:buChar char="•"/>
            </a:pPr>
            <a:r>
              <a:rPr lang="en-US" b="0"/>
              <a:t>File integrity monitor</a:t>
            </a:r>
          </a:p>
          <a:p>
            <a:pPr marL="628650" lvl="1" indent="-171450">
              <a:buFont typeface="Arial" panose="020B0604020202020204" pitchFamily="34" charset="0"/>
              <a:buChar char="•"/>
            </a:pPr>
            <a:r>
              <a:rPr lang="en-US" b="0"/>
              <a:t>Our EDR also uses vulnerability data to augment detection – Where live vulnerabilities can be of increased risk due to communications between specific machines</a:t>
            </a:r>
          </a:p>
          <a:p>
            <a:pPr marL="1085850" lvl="2" indent="-171450">
              <a:buFont typeface="Arial" panose="020B0604020202020204" pitchFamily="34" charset="0"/>
              <a:buChar char="•"/>
            </a:pPr>
            <a:r>
              <a:rPr lang="en-US" b="0"/>
              <a:t>This is an incredible differentiator</a:t>
            </a:r>
          </a:p>
          <a:p>
            <a:pPr marL="457200" lvl="1" indent="0">
              <a:buFont typeface="Arial" panose="020B0604020202020204" pitchFamily="34" charset="0"/>
              <a:buNone/>
            </a:pPr>
            <a:endParaRPr lang="en-US" b="1"/>
          </a:p>
          <a:p>
            <a:pPr marL="628650" lvl="1" indent="-171450">
              <a:buFont typeface="Arial" panose="020B0604020202020204" pitchFamily="34" charset="0"/>
              <a:buChar char="•"/>
            </a:pPr>
            <a:r>
              <a:rPr lang="en-US" b="1"/>
              <a:t>Future Capability – active response</a:t>
            </a:r>
          </a:p>
          <a:p>
            <a:pPr marL="457200" lvl="1" indent="0">
              <a:buFont typeface="Arial" panose="020B0604020202020204" pitchFamily="34" charset="0"/>
              <a:buNone/>
            </a:pPr>
            <a:r>
              <a:rPr lang="en-US" b="1"/>
              <a:t>	</a:t>
            </a:r>
          </a:p>
          <a:p>
            <a:pPr marL="0" lvl="0" indent="0">
              <a:buFont typeface="Arial" panose="020B0604020202020204" pitchFamily="34" charset="0"/>
              <a:buNone/>
            </a:pPr>
            <a:r>
              <a:rPr lang="en-US" b="1"/>
              <a:t>Threat Intelligence</a:t>
            </a:r>
          </a:p>
          <a:p>
            <a:pPr marL="171450" lvl="0" indent="-171450">
              <a:buFont typeface="Arial" panose="020B0604020202020204" pitchFamily="34" charset="0"/>
              <a:buChar char="•"/>
            </a:pPr>
            <a:r>
              <a:rPr lang="en-US" b="0"/>
              <a:t>120 Threat Intel Sources – Both Open and Closed sourced</a:t>
            </a:r>
          </a:p>
          <a:p>
            <a:pPr marL="171450" lvl="0" indent="-171450">
              <a:buFont typeface="Arial" panose="020B0604020202020204" pitchFamily="34" charset="0"/>
              <a:buChar char="•"/>
            </a:pPr>
            <a:r>
              <a:rPr lang="en-US" b="0"/>
              <a:t>Near real-time detections using data aggregated on the collector funneled through threat intelligence rulesets and </a:t>
            </a:r>
            <a:r>
              <a:rPr lang="en-US" b="0" err="1"/>
              <a:t>TTP</a:t>
            </a:r>
            <a:r>
              <a:rPr lang="en-US" b="0"/>
              <a:t> (techniques, tactics, procedures)</a:t>
            </a:r>
          </a:p>
          <a:p>
            <a:pPr marL="171450" lvl="0" indent="-171450">
              <a:buFont typeface="Arial" panose="020B0604020202020204" pitchFamily="34" charset="0"/>
              <a:buChar char="•"/>
            </a:pPr>
            <a:endParaRPr lang="en-US" b="0"/>
          </a:p>
          <a:p>
            <a:pPr marL="628650" lvl="1" indent="-171450">
              <a:buFont typeface="Arial" panose="020B0604020202020204" pitchFamily="34" charset="0"/>
              <a:buChar char="•"/>
            </a:pPr>
            <a:r>
              <a:rPr lang="en-US" b="0"/>
              <a:t>Plan to build industry specific threat intelligence based on cleansed data aggregations across our customer base</a:t>
            </a:r>
          </a:p>
          <a:p>
            <a:pPr marL="628650" lvl="1" indent="-171450">
              <a:buFont typeface="Arial" panose="020B0604020202020204" pitchFamily="34" charset="0"/>
              <a:buChar char="•"/>
            </a:pPr>
            <a:endParaRPr lang="en-US" b="1"/>
          </a:p>
          <a:p>
            <a:pPr marL="0" lvl="0" indent="0">
              <a:buFont typeface="Arial" panose="020B0604020202020204" pitchFamily="34" charset="0"/>
              <a:buNone/>
            </a:pPr>
            <a:r>
              <a:rPr lang="en-US" b="1"/>
              <a:t>What about difficult integrations</a:t>
            </a:r>
          </a:p>
          <a:p>
            <a:pPr marL="0" lvl="0" indent="0">
              <a:buFont typeface="Arial" panose="020B0604020202020204" pitchFamily="34" charset="0"/>
              <a:buNone/>
            </a:pPr>
            <a:endParaRPr lang="en-US" b="1"/>
          </a:p>
          <a:p>
            <a:pPr marL="171450" lvl="0" indent="-171450">
              <a:buFont typeface="Arial" panose="020B0604020202020204" pitchFamily="34" charset="0"/>
              <a:buChar char="•"/>
            </a:pPr>
            <a:r>
              <a:rPr lang="en-US" b="1" err="1"/>
              <a:t>Nifi</a:t>
            </a:r>
            <a:r>
              <a:rPr lang="en-US" b="1"/>
              <a:t> Collector – </a:t>
            </a:r>
            <a:r>
              <a:rPr lang="en-US" b="0"/>
              <a:t>NSA Project </a:t>
            </a:r>
            <a:r>
              <a:rPr lang="en-US" b="0" err="1"/>
              <a:t>Niagra</a:t>
            </a:r>
            <a:r>
              <a:rPr lang="en-US" b="0"/>
              <a:t> Files</a:t>
            </a:r>
          </a:p>
          <a:p>
            <a:pPr marL="628650" lvl="1" indent="-171450">
              <a:buFont typeface="Arial" panose="020B0604020202020204" pitchFamily="34" charset="0"/>
              <a:buChar char="•"/>
            </a:pPr>
            <a:r>
              <a:rPr lang="en-US" b="0"/>
              <a:t>Allows us to collect any log and normalize data so it becomes consistent, useful and actionable regardless of vendor and source.</a:t>
            </a:r>
          </a:p>
          <a:p>
            <a:pPr marL="628650" lvl="1" indent="-171450">
              <a:buFont typeface="Arial" panose="020B0604020202020204" pitchFamily="34" charset="0"/>
              <a:buChar char="•"/>
            </a:pPr>
            <a:r>
              <a:rPr lang="en-US" b="0"/>
              <a:t>Flat file, json, excel, XML -  pick a format</a:t>
            </a:r>
          </a:p>
          <a:p>
            <a:pPr marL="628650" lvl="1" indent="-171450">
              <a:buFont typeface="Arial" panose="020B0604020202020204" pitchFamily="34" charset="0"/>
              <a:buChar char="•"/>
            </a:pPr>
            <a:r>
              <a:rPr lang="en-US" b="0"/>
              <a:t>If you have an application</a:t>
            </a:r>
          </a:p>
          <a:p>
            <a:pPr marL="628650" lvl="1" indent="-171450">
              <a:buFont typeface="Arial" panose="020B0604020202020204" pitchFamily="34" charset="0"/>
              <a:buChar char="•"/>
            </a:pPr>
            <a:endParaRPr lang="en-US" b="0"/>
          </a:p>
          <a:p>
            <a:pPr marL="1085850" lvl="2" indent="-171450">
              <a:buFont typeface="Arial" panose="020B0604020202020204" pitchFamily="34" charset="0"/>
              <a:buChar char="•"/>
            </a:pPr>
            <a:endParaRPr lang="en-US" b="1"/>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AD7070-6D93-418B-9146-36C07324329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5658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5F5F5F"/>
                </a:solidFill>
                <a:latin typeface="Arial" pitchFamily="34" charset="0"/>
                <a:cs typeface="Arial" pitchFamily="34" charset="0"/>
              </a:rPr>
              <a:t>In the current economic, political, and social landscape addressing security has becoming a core necessity for most organiz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following risk factors impacting the risk landscap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a:t>1)  Privacy &amp; Identity Thef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dentity Theft on the Ris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the US in 2021, consumers  reported over </a:t>
            </a:r>
            <a:r>
              <a:rPr lang="en-US" b="0" i="0">
                <a:solidFill>
                  <a:srgbClr val="1B1B1B"/>
                </a:solidFill>
                <a:effectLst/>
                <a:latin typeface="Inter"/>
              </a:rPr>
              <a:t>1.4 million cases of identity theft: https://www.ftc.gov/news-events/news/press-releases/2022/02/new-data-shows-ftc-received-28-million-fraud-reports-consumers-2021-0</a:t>
            </a:r>
            <a:endParaRPr lang="en-US"/>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utomation is driving ability to cast large net at sca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ost individuals and organizations are not targeted </a:t>
            </a:r>
            <a:r>
              <a:rPr lang="en-US" i="1"/>
              <a:t>specifically</a:t>
            </a:r>
            <a:r>
              <a:rPr lang="en-US" i="0"/>
              <a:t> but instead part of a larger cash grab</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ustomer Demand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Need for more seamless digital experience through integration of identities.  “Need to use identity across environment without signing in 100s of ti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2) B2B Assur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hared ident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ontinuous assurance / reverification effo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oving away from point-in-time assess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3) Cyber Espion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Ukraine confli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onetization of military designed tools for commercial space (e.g., NSO gro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upply chain channel breaches (e.g., SolarWin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4) Ransomware/Cyber Insur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arget of opportunity (and not because of data) – Impact all industr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Segoe UI" panose="020B0502040204020203" pitchFamily="34" charset="0"/>
              </a:rPr>
              <a:t>"Warehousing of targets" for later us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Segoe UI" panose="020B0502040204020203" pitchFamily="34" charset="0"/>
              </a:rPr>
              <a:t>Middle Market continues to be target of opportunity b/c it has enough valuable data but probably didn't protect it enoug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Segoe UI" panose="020B0502040204020203" pitchFamily="34" charset="0"/>
              </a:rPr>
              <a:t>Add box on Ransomware, Managed Services, Automation and Marketing of Services (Anatomy of Attack)</a:t>
            </a:r>
            <a:endParaRPr lang="en-US" sz="1800">
              <a:effectLst/>
              <a:latin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ontinued Ransomware-as-a-Service (and continues to make big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ave actual call centers to support bringing your system back on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5) Regulations / Due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xtension of security breach law  - Large markets: Mass, CA, N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rivacy laws such as GDPR also set basic expecta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644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urvey was conducted by RSM and Big Village from Feb. 21 through March 4 and garnered 966 responses. Survey respondents must have decision-making authority, be part of a decision-making group, or have significant influence on technology investments at thei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BFFC86-8DCC-4AEB-B1A3-767D57D6E41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682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2B6AA-18D5-4B17-B842-0AA3F8DB90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071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A9A6E-4416-056E-A1FE-0906D2D0F9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E15626-2795-3DD7-9B85-05C99D796C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8CE6C4-BB42-50E3-B389-8EED89A60D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7CDA0B0-D765-17A6-C727-76974B9BBBC1}"/>
              </a:ext>
            </a:extLst>
          </p:cNvPr>
          <p:cNvSpPr>
            <a:spLocks noGrp="1"/>
          </p:cNvSpPr>
          <p:nvPr>
            <p:ph type="sldNum" sz="quarter" idx="5"/>
          </p:nvPr>
        </p:nvSpPr>
        <p:spPr/>
        <p:txBody>
          <a:bodyPr/>
          <a:lstStyle/>
          <a:p>
            <a:fld id="{6F740980-25A4-4896-BDE4-3BB2753A65B5}" type="slidenum">
              <a:rPr lang="en-GB" smtClean="0"/>
              <a:t>44</a:t>
            </a:fld>
            <a:endParaRPr lang="en-GB"/>
          </a:p>
        </p:txBody>
      </p:sp>
    </p:spTree>
    <p:extLst>
      <p:ext uri="{BB962C8B-B14F-4D97-AF65-F5344CB8AC3E}">
        <p14:creationId xmlns:p14="http://schemas.microsoft.com/office/powerpoint/2010/main" val="2172364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305BCE-0C6B-4DF8-ABFF-431DB9C064C4}" type="slidenum">
              <a:rPr lang="en-US" smtClean="0"/>
              <a:t>4</a:t>
            </a:fld>
            <a:endParaRPr lang="en-US"/>
          </a:p>
        </p:txBody>
      </p:sp>
    </p:spTree>
    <p:extLst>
      <p:ext uri="{BB962C8B-B14F-4D97-AF65-F5344CB8AC3E}">
        <p14:creationId xmlns:p14="http://schemas.microsoft.com/office/powerpoint/2010/main" val="26093694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TIONAL] If</a:t>
            </a:r>
            <a:r>
              <a:rPr lang="en-US" baseline="0"/>
              <a:t> including a question and answer session, this is the preferred splash screen to denote that.</a:t>
            </a:r>
            <a:endParaRPr lang="en-US"/>
          </a:p>
        </p:txBody>
      </p:sp>
      <p:sp>
        <p:nvSpPr>
          <p:cNvPr id="4" name="Slide Number Placeholder 3"/>
          <p:cNvSpPr>
            <a:spLocks noGrp="1"/>
          </p:cNvSpPr>
          <p:nvPr>
            <p:ph type="sldNum" sz="quarter" idx="10"/>
          </p:nvPr>
        </p:nvSpPr>
        <p:spPr/>
        <p:txBody>
          <a:bodyPr/>
          <a:lstStyle/>
          <a:p>
            <a:fld id="{48305BCE-0C6B-4DF8-ABFF-431DB9C064C4}" type="slidenum">
              <a:rPr lang="en-US"/>
              <a:t>47</a:t>
            </a:fld>
            <a:endParaRPr lang="en-US"/>
          </a:p>
        </p:txBody>
      </p:sp>
    </p:spTree>
    <p:extLst>
      <p:ext uri="{BB962C8B-B14F-4D97-AF65-F5344CB8AC3E}">
        <p14:creationId xmlns:p14="http://schemas.microsoft.com/office/powerpoint/2010/main" val="1705779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BFFC86-8DCC-4AEB-B1A3-767D57D6E417}" type="slidenum">
              <a:rPr lang="en-GB" smtClean="0"/>
              <a:t>52</a:t>
            </a:fld>
            <a:endParaRPr lang="en-GB"/>
          </a:p>
        </p:txBody>
      </p:sp>
    </p:spTree>
    <p:extLst>
      <p:ext uri="{BB962C8B-B14F-4D97-AF65-F5344CB8AC3E}">
        <p14:creationId xmlns:p14="http://schemas.microsoft.com/office/powerpoint/2010/main" val="1239606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740980-25A4-4896-BDE4-3BB2753A65B5}" type="slidenum">
              <a:rPr lang="en-GB" smtClean="0"/>
              <a:t>7</a:t>
            </a:fld>
            <a:endParaRPr lang="en-GB"/>
          </a:p>
        </p:txBody>
      </p:sp>
    </p:spTree>
    <p:extLst>
      <p:ext uri="{BB962C8B-B14F-4D97-AF65-F5344CB8AC3E}">
        <p14:creationId xmlns:p14="http://schemas.microsoft.com/office/powerpoint/2010/main" val="747842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4738" y="1123950"/>
            <a:ext cx="5394325" cy="3033713"/>
          </a:xfrm>
        </p:spPr>
      </p:sp>
      <p:sp>
        <p:nvSpPr>
          <p:cNvPr id="3" name="Notes Placeholder 2"/>
          <p:cNvSpPr>
            <a:spLocks noGrp="1"/>
          </p:cNvSpPr>
          <p:nvPr>
            <p:ph type="body" idx="1"/>
          </p:nvPr>
        </p:nvSpPr>
        <p:spPr/>
        <p:txBody>
          <a:bodyPr/>
          <a:lstStyle/>
          <a:p>
            <a:r>
              <a:rPr lang="en-US" sz="1200">
                <a:solidFill>
                  <a:schemeClr val="accent6"/>
                </a:solidFill>
              </a:rPr>
              <a:t>Timing and speaker assignments:</a:t>
            </a:r>
          </a:p>
          <a:p>
            <a:endParaRPr lang="en-US" sz="1200">
              <a:solidFill>
                <a:schemeClr val="accent6"/>
              </a:solidFill>
            </a:endParaRPr>
          </a:p>
          <a:p>
            <a:r>
              <a:rPr lang="en-US" sz="1200">
                <a:solidFill>
                  <a:schemeClr val="accent6"/>
                </a:solidFill>
              </a:rPr>
              <a:t>Kick-off (2m) – Wendy</a:t>
            </a:r>
          </a:p>
          <a:p>
            <a:r>
              <a:rPr lang="en-US" sz="1200">
                <a:solidFill>
                  <a:schemeClr val="accent6"/>
                </a:solidFill>
              </a:rPr>
              <a:t>About RSM (5m) – Wendy</a:t>
            </a:r>
          </a:p>
          <a:p>
            <a:r>
              <a:rPr lang="en-US" sz="1200">
                <a:solidFill>
                  <a:schemeClr val="accent6"/>
                </a:solidFill>
              </a:rPr>
              <a:t>Introduce speakers (2m) – Wendy</a:t>
            </a:r>
          </a:p>
          <a:p>
            <a:r>
              <a:rPr lang="en-US" sz="1200">
                <a:solidFill>
                  <a:schemeClr val="accent6"/>
                </a:solidFill>
              </a:rPr>
              <a:t>Today’s objectives (1m) – Wendy</a:t>
            </a:r>
          </a:p>
          <a:p>
            <a:r>
              <a:rPr lang="en-US" sz="1200">
                <a:solidFill>
                  <a:schemeClr val="accent6"/>
                </a:solidFill>
              </a:rPr>
              <a:t>Introduction (10m) - Gary</a:t>
            </a:r>
          </a:p>
          <a:p>
            <a:r>
              <a:rPr lang="en-US" sz="1200">
                <a:solidFill>
                  <a:schemeClr val="accent6"/>
                </a:solidFill>
              </a:rPr>
              <a:t>Breakout (20m) - Sara</a:t>
            </a:r>
          </a:p>
          <a:p>
            <a:r>
              <a:rPr lang="en-US" sz="1200">
                <a:solidFill>
                  <a:schemeClr val="accent6"/>
                </a:solidFill>
              </a:rPr>
              <a:t>Supporting needs for change (10m) - Gary</a:t>
            </a:r>
          </a:p>
          <a:p>
            <a:r>
              <a:rPr lang="en-US" sz="1200">
                <a:solidFill>
                  <a:schemeClr val="accent6"/>
                </a:solidFill>
              </a:rPr>
              <a:t>Breakout (20m) - Sara</a:t>
            </a:r>
          </a:p>
          <a:p>
            <a:r>
              <a:rPr lang="en-US" sz="1200">
                <a:solidFill>
                  <a:schemeClr val="accent6"/>
                </a:solidFill>
              </a:rPr>
              <a:t>Trends - Cloud-based ERP (20m) - Graydon</a:t>
            </a:r>
          </a:p>
          <a:p>
            <a:r>
              <a:rPr lang="en-US" sz="1200">
                <a:solidFill>
                  <a:schemeClr val="accent6"/>
                </a:solidFill>
              </a:rPr>
              <a:t>Breakout (20m) - Sara</a:t>
            </a:r>
          </a:p>
          <a:p>
            <a:r>
              <a:rPr lang="en-US" sz="1200">
                <a:solidFill>
                  <a:schemeClr val="accent6"/>
                </a:solidFill>
              </a:rPr>
              <a:t>Case study – FAO (20m) - Hannah</a:t>
            </a:r>
          </a:p>
          <a:p>
            <a:r>
              <a:rPr lang="en-US" sz="1200">
                <a:solidFill>
                  <a:schemeClr val="accent6"/>
                </a:solidFill>
              </a:rPr>
              <a:t>Assessment tool overview (10m) - Gary</a:t>
            </a:r>
          </a:p>
          <a:p>
            <a:r>
              <a:rPr lang="en-US" sz="1200">
                <a:solidFill>
                  <a:schemeClr val="accent6"/>
                </a:solidFill>
              </a:rPr>
              <a:t>Breakout (30m) - Sara</a:t>
            </a:r>
          </a:p>
          <a:p>
            <a:r>
              <a:rPr lang="en-US" sz="1200">
                <a:solidFill>
                  <a:schemeClr val="accent6"/>
                </a:solidFill>
              </a:rPr>
              <a:t>Closing (10m) – Wendy</a:t>
            </a:r>
          </a:p>
          <a:p>
            <a:endParaRPr lang="en-US">
              <a:cs typeface="Calibri"/>
            </a:endParaRPr>
          </a:p>
        </p:txBody>
      </p:sp>
      <p:sp>
        <p:nvSpPr>
          <p:cNvPr id="4" name="Slide Number Placeholder 3"/>
          <p:cNvSpPr>
            <a:spLocks noGrp="1"/>
          </p:cNvSpPr>
          <p:nvPr>
            <p:ph type="sldNum" sz="quarter" idx="10"/>
          </p:nvPr>
        </p:nvSpPr>
        <p:spPr/>
        <p:txBody>
          <a:bodyPr/>
          <a:lstStyle/>
          <a:p>
            <a:fld id="{48305BCE-0C6B-4DF8-ABFF-431DB9C064C4}" type="slidenum">
              <a:rPr lang="en-US"/>
              <a:t>8</a:t>
            </a:fld>
            <a:endParaRPr lang="en-US"/>
          </a:p>
        </p:txBody>
      </p:sp>
    </p:spTree>
    <p:extLst>
      <p:ext uri="{BB962C8B-B14F-4D97-AF65-F5344CB8AC3E}">
        <p14:creationId xmlns:p14="http://schemas.microsoft.com/office/powerpoint/2010/main" val="3720892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740980-25A4-4896-BDE4-3BB2753A65B5}" type="slidenum">
              <a:rPr lang="en-GB" smtClean="0"/>
              <a:t>9</a:t>
            </a:fld>
            <a:endParaRPr lang="en-GB"/>
          </a:p>
        </p:txBody>
      </p:sp>
    </p:spTree>
    <p:extLst>
      <p:ext uri="{BB962C8B-B14F-4D97-AF65-F5344CB8AC3E}">
        <p14:creationId xmlns:p14="http://schemas.microsoft.com/office/powerpoint/2010/main" val="1352479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lecting a system that’s poised for the future marketplace and growth </a:t>
            </a:r>
          </a:p>
        </p:txBody>
      </p:sp>
      <p:sp>
        <p:nvSpPr>
          <p:cNvPr id="4" name="Slide Number Placeholder 3"/>
          <p:cNvSpPr>
            <a:spLocks noGrp="1"/>
          </p:cNvSpPr>
          <p:nvPr>
            <p:ph type="sldNum" sz="quarter" idx="5"/>
          </p:nvPr>
        </p:nvSpPr>
        <p:spPr/>
        <p:txBody>
          <a:bodyPr/>
          <a:lstStyle/>
          <a:p>
            <a:fld id="{D7965E2D-36AD-4103-9F5F-BD43F8341C42}" type="slidenum">
              <a:rPr lang="en-US" smtClean="0"/>
              <a:t>13</a:t>
            </a:fld>
            <a:endParaRPr lang="en-US"/>
          </a:p>
        </p:txBody>
      </p:sp>
    </p:spTree>
    <p:extLst>
      <p:ext uri="{BB962C8B-B14F-4D97-AF65-F5344CB8AC3E}">
        <p14:creationId xmlns:p14="http://schemas.microsoft.com/office/powerpoint/2010/main" val="17085201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305BCE-0C6B-4DF8-ABFF-431DB9C06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0635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740980-25A4-4896-BDE4-3BB2753A65B5}" type="slidenum">
              <a:rPr lang="en-GB" smtClean="0"/>
              <a:t>15</a:t>
            </a:fld>
            <a:endParaRPr lang="en-GB"/>
          </a:p>
        </p:txBody>
      </p:sp>
    </p:spTree>
    <p:extLst>
      <p:ext uri="{BB962C8B-B14F-4D97-AF65-F5344CB8AC3E}">
        <p14:creationId xmlns:p14="http://schemas.microsoft.com/office/powerpoint/2010/main" val="3147438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ED8735-9A2D-49FF-BD14-9B8967801A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7670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3.xml"/><Relationship Id="rId1" Type="http://schemas.openxmlformats.org/officeDocument/2006/relationships/tags" Target="../tags/tag5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4.sv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3" Type="http://schemas.openxmlformats.org/officeDocument/2006/relationships/tags" Target="../tags/tag55.xml"/><Relationship Id="rId21" Type="http://schemas.openxmlformats.org/officeDocument/2006/relationships/slideMaster" Target="../slideMasters/slideMaster3.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tags" Target="../tags/tag67.xml"/><Relationship Id="rId10" Type="http://schemas.openxmlformats.org/officeDocument/2006/relationships/tags" Target="../tags/tag62.xml"/><Relationship Id="rId19" Type="http://schemas.openxmlformats.org/officeDocument/2006/relationships/tags" Target="../tags/tag71.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image" Target="../media/image10.sv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33.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5.xml"/><Relationship Id="rId4" Type="http://schemas.openxmlformats.org/officeDocument/2006/relationships/image" Target="../media/image10.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tags" Target="../tags/tag7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4"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4.xml"/><Relationship Id="rId4" Type="http://schemas.openxmlformats.org/officeDocument/2006/relationships/tags" Target="../tags/tag8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85.xml"/><Relationship Id="rId4" Type="http://schemas.openxmlformats.org/officeDocument/2006/relationships/image" Target="../media/image10.sv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86.xml"/><Relationship Id="rId4" Type="http://schemas.openxmlformats.org/officeDocument/2006/relationships/image" Target="../media/image10.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87.xml"/><Relationship Id="rId4" Type="http://schemas.openxmlformats.org/officeDocument/2006/relationships/image" Target="../media/image10.sv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88.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4.sv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50.svg"/></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0.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24.sv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7.jpeg"/><Relationship Id="rId1" Type="http://schemas.openxmlformats.org/officeDocument/2006/relationships/slideMaster" Target="../slideMasters/slideMaster5.xml"/><Relationship Id="rId4" Type="http://schemas.openxmlformats.org/officeDocument/2006/relationships/image" Target="../media/image58.sv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9.jpeg"/><Relationship Id="rId1" Type="http://schemas.openxmlformats.org/officeDocument/2006/relationships/slideMaster" Target="../slideMasters/slideMaster5.xml"/><Relationship Id="rId4" Type="http://schemas.openxmlformats.org/officeDocument/2006/relationships/image" Target="../media/image58.sv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0.jpeg"/><Relationship Id="rId1" Type="http://schemas.openxmlformats.org/officeDocument/2006/relationships/slideMaster" Target="../slideMasters/slideMaster5.xml"/><Relationship Id="rId4" Type="http://schemas.openxmlformats.org/officeDocument/2006/relationships/image" Target="../media/image58.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58.sv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93.xml"/><Relationship Id="rId4" Type="http://schemas.openxmlformats.org/officeDocument/2006/relationships/image" Target="../media/image41.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tags" Target="../tags/tag94.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4"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slideMaster" Target="../slideMasters/slideMaster5.xml"/><Relationship Id="rId4" Type="http://schemas.openxmlformats.org/officeDocument/2006/relationships/tags" Target="../tags/tag10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image" Target="../media/image10.sv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tags" Target="../tags/tag40.xml"/><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41.sv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41.sv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5.xml"/><Relationship Id="rId4" Type="http://schemas.openxmlformats.org/officeDocument/2006/relationships/image" Target="../media/image41.sv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41.sv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41.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41.sv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26.png"/><Relationship Id="rId1" Type="http://schemas.openxmlformats.org/officeDocument/2006/relationships/slideMaster" Target="../slideMasters/slideMaster5.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28.png"/><Relationship Id="rId1" Type="http://schemas.openxmlformats.org/officeDocument/2006/relationships/slideMaster" Target="../slideMasters/slideMaster5.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67.png"/><Relationship Id="rId4" Type="http://schemas.openxmlformats.org/officeDocument/2006/relationships/image" Target="../media/image24.sv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7.jpeg"/><Relationship Id="rId1" Type="http://schemas.openxmlformats.org/officeDocument/2006/relationships/slideMaster" Target="../slideMasters/slideMaster5.xml"/><Relationship Id="rId4" Type="http://schemas.openxmlformats.org/officeDocument/2006/relationships/image" Target="../media/image18.svg"/></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9.jpeg"/><Relationship Id="rId1" Type="http://schemas.openxmlformats.org/officeDocument/2006/relationships/slideMaster" Target="../slideMasters/slideMaster5.xml"/><Relationship Id="rId4" Type="http://schemas.openxmlformats.org/officeDocument/2006/relationships/image" Target="../media/image18.sv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0.jpeg"/><Relationship Id="rId1" Type="http://schemas.openxmlformats.org/officeDocument/2006/relationships/slideMaster" Target="../slideMasters/slideMaster5.xml"/><Relationship Id="rId4" Type="http://schemas.openxmlformats.org/officeDocument/2006/relationships/image" Target="../media/image18.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2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1.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112.xml"/><Relationship Id="rId5" Type="http://schemas.openxmlformats.org/officeDocument/2006/relationships/image" Target="../media/image67.png"/><Relationship Id="rId4" Type="http://schemas.openxmlformats.org/officeDocument/2006/relationships/image" Target="../media/image24.sv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71.png"/><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115.xml"/><Relationship Id="rId4" Type="http://schemas.openxmlformats.org/officeDocument/2006/relationships/image" Target="../media/image10.sv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slideMaster" Target="../slideMasters/slideMaster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6.xml"/><Relationship Id="rId1" Type="http://schemas.openxmlformats.org/officeDocument/2006/relationships/tags" Target="../tags/tag120.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4.svg"/></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91.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3" Type="http://schemas.openxmlformats.org/officeDocument/2006/relationships/tags" Target="../tags/tag123.xml"/><Relationship Id="rId21" Type="http://schemas.openxmlformats.org/officeDocument/2006/relationships/slideMaster" Target="../slideMasters/slideMaster6.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tags" Target="../tags/tag135.xml"/><Relationship Id="rId10" Type="http://schemas.openxmlformats.org/officeDocument/2006/relationships/tags" Target="../tags/tag130.xml"/><Relationship Id="rId19" Type="http://schemas.openxmlformats.org/officeDocument/2006/relationships/tags" Target="../tags/tag139.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141.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image" Target="../media/image10.sv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3.emf"/></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 Id="rId4" Type="http://schemas.openxmlformats.org/officeDocument/2006/relationships/image" Target="../media/image18.sv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42.xml"/><Relationship Id="rId4" Type="http://schemas.openxmlformats.org/officeDocument/2006/relationships/image" Target="../media/image10.svg"/></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3.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4" Type="http://schemas.openxmlformats.org/officeDocument/2006/relationships/slideMaster" Target="../slideMasters/slideMaster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7.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7.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7.xml"/><Relationship Id="rId1" Type="http://schemas.openxmlformats.org/officeDocument/2006/relationships/tags" Target="../tags/tag147.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4.svg"/></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86.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3" Type="http://schemas.openxmlformats.org/officeDocument/2006/relationships/tags" Target="../tags/tag150.xml"/><Relationship Id="rId21" Type="http://schemas.openxmlformats.org/officeDocument/2006/relationships/slideMaster" Target="../slideMasters/slideMaster7.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tags" Target="../tags/tag162.xml"/><Relationship Id="rId10" Type="http://schemas.openxmlformats.org/officeDocument/2006/relationships/tags" Target="../tags/tag157.xml"/><Relationship Id="rId19" Type="http://schemas.openxmlformats.org/officeDocument/2006/relationships/tags" Target="../tags/tag166.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68.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image" Target="../media/image10.sv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7.xml"/><Relationship Id="rId4" Type="http://schemas.openxmlformats.org/officeDocument/2006/relationships/image" Target="../media/image33.emf"/></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8.xml"/><Relationship Id="rId4" Type="http://schemas.openxmlformats.org/officeDocument/2006/relationships/image" Target="../media/image18.svg"/></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8.xml"/><Relationship Id="rId1" Type="http://schemas.openxmlformats.org/officeDocument/2006/relationships/tags" Target="../tags/tag169.xml"/><Relationship Id="rId4" Type="http://schemas.openxmlformats.org/officeDocument/2006/relationships/image" Target="../media/image10.svg"/></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8.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ags" Target="../tags/tag170.xml"/><Relationship Id="rId4" Type="http://schemas.openxmlformats.org/officeDocument/2006/relationships/slideMaster" Target="../slideMasters/slideMaster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3.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8.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8.xml"/><Relationship Id="rId1" Type="http://schemas.openxmlformats.org/officeDocument/2006/relationships/tags" Target="../tags/tag17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4.svg"/></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81.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tags" Target="../tags/tag187.xml"/><Relationship Id="rId18" Type="http://schemas.openxmlformats.org/officeDocument/2006/relationships/tags" Target="../tags/tag192.xml"/><Relationship Id="rId3" Type="http://schemas.openxmlformats.org/officeDocument/2006/relationships/tags" Target="../tags/tag177.xml"/><Relationship Id="rId21" Type="http://schemas.openxmlformats.org/officeDocument/2006/relationships/slideMaster" Target="../slideMasters/slideMaster8.xml"/><Relationship Id="rId7" Type="http://schemas.openxmlformats.org/officeDocument/2006/relationships/tags" Target="../tags/tag181.xml"/><Relationship Id="rId12" Type="http://schemas.openxmlformats.org/officeDocument/2006/relationships/tags" Target="../tags/tag186.xml"/><Relationship Id="rId17" Type="http://schemas.openxmlformats.org/officeDocument/2006/relationships/tags" Target="../tags/tag191.xml"/><Relationship Id="rId2" Type="http://schemas.openxmlformats.org/officeDocument/2006/relationships/tags" Target="../tags/tag176.xml"/><Relationship Id="rId16" Type="http://schemas.openxmlformats.org/officeDocument/2006/relationships/tags" Target="../tags/tag190.xml"/><Relationship Id="rId20" Type="http://schemas.openxmlformats.org/officeDocument/2006/relationships/tags" Target="../tags/tag194.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tags" Target="../tags/tag185.xml"/><Relationship Id="rId5" Type="http://schemas.openxmlformats.org/officeDocument/2006/relationships/tags" Target="../tags/tag179.xml"/><Relationship Id="rId15" Type="http://schemas.openxmlformats.org/officeDocument/2006/relationships/tags" Target="../tags/tag189.xml"/><Relationship Id="rId10" Type="http://schemas.openxmlformats.org/officeDocument/2006/relationships/tags" Target="../tags/tag184.xml"/><Relationship Id="rId19" Type="http://schemas.openxmlformats.org/officeDocument/2006/relationships/tags" Target="../tags/tag193.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8.xml"/><Relationship Id="rId1" Type="http://schemas.openxmlformats.org/officeDocument/2006/relationships/tags" Target="../tags/tag195.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image" Target="../media/image10.svg"/></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 Id="rId4" Type="http://schemas.openxmlformats.org/officeDocument/2006/relationships/image" Target="../media/image33.emf"/></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0.sv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11" name="Autoshape Default Text" hidden="1"/>
          <p:cNvSpPr txBox="1"/>
          <p:nvPr/>
        </p:nvSpPr>
        <p:spPr>
          <a:xfrm>
            <a:off x="0" y="0"/>
            <a:ext cx="1041600" cy="201600"/>
          </a:xfrm>
          <a:prstGeom prst="rect">
            <a:avLst/>
          </a:prstGeom>
          <a:noFill/>
        </p:spPr>
        <p:txBody>
          <a:bodyPr wrap="square" lIns="0" tIns="0" rIns="0" bIns="0" rtlCol="0">
            <a:noAutofit/>
          </a:bodyPr>
          <a:lstStyle/>
          <a:p>
            <a:r>
              <a:rPr lang="en-US" sz="1333"/>
              <a:t>Text</a:t>
            </a:r>
          </a:p>
        </p:txBody>
      </p:sp>
      <p:sp>
        <p:nvSpPr>
          <p:cNvPr id="12" name="Autoshape Default Shape" hidden="1"/>
          <p:cNvSpPr>
            <a:spLocks/>
          </p:cNvSpPr>
          <p:nvPr/>
        </p:nvSpPr>
        <p:spPr>
          <a:xfrm>
            <a:off x="0" y="327912"/>
            <a:ext cx="979200" cy="327288"/>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128" tIns="75128" rIns="75128" bIns="75128" rtlCol="0" anchor="ctr">
            <a:noAutofit/>
          </a:bodyPr>
          <a:lstStyle/>
          <a:p>
            <a:pPr algn="ctr"/>
            <a:r>
              <a:rPr lang="en-US" sz="1333"/>
              <a:t>Shape</a:t>
            </a:r>
          </a:p>
        </p:txBody>
      </p:sp>
      <p:cxnSp>
        <p:nvCxnSpPr>
          <p:cNvPr id="13" name="Autoshape Default Line" hidden="1"/>
          <p:cNvCxnSpPr/>
          <p:nvPr/>
        </p:nvCxnSpPr>
        <p:spPr>
          <a:xfrm flipV="1">
            <a:off x="0" y="884700"/>
            <a:ext cx="888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Filename" hidden="1">
            <a:extLst>
              <a:ext uri="{FF2B5EF4-FFF2-40B4-BE49-F238E27FC236}">
                <a16:creationId xmlns:a16="http://schemas.microsoft.com/office/drawing/2014/main" id="{AC92D302-00EE-4255-82F0-034F72E7A770}"/>
              </a:ext>
            </a:extLst>
          </p:cNvPr>
          <p:cNvSpPr txBox="1"/>
          <p:nvPr/>
        </p:nvSpPr>
        <p:spPr>
          <a:xfrm>
            <a:off x="426720" y="6437311"/>
            <a:ext cx="9120000" cy="304800"/>
          </a:xfrm>
          <a:prstGeom prst="rect">
            <a:avLst/>
          </a:prstGeom>
          <a:noFill/>
        </p:spPr>
        <p:txBody>
          <a:bodyPr wrap="square" lIns="0" tIns="0" rIns="0" bIns="0" rtlCol="0" anchor="b" anchorCtr="0">
            <a:noAutofit/>
          </a:bodyPr>
          <a:lstStyle/>
          <a:p>
            <a:r>
              <a:rPr lang="en-US" sz="533" noProof="1">
                <a:solidFill>
                  <a:schemeClr val="tx1"/>
                </a:solidFill>
                <a:latin typeface="+mn-lt"/>
                <a:cs typeface="Arial" pitchFamily="34" charset="0"/>
              </a:rPr>
              <a:t>https://rsmnet-my.sharepoint.com/personal/e069582_mcgladrey_rsm_net/Documents/all/AACE/ASCEND 2025-26/Session 1/Ascend - Financial Systems Landscape and Trends Session 1 FINAL.pptx</a:t>
            </a:r>
          </a:p>
        </p:txBody>
      </p:sp>
      <p:sp>
        <p:nvSpPr>
          <p:cNvPr id="16" name="Draft" hidden="1">
            <a:extLst>
              <a:ext uri="{FF2B5EF4-FFF2-40B4-BE49-F238E27FC236}">
                <a16:creationId xmlns:a16="http://schemas.microsoft.com/office/drawing/2014/main" id="{214A0598-EC0E-4C30-935A-CC6283625B3B}"/>
              </a:ext>
            </a:extLst>
          </p:cNvPr>
          <p:cNvSpPr txBox="1"/>
          <p:nvPr/>
        </p:nvSpPr>
        <p:spPr>
          <a:xfrm>
            <a:off x="10083817" y="28599"/>
            <a:ext cx="1869000" cy="222227"/>
          </a:xfrm>
          <a:prstGeom prst="rect">
            <a:avLst/>
          </a:prstGeom>
          <a:noFill/>
        </p:spPr>
        <p:txBody>
          <a:bodyPr wrap="square" lIns="0" tIns="0" rIns="0" bIns="0" rtlCol="0">
            <a:noAutofit/>
          </a:bodyPr>
          <a:lstStyle/>
          <a:p>
            <a:pPr algn="r"/>
            <a:r>
              <a:rPr lang="en-US" sz="1467">
                <a:solidFill>
                  <a:schemeClr val="bg1">
                    <a:lumMod val="75000"/>
                  </a:schemeClr>
                </a:solidFill>
                <a:latin typeface="+mn-lt"/>
                <a:cs typeface="Arial" pitchFamily="34" charset="0"/>
              </a:rPr>
              <a:t>DRAFT</a:t>
            </a:r>
          </a:p>
        </p:txBody>
      </p:sp>
      <p:pic>
        <p:nvPicPr>
          <p:cNvPr id="15" name="Picture 14">
            <a:extLst>
              <a:ext uri="{FF2B5EF4-FFF2-40B4-BE49-F238E27FC236}">
                <a16:creationId xmlns:a16="http://schemas.microsoft.com/office/drawing/2014/main" id="{F1E139A0-FB3B-48BA-A40D-B53A7946804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 y="884"/>
            <a:ext cx="12191616" cy="6856444"/>
          </a:xfrm>
          <a:prstGeom prst="rect">
            <a:avLst/>
          </a:prstGeom>
        </p:spPr>
      </p:pic>
      <p:sp>
        <p:nvSpPr>
          <p:cNvPr id="3" name="Subtitle"/>
          <p:cNvSpPr>
            <a:spLocks noGrp="1"/>
          </p:cNvSpPr>
          <p:nvPr>
            <p:ph type="subTitle" idx="1" hasCustomPrompt="1"/>
          </p:nvPr>
        </p:nvSpPr>
        <p:spPr>
          <a:xfrm>
            <a:off x="5248656" y="3880800"/>
            <a:ext cx="5508000" cy="1267200"/>
          </a:xfrm>
        </p:spPr>
        <p:txBody>
          <a:bodyPr vert="horz" lIns="0" tIns="45720" rIns="0" bIns="45720" rtlCol="0">
            <a:normAutofit/>
          </a:bodyPr>
          <a:lstStyle>
            <a:lvl1pPr>
              <a:defRPr lang="en-GB" sz="2400" dirty="0">
                <a:solidFill>
                  <a:schemeClr val="bg1"/>
                </a:solidFill>
                <a:latin typeface="Arial" panose="020B0604020202020204" pitchFamily="34" charset="0"/>
                <a:cs typeface="Arial" panose="020B0604020202020204" pitchFamily="34" charset="0"/>
              </a:defRPr>
            </a:lvl1pPr>
          </a:lstStyle>
          <a:p>
            <a:pPr lvl="0" defTabSz="914400">
              <a:lnSpc>
                <a:spcPct val="100000"/>
              </a:lnSpc>
              <a:spcBef>
                <a:spcPts val="1000"/>
              </a:spcBef>
              <a:buFont typeface="Arial" panose="020B0604020202020204" pitchFamily="34" charset="0"/>
            </a:pPr>
            <a:r>
              <a:rPr lang="en-US"/>
              <a:t>Financial Systems Transformation I</a:t>
            </a:r>
          </a:p>
        </p:txBody>
      </p:sp>
      <p:sp>
        <p:nvSpPr>
          <p:cNvPr id="2" name="Title"/>
          <p:cNvSpPr>
            <a:spLocks noGrp="1"/>
          </p:cNvSpPr>
          <p:nvPr>
            <p:ph type="ctrTitle" hasCustomPrompt="1"/>
          </p:nvPr>
        </p:nvSpPr>
        <p:spPr>
          <a:xfrm>
            <a:off x="5247700" y="1285200"/>
            <a:ext cx="5508000" cy="2509200"/>
          </a:xfrm>
        </p:spPr>
        <p:txBody>
          <a:bodyPr vert="horz" lIns="0" tIns="45720" rIns="0" bIns="45720" rtlCol="0" anchor="b">
            <a:normAutofit/>
          </a:bodyPr>
          <a:lstStyle>
            <a:lvl1pPr>
              <a:defRPr lang="en-GB" sz="3200" b="0" cap="all" dirty="0">
                <a:solidFill>
                  <a:schemeClr val="bg1"/>
                </a:solidFill>
                <a:latin typeface="Arial" panose="020B0604020202020204" pitchFamily="34" charset="0"/>
                <a:cs typeface="Arial" panose="020B0604020202020204" pitchFamily="34" charset="0"/>
              </a:defRPr>
            </a:lvl1pPr>
          </a:lstStyle>
          <a:p>
            <a:pPr lvl="0" defTabSz="914400">
              <a:lnSpc>
                <a:spcPct val="90000"/>
              </a:lnSpc>
            </a:pPr>
            <a:r>
              <a:rPr lang="en-US"/>
              <a:t>ASCEND NATIONAL COHORT PROGRAM</a:t>
            </a:r>
          </a:p>
        </p:txBody>
      </p:sp>
    </p:spTree>
    <p:extLst>
      <p:ext uri="{BB962C8B-B14F-4D97-AF65-F5344CB8AC3E}">
        <p14:creationId xmlns:p14="http://schemas.microsoft.com/office/powerpoint/2010/main" val="1252992847"/>
      </p:ext>
    </p:extLst>
  </p:cSld>
  <p:clrMapOvr>
    <a:masterClrMapping/>
  </p:clrMapOvr>
  <p:extLst>
    <p:ext uri="{DCECCB84-F9BA-43D5-87BE-67443E8EF086}">
      <p15:sldGuideLst xmlns:p15="http://schemas.microsoft.com/office/powerpoint/2012/main">
        <p15:guide id="1" pos="331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peakers_Gr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Picture Placeholder 11"/>
          <p:cNvSpPr>
            <a:spLocks noGrp="1"/>
          </p:cNvSpPr>
          <p:nvPr>
            <p:ph type="pic" sz="quarter" idx="14"/>
          </p:nvPr>
        </p:nvSpPr>
        <p:spPr>
          <a:xfrm>
            <a:off x="622300" y="1606021"/>
            <a:ext cx="1783077" cy="1781848"/>
          </a:xfrm>
          <a:prstGeom prst="rect">
            <a:avLst/>
          </a:prstGeom>
        </p:spPr>
        <p:txBody>
          <a:bodyPr>
            <a:normAutofit/>
          </a:bodyPr>
          <a:lstStyle>
            <a:lvl1pPr marL="0" indent="0">
              <a:buNone/>
              <a:defRPr sz="1000"/>
            </a:lvl1pPr>
          </a:lstStyle>
          <a:p>
            <a:r>
              <a:rPr lang="en-US"/>
              <a:t>Click icon to add picture</a:t>
            </a:r>
          </a:p>
        </p:txBody>
      </p:sp>
      <p:sp>
        <p:nvSpPr>
          <p:cNvPr id="9" name="Text Placeholder 24"/>
          <p:cNvSpPr>
            <a:spLocks noGrp="1"/>
          </p:cNvSpPr>
          <p:nvPr>
            <p:ph type="body" sz="quarter" idx="20" hasCustomPrompt="1"/>
          </p:nvPr>
        </p:nvSpPr>
        <p:spPr>
          <a:xfrm>
            <a:off x="2477452" y="2189287"/>
            <a:ext cx="3275647" cy="1198582"/>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10" name="Text Placeholder 24"/>
          <p:cNvSpPr>
            <a:spLocks noGrp="1"/>
          </p:cNvSpPr>
          <p:nvPr>
            <p:ph type="body" sz="quarter" idx="21" hasCustomPrompt="1"/>
          </p:nvPr>
        </p:nvSpPr>
        <p:spPr>
          <a:xfrm>
            <a:off x="2477453" y="1613225"/>
            <a:ext cx="3275644" cy="286804"/>
          </a:xfrm>
          <a:prstGeom prst="rect">
            <a:avLst/>
          </a:prstGeom>
        </p:spPr>
        <p:txBody>
          <a:bodyPr>
            <a:noAutofit/>
          </a:bodyPr>
          <a:lstStyle>
            <a:lvl1pPr marL="0" indent="0">
              <a:buNone/>
              <a:defRPr sz="1400" b="1"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Name</a:t>
            </a:r>
          </a:p>
        </p:txBody>
      </p:sp>
      <p:sp>
        <p:nvSpPr>
          <p:cNvPr id="11" name="Text Placeholder 24"/>
          <p:cNvSpPr>
            <a:spLocks noGrp="1"/>
          </p:cNvSpPr>
          <p:nvPr>
            <p:ph type="body" sz="quarter" idx="22" hasCustomPrompt="1"/>
          </p:nvPr>
        </p:nvSpPr>
        <p:spPr>
          <a:xfrm>
            <a:off x="2477453" y="1901257"/>
            <a:ext cx="3275644" cy="286804"/>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12" name="Picture Placeholder 11"/>
          <p:cNvSpPr>
            <a:spLocks noGrp="1"/>
          </p:cNvSpPr>
          <p:nvPr>
            <p:ph type="pic" sz="quarter" idx="27"/>
          </p:nvPr>
        </p:nvSpPr>
        <p:spPr>
          <a:xfrm>
            <a:off x="622300" y="3816348"/>
            <a:ext cx="1783077" cy="1781848"/>
          </a:xfrm>
          <a:prstGeom prst="rect">
            <a:avLst/>
          </a:prstGeom>
        </p:spPr>
        <p:txBody>
          <a:bodyPr>
            <a:normAutofit/>
          </a:bodyPr>
          <a:lstStyle>
            <a:lvl1pPr marL="0" indent="0">
              <a:buNone/>
              <a:defRPr sz="1000"/>
            </a:lvl1pPr>
          </a:lstStyle>
          <a:p>
            <a:r>
              <a:rPr lang="en-US"/>
              <a:t>Click icon to add picture</a:t>
            </a:r>
          </a:p>
        </p:txBody>
      </p:sp>
      <p:sp>
        <p:nvSpPr>
          <p:cNvPr id="14" name="Text Placeholder 24"/>
          <p:cNvSpPr>
            <a:spLocks noGrp="1"/>
          </p:cNvSpPr>
          <p:nvPr>
            <p:ph type="body" sz="quarter" idx="28" hasCustomPrompt="1"/>
          </p:nvPr>
        </p:nvSpPr>
        <p:spPr>
          <a:xfrm>
            <a:off x="2464803" y="4399614"/>
            <a:ext cx="3288836" cy="1198581"/>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15" name="Text Placeholder 24"/>
          <p:cNvSpPr>
            <a:spLocks noGrp="1"/>
          </p:cNvSpPr>
          <p:nvPr>
            <p:ph type="body" sz="quarter" idx="29" hasCustomPrompt="1"/>
          </p:nvPr>
        </p:nvSpPr>
        <p:spPr>
          <a:xfrm>
            <a:off x="2464803" y="3823552"/>
            <a:ext cx="3288833" cy="288032"/>
          </a:xfrm>
          <a:prstGeom prst="rect">
            <a:avLst/>
          </a:prstGeom>
        </p:spPr>
        <p:txBody>
          <a:bodyPr>
            <a:noAutofit/>
          </a:bodyPr>
          <a:lstStyle>
            <a:lvl1pPr marL="0" indent="0">
              <a:buNone/>
              <a:defRPr sz="1400" b="1" baseline="0">
                <a:solidFill>
                  <a:schemeClr val="accent2"/>
                </a:solidFill>
              </a:defRPr>
            </a:lvl1pPr>
            <a:lvl2pPr>
              <a:defRPr sz="1600"/>
            </a:lvl2pPr>
            <a:lvl3pPr>
              <a:defRPr sz="1400"/>
            </a:lvl3pPr>
            <a:lvl4pPr>
              <a:defRPr sz="1200"/>
            </a:lvl4pPr>
            <a:lvl5pPr>
              <a:defRPr sz="1200"/>
            </a:lvl5pPr>
          </a:lstStyle>
          <a:p>
            <a:pPr lvl="0"/>
            <a:r>
              <a:rPr lang="en-US"/>
              <a:t>Name</a:t>
            </a:r>
          </a:p>
        </p:txBody>
      </p:sp>
      <p:sp>
        <p:nvSpPr>
          <p:cNvPr id="16" name="Text Placeholder 24"/>
          <p:cNvSpPr>
            <a:spLocks noGrp="1"/>
          </p:cNvSpPr>
          <p:nvPr>
            <p:ph type="body" sz="quarter" idx="30" hasCustomPrompt="1"/>
          </p:nvPr>
        </p:nvSpPr>
        <p:spPr>
          <a:xfrm>
            <a:off x="2464803" y="4111584"/>
            <a:ext cx="3288833" cy="288032"/>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28" name="Picture Placeholder 11"/>
          <p:cNvSpPr>
            <a:spLocks noGrp="1"/>
          </p:cNvSpPr>
          <p:nvPr>
            <p:ph type="pic" sz="quarter" idx="31"/>
          </p:nvPr>
        </p:nvSpPr>
        <p:spPr>
          <a:xfrm>
            <a:off x="6215258" y="1606021"/>
            <a:ext cx="1783077" cy="1781848"/>
          </a:xfrm>
          <a:prstGeom prst="rect">
            <a:avLst/>
          </a:prstGeom>
        </p:spPr>
        <p:txBody>
          <a:bodyPr>
            <a:normAutofit/>
          </a:bodyPr>
          <a:lstStyle>
            <a:lvl1pPr marL="0" indent="0">
              <a:buNone/>
              <a:defRPr sz="1000"/>
            </a:lvl1pPr>
          </a:lstStyle>
          <a:p>
            <a:r>
              <a:rPr lang="en-US"/>
              <a:t>Click icon to add picture</a:t>
            </a:r>
          </a:p>
        </p:txBody>
      </p:sp>
      <p:sp>
        <p:nvSpPr>
          <p:cNvPr id="30" name="Text Placeholder 24"/>
          <p:cNvSpPr>
            <a:spLocks noGrp="1"/>
          </p:cNvSpPr>
          <p:nvPr>
            <p:ph type="body" sz="quarter" idx="32" hasCustomPrompt="1"/>
          </p:nvPr>
        </p:nvSpPr>
        <p:spPr>
          <a:xfrm>
            <a:off x="8085890" y="2196403"/>
            <a:ext cx="3264909" cy="1191466"/>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31" name="Text Placeholder 24"/>
          <p:cNvSpPr>
            <a:spLocks noGrp="1"/>
          </p:cNvSpPr>
          <p:nvPr>
            <p:ph type="body" sz="quarter" idx="33" hasCustomPrompt="1"/>
          </p:nvPr>
        </p:nvSpPr>
        <p:spPr>
          <a:xfrm>
            <a:off x="8085891" y="1620341"/>
            <a:ext cx="3264906" cy="286804"/>
          </a:xfrm>
          <a:prstGeom prst="rect">
            <a:avLst/>
          </a:prstGeom>
        </p:spPr>
        <p:txBody>
          <a:bodyPr>
            <a:noAutofit/>
          </a:bodyPr>
          <a:lstStyle>
            <a:lvl1pPr marL="0" indent="0">
              <a:buNone/>
              <a:defRPr sz="1400" b="1"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Name</a:t>
            </a:r>
          </a:p>
        </p:txBody>
      </p:sp>
      <p:sp>
        <p:nvSpPr>
          <p:cNvPr id="32" name="Text Placeholder 24"/>
          <p:cNvSpPr>
            <a:spLocks noGrp="1"/>
          </p:cNvSpPr>
          <p:nvPr>
            <p:ph type="body" sz="quarter" idx="34" hasCustomPrompt="1"/>
          </p:nvPr>
        </p:nvSpPr>
        <p:spPr>
          <a:xfrm>
            <a:off x="8085891" y="1908373"/>
            <a:ext cx="3264906" cy="286804"/>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33" name="Picture Placeholder 11"/>
          <p:cNvSpPr>
            <a:spLocks noGrp="1"/>
          </p:cNvSpPr>
          <p:nvPr>
            <p:ph type="pic" sz="quarter" idx="35"/>
          </p:nvPr>
        </p:nvSpPr>
        <p:spPr>
          <a:xfrm>
            <a:off x="6215258" y="3816348"/>
            <a:ext cx="1783077" cy="1781848"/>
          </a:xfrm>
          <a:prstGeom prst="rect">
            <a:avLst/>
          </a:prstGeom>
        </p:spPr>
        <p:txBody>
          <a:bodyPr>
            <a:normAutofit/>
          </a:bodyPr>
          <a:lstStyle>
            <a:lvl1pPr marL="0" indent="0">
              <a:buNone/>
              <a:defRPr sz="1000"/>
            </a:lvl1pPr>
          </a:lstStyle>
          <a:p>
            <a:r>
              <a:rPr lang="en-US"/>
              <a:t>Click icon to add picture</a:t>
            </a:r>
          </a:p>
        </p:txBody>
      </p:sp>
      <p:sp>
        <p:nvSpPr>
          <p:cNvPr id="35" name="Text Placeholder 24"/>
          <p:cNvSpPr>
            <a:spLocks noGrp="1"/>
          </p:cNvSpPr>
          <p:nvPr>
            <p:ph type="body" sz="quarter" idx="36" hasCustomPrompt="1"/>
          </p:nvPr>
        </p:nvSpPr>
        <p:spPr>
          <a:xfrm>
            <a:off x="8073241" y="4389479"/>
            <a:ext cx="3278054" cy="1191466"/>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36" name="Text Placeholder 24"/>
          <p:cNvSpPr>
            <a:spLocks noGrp="1"/>
          </p:cNvSpPr>
          <p:nvPr>
            <p:ph type="body" sz="quarter" idx="37" hasCustomPrompt="1"/>
          </p:nvPr>
        </p:nvSpPr>
        <p:spPr>
          <a:xfrm>
            <a:off x="8073241" y="3813416"/>
            <a:ext cx="3278051" cy="288032"/>
          </a:xfrm>
          <a:prstGeom prst="rect">
            <a:avLst/>
          </a:prstGeom>
        </p:spPr>
        <p:txBody>
          <a:bodyPr>
            <a:noAutofit/>
          </a:bodyPr>
          <a:lstStyle>
            <a:lvl1pPr marL="0" indent="0">
              <a:buNone/>
              <a:defRPr sz="1400" b="1" baseline="0">
                <a:solidFill>
                  <a:schemeClr val="accent2"/>
                </a:solidFill>
              </a:defRPr>
            </a:lvl1pPr>
            <a:lvl2pPr>
              <a:defRPr sz="1600"/>
            </a:lvl2pPr>
            <a:lvl3pPr>
              <a:defRPr sz="1400"/>
            </a:lvl3pPr>
            <a:lvl4pPr>
              <a:defRPr sz="1200"/>
            </a:lvl4pPr>
            <a:lvl5pPr>
              <a:defRPr sz="1200"/>
            </a:lvl5pPr>
          </a:lstStyle>
          <a:p>
            <a:pPr lvl="0"/>
            <a:r>
              <a:rPr lang="en-US"/>
              <a:t>Name</a:t>
            </a:r>
          </a:p>
        </p:txBody>
      </p:sp>
      <p:sp>
        <p:nvSpPr>
          <p:cNvPr id="37" name="Text Placeholder 24"/>
          <p:cNvSpPr>
            <a:spLocks noGrp="1"/>
          </p:cNvSpPr>
          <p:nvPr>
            <p:ph type="body" sz="quarter" idx="38" hasCustomPrompt="1"/>
          </p:nvPr>
        </p:nvSpPr>
        <p:spPr>
          <a:xfrm>
            <a:off x="8073241" y="4101448"/>
            <a:ext cx="3278051" cy="288032"/>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3" name="Slide Number Placeholder 2">
            <a:extLst>
              <a:ext uri="{FF2B5EF4-FFF2-40B4-BE49-F238E27FC236}">
                <a16:creationId xmlns:a16="http://schemas.microsoft.com/office/drawing/2014/main" id="{61B7F0C9-9986-407C-948C-63C5ED6BDFC7}"/>
              </a:ext>
            </a:extLst>
          </p:cNvPr>
          <p:cNvSpPr>
            <a:spLocks noGrp="1"/>
          </p:cNvSpPr>
          <p:nvPr>
            <p:ph type="sldNum" sz="quarter" idx="39"/>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8005891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hree point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7BB5EF85-EA9E-3034-9AA7-3941942DDA58}"/>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99BADEA4-37D5-F262-1B68-0F2093F461FF}"/>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1B5CFE7E-0C43-2CC1-DF64-129ED37C241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CA2C38B0-0DF7-AD0C-8FCB-52F2242765EA}"/>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3B2CBE38-0F56-C0D6-98DE-2397D80DE88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6B21A685-8CB7-602E-9C15-B4E716E7DC5B}"/>
              </a:ext>
            </a:extLst>
          </p:cNvPr>
          <p:cNvSpPr>
            <a:spLocks noGrp="1"/>
          </p:cNvSpPr>
          <p:nvPr>
            <p:ph sz="quarter" idx="20"/>
          </p:nvPr>
        </p:nvSpPr>
        <p:spPr>
          <a:xfrm>
            <a:off x="1060704"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17">
            <a:extLst>
              <a:ext uri="{FF2B5EF4-FFF2-40B4-BE49-F238E27FC236}">
                <a16:creationId xmlns:a16="http://schemas.microsoft.com/office/drawing/2014/main" id="{B41AE74C-6FDB-F859-8319-02B2C62959D4}"/>
              </a:ext>
            </a:extLst>
          </p:cNvPr>
          <p:cNvSpPr>
            <a:spLocks noGrp="1"/>
          </p:cNvSpPr>
          <p:nvPr>
            <p:ph sz="quarter" idx="21"/>
          </p:nvPr>
        </p:nvSpPr>
        <p:spPr>
          <a:xfrm>
            <a:off x="4572000"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FB801FE-3167-9359-BDD6-13E2C567BBB8}"/>
              </a:ext>
            </a:extLst>
          </p:cNvPr>
          <p:cNvSpPr>
            <a:spLocks noGrp="1"/>
          </p:cNvSpPr>
          <p:nvPr>
            <p:ph sz="quarter" idx="22"/>
          </p:nvPr>
        </p:nvSpPr>
        <p:spPr>
          <a:xfrm>
            <a:off x="8180832"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325463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hree point layou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C5743957-88D8-6563-88B1-3ADB23349BF0}"/>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12FBE549-8D23-F9ED-3121-708612E983BD}"/>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8AAED02F-0C2A-6705-0290-F2F54583BA7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491D960A-8FA4-573D-BFAA-85E0E9D20C45}"/>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EF9A0D2B-9A40-D3A8-CC66-650BEE54971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BA87037E-2DDA-B8D4-FC38-C03C64ECA203}"/>
              </a:ext>
            </a:extLst>
          </p:cNvPr>
          <p:cNvSpPr>
            <a:spLocks noGrp="1"/>
          </p:cNvSpPr>
          <p:nvPr>
            <p:ph sz="quarter" idx="20"/>
          </p:nvPr>
        </p:nvSpPr>
        <p:spPr>
          <a:xfrm>
            <a:off x="1060704"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8503487-2A2A-2577-E414-533AD55B9ACE}"/>
              </a:ext>
            </a:extLst>
          </p:cNvPr>
          <p:cNvSpPr>
            <a:spLocks noGrp="1"/>
          </p:cNvSpPr>
          <p:nvPr>
            <p:ph sz="quarter" idx="21"/>
          </p:nvPr>
        </p:nvSpPr>
        <p:spPr>
          <a:xfrm>
            <a:off x="4648200"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8BB224DA-BFA8-0A2D-EADF-72388F605911}"/>
              </a:ext>
            </a:extLst>
          </p:cNvPr>
          <p:cNvSpPr>
            <a:spLocks noGrp="1"/>
          </p:cNvSpPr>
          <p:nvPr>
            <p:ph sz="quarter" idx="22"/>
          </p:nvPr>
        </p:nvSpPr>
        <p:spPr>
          <a:xfrm>
            <a:off x="8257032"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399349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Four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74924541-1F26-5765-7BB0-61DBC3FA8377}"/>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0" name="Text Placeholder 29">
            <a:extLst>
              <a:ext uri="{FF2B5EF4-FFF2-40B4-BE49-F238E27FC236}">
                <a16:creationId xmlns:a16="http://schemas.microsoft.com/office/drawing/2014/main" id="{2E695CE5-E6EE-D658-7023-0D09649BD102}"/>
              </a:ext>
            </a:extLst>
          </p:cNvPr>
          <p:cNvSpPr>
            <a:spLocks noGrp="1"/>
          </p:cNvSpPr>
          <p:nvPr>
            <p:ph type="body" sz="quarter" idx="18" hasCustomPrompt="1"/>
          </p:nvPr>
        </p:nvSpPr>
        <p:spPr>
          <a:xfrm>
            <a:off x="996696" y="2109788"/>
            <a:ext cx="782638" cy="78105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4" name="Text Placeholder 33">
            <a:extLst>
              <a:ext uri="{FF2B5EF4-FFF2-40B4-BE49-F238E27FC236}">
                <a16:creationId xmlns:a16="http://schemas.microsoft.com/office/drawing/2014/main" id="{F444F38C-5AE1-E0D9-5ED6-130DC7942DF3}"/>
              </a:ext>
            </a:extLst>
          </p:cNvPr>
          <p:cNvSpPr>
            <a:spLocks noGrp="1"/>
          </p:cNvSpPr>
          <p:nvPr>
            <p:ph type="body" sz="quarter" idx="19" hasCustomPrompt="1"/>
          </p:nvPr>
        </p:nvSpPr>
        <p:spPr>
          <a:xfrm>
            <a:off x="3694176" y="2112963"/>
            <a:ext cx="782638" cy="786384"/>
          </a:xfrm>
          <a:solidFill>
            <a:schemeClr val="tx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5" name="Text Placeholder 33">
            <a:extLst>
              <a:ext uri="{FF2B5EF4-FFF2-40B4-BE49-F238E27FC236}">
                <a16:creationId xmlns:a16="http://schemas.microsoft.com/office/drawing/2014/main" id="{B902F693-4C99-132F-221F-AA15FF85CBF5}"/>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6" name="Text Placeholder 33">
            <a:extLst>
              <a:ext uri="{FF2B5EF4-FFF2-40B4-BE49-F238E27FC236}">
                <a16:creationId xmlns:a16="http://schemas.microsoft.com/office/drawing/2014/main" id="{7BFB5199-74B1-632A-03F1-B4E90075FF4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Content Placeholder 17">
            <a:extLst>
              <a:ext uri="{FF2B5EF4-FFF2-40B4-BE49-F238E27FC236}">
                <a16:creationId xmlns:a16="http://schemas.microsoft.com/office/drawing/2014/main" id="{DC71B040-FDDF-7FA3-18C6-3F41B67FC329}"/>
              </a:ext>
            </a:extLst>
          </p:cNvPr>
          <p:cNvSpPr>
            <a:spLocks noGrp="1"/>
          </p:cNvSpPr>
          <p:nvPr>
            <p:ph sz="quarter" idx="22"/>
          </p:nvPr>
        </p:nvSpPr>
        <p:spPr>
          <a:xfrm>
            <a:off x="99669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A7906F8-CD9F-CC32-EBD8-6B586993D425}"/>
              </a:ext>
            </a:extLst>
          </p:cNvPr>
          <p:cNvSpPr>
            <a:spLocks noGrp="1"/>
          </p:cNvSpPr>
          <p:nvPr>
            <p:ph sz="quarter" idx="23"/>
          </p:nvPr>
        </p:nvSpPr>
        <p:spPr>
          <a:xfrm>
            <a:off x="369417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D013BD34-3139-6621-2415-B725830EA9EC}"/>
              </a:ext>
            </a:extLst>
          </p:cNvPr>
          <p:cNvSpPr>
            <a:spLocks noGrp="1"/>
          </p:cNvSpPr>
          <p:nvPr>
            <p:ph sz="quarter" idx="24"/>
          </p:nvPr>
        </p:nvSpPr>
        <p:spPr>
          <a:xfrm>
            <a:off x="639165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C9CF1EB2-5F5E-6353-E227-AF8E97696C5C}"/>
              </a:ext>
            </a:extLst>
          </p:cNvPr>
          <p:cNvSpPr>
            <a:spLocks noGrp="1"/>
          </p:cNvSpPr>
          <p:nvPr>
            <p:ph sz="quarter" idx="25"/>
          </p:nvPr>
        </p:nvSpPr>
        <p:spPr>
          <a:xfrm>
            <a:off x="9098280"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2001389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our point layout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grpSp>
        <p:nvGrpSpPr>
          <p:cNvPr id="4" name="Group 3">
            <a:extLst>
              <a:ext uri="{FF2B5EF4-FFF2-40B4-BE49-F238E27FC236}">
                <a16:creationId xmlns:a16="http://schemas.microsoft.com/office/drawing/2014/main" id="{EBF1A456-1439-4FB5-BB78-B79ADD19D336}"/>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4" name="Text Placeholder 33">
            <a:extLst>
              <a:ext uri="{FF2B5EF4-FFF2-40B4-BE49-F238E27FC236}">
                <a16:creationId xmlns:a16="http://schemas.microsoft.com/office/drawing/2014/main" id="{794529AB-56E3-F921-E788-9BE34EA4A256}"/>
              </a:ext>
            </a:extLst>
          </p:cNvPr>
          <p:cNvSpPr>
            <a:spLocks noGrp="1"/>
          </p:cNvSpPr>
          <p:nvPr>
            <p:ph type="body" sz="quarter" idx="18" hasCustomPrompt="1"/>
          </p:nvPr>
        </p:nvSpPr>
        <p:spPr>
          <a:xfrm>
            <a:off x="996696" y="2109788"/>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5" name="Text Placeholder 33">
            <a:extLst>
              <a:ext uri="{FF2B5EF4-FFF2-40B4-BE49-F238E27FC236}">
                <a16:creationId xmlns:a16="http://schemas.microsoft.com/office/drawing/2014/main" id="{F1C5F5BC-3FE0-BFD1-A477-F533FEA22779}"/>
              </a:ext>
            </a:extLst>
          </p:cNvPr>
          <p:cNvSpPr>
            <a:spLocks noGrp="1"/>
          </p:cNvSpPr>
          <p:nvPr>
            <p:ph type="body" sz="quarter" idx="19" hasCustomPrompt="1"/>
          </p:nvPr>
        </p:nvSpPr>
        <p:spPr>
          <a:xfrm>
            <a:off x="3694176" y="2112264"/>
            <a:ext cx="782638" cy="78638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6" name="Text Placeholder 33">
            <a:extLst>
              <a:ext uri="{FF2B5EF4-FFF2-40B4-BE49-F238E27FC236}">
                <a16:creationId xmlns:a16="http://schemas.microsoft.com/office/drawing/2014/main" id="{7BD6BDF9-E3B0-43EC-96F4-09938223C6E1}"/>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7" name="Text Placeholder 33">
            <a:extLst>
              <a:ext uri="{FF2B5EF4-FFF2-40B4-BE49-F238E27FC236}">
                <a16:creationId xmlns:a16="http://schemas.microsoft.com/office/drawing/2014/main" id="{7A607500-6628-89AA-DC09-275E677931C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Text Placeholder 5">
            <a:extLst>
              <a:ext uri="{FF2B5EF4-FFF2-40B4-BE49-F238E27FC236}">
                <a16:creationId xmlns:a16="http://schemas.microsoft.com/office/drawing/2014/main" id="{939FEAFF-2B05-15D5-F83D-AFB37993037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3" name="Content Placeholder 17">
            <a:extLst>
              <a:ext uri="{FF2B5EF4-FFF2-40B4-BE49-F238E27FC236}">
                <a16:creationId xmlns:a16="http://schemas.microsoft.com/office/drawing/2014/main" id="{99D7A353-2824-AD68-ABF9-A9B6647BC142}"/>
              </a:ext>
            </a:extLst>
          </p:cNvPr>
          <p:cNvSpPr>
            <a:spLocks noGrp="1"/>
          </p:cNvSpPr>
          <p:nvPr>
            <p:ph sz="quarter" idx="22"/>
          </p:nvPr>
        </p:nvSpPr>
        <p:spPr>
          <a:xfrm>
            <a:off x="99669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1BE278AE-5885-4329-9304-7E4B0E6E23AE}"/>
              </a:ext>
            </a:extLst>
          </p:cNvPr>
          <p:cNvSpPr>
            <a:spLocks noGrp="1"/>
          </p:cNvSpPr>
          <p:nvPr>
            <p:ph sz="quarter" idx="23"/>
          </p:nvPr>
        </p:nvSpPr>
        <p:spPr>
          <a:xfrm>
            <a:off x="369417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1C223556-1E41-659A-1704-6EC49BAAF059}"/>
              </a:ext>
            </a:extLst>
          </p:cNvPr>
          <p:cNvSpPr>
            <a:spLocks noGrp="1"/>
          </p:cNvSpPr>
          <p:nvPr>
            <p:ph sz="quarter" idx="24"/>
          </p:nvPr>
        </p:nvSpPr>
        <p:spPr>
          <a:xfrm>
            <a:off x="639165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48F10A1C-9114-5544-7240-C722E4EA96BC}"/>
              </a:ext>
            </a:extLst>
          </p:cNvPr>
          <p:cNvSpPr>
            <a:spLocks noGrp="1"/>
          </p:cNvSpPr>
          <p:nvPr>
            <p:ph sz="quarter" idx="25"/>
          </p:nvPr>
        </p:nvSpPr>
        <p:spPr>
          <a:xfrm>
            <a:off x="9098280"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711205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Five point layout 3">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6" name="Rectangle 25">
            <a:extLst>
              <a:ext uri="{FF2B5EF4-FFF2-40B4-BE49-F238E27FC236}">
                <a16:creationId xmlns:a16="http://schemas.microsoft.com/office/drawing/2014/main" id="{C7303873-522F-9510-3C03-12FB53DC434E}"/>
              </a:ext>
            </a:extLst>
          </p:cNvPr>
          <p:cNvSpPr/>
          <p:nvPr/>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726F2FA3-CF30-5ACA-8D01-170E03AC0205}"/>
              </a:ext>
            </a:extLst>
          </p:cNvPr>
          <p:cNvSpPr/>
          <p:nvPr/>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0" name="Rectangle 29">
            <a:extLst>
              <a:ext uri="{FF2B5EF4-FFF2-40B4-BE49-F238E27FC236}">
                <a16:creationId xmlns:a16="http://schemas.microsoft.com/office/drawing/2014/main" id="{B19CD226-8331-7490-8999-02DEC32221A5}"/>
              </a:ext>
            </a:extLst>
          </p:cNvPr>
          <p:cNvSpPr/>
          <p:nvPr/>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2" name="Rectangle 31">
            <a:extLst>
              <a:ext uri="{FF2B5EF4-FFF2-40B4-BE49-F238E27FC236}">
                <a16:creationId xmlns:a16="http://schemas.microsoft.com/office/drawing/2014/main" id="{A0D890D1-F42C-988F-84F3-9F7F4EEFC16D}"/>
              </a:ext>
            </a:extLst>
          </p:cNvPr>
          <p:cNvSpPr/>
          <p:nvPr/>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 name="Rectangle 2">
            <a:extLst>
              <a:ext uri="{FF2B5EF4-FFF2-40B4-BE49-F238E27FC236}">
                <a16:creationId xmlns:a16="http://schemas.microsoft.com/office/drawing/2014/main" id="{6CEA7CE0-6AF0-30FC-5354-C84DD26A1E43}"/>
              </a:ext>
            </a:extLst>
          </p:cNvPr>
          <p:cNvSpPr/>
          <p:nvPr/>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Text Placeholder 17">
            <a:extLst>
              <a:ext uri="{FF2B5EF4-FFF2-40B4-BE49-F238E27FC236}">
                <a16:creationId xmlns:a16="http://schemas.microsoft.com/office/drawing/2014/main" id="{552157F3-4757-5D33-BE17-8C94E96A4862}"/>
              </a:ext>
            </a:extLst>
          </p:cNvPr>
          <p:cNvSpPr>
            <a:spLocks noGrp="1"/>
          </p:cNvSpPr>
          <p:nvPr>
            <p:ph type="body" sz="quarter" idx="20" hasCustomPrompt="1"/>
          </p:nvPr>
        </p:nvSpPr>
        <p:spPr>
          <a:xfrm>
            <a:off x="4594225" y="9522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9" name="Text Placeholder 17">
            <a:extLst>
              <a:ext uri="{FF2B5EF4-FFF2-40B4-BE49-F238E27FC236}">
                <a16:creationId xmlns:a16="http://schemas.microsoft.com/office/drawing/2014/main" id="{A7E3F7D9-8193-5A11-1A4E-6EC7B9DDCA15}"/>
              </a:ext>
            </a:extLst>
          </p:cNvPr>
          <p:cNvSpPr>
            <a:spLocks noGrp="1"/>
          </p:cNvSpPr>
          <p:nvPr>
            <p:ph type="body" sz="quarter" idx="21" hasCustomPrompt="1"/>
          </p:nvPr>
        </p:nvSpPr>
        <p:spPr>
          <a:xfrm>
            <a:off x="4599432" y="39240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20" name="Text Placeholder 17">
            <a:extLst>
              <a:ext uri="{FF2B5EF4-FFF2-40B4-BE49-F238E27FC236}">
                <a16:creationId xmlns:a16="http://schemas.microsoft.com/office/drawing/2014/main" id="{6D7B440E-1826-AA3C-AE0C-153AECC30CBE}"/>
              </a:ext>
            </a:extLst>
          </p:cNvPr>
          <p:cNvSpPr>
            <a:spLocks noGrp="1"/>
          </p:cNvSpPr>
          <p:nvPr>
            <p:ph type="body" sz="quarter" idx="22" hasCustomPrompt="1"/>
          </p:nvPr>
        </p:nvSpPr>
        <p:spPr>
          <a:xfrm>
            <a:off x="4599432" y="19428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1" name="Text Placeholder 17">
            <a:extLst>
              <a:ext uri="{FF2B5EF4-FFF2-40B4-BE49-F238E27FC236}">
                <a16:creationId xmlns:a16="http://schemas.microsoft.com/office/drawing/2014/main" id="{DE85A369-97AF-8B0E-418D-9BA5273407FC}"/>
              </a:ext>
            </a:extLst>
          </p:cNvPr>
          <p:cNvSpPr>
            <a:spLocks noGrp="1"/>
          </p:cNvSpPr>
          <p:nvPr>
            <p:ph type="body" sz="quarter" idx="23" hasCustomPrompt="1"/>
          </p:nvPr>
        </p:nvSpPr>
        <p:spPr>
          <a:xfrm>
            <a:off x="4599432" y="49146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17">
            <a:extLst>
              <a:ext uri="{FF2B5EF4-FFF2-40B4-BE49-F238E27FC236}">
                <a16:creationId xmlns:a16="http://schemas.microsoft.com/office/drawing/2014/main" id="{6E51DDF7-09CC-E9F3-5E13-887846636959}"/>
              </a:ext>
            </a:extLst>
          </p:cNvPr>
          <p:cNvSpPr>
            <a:spLocks noGrp="1"/>
          </p:cNvSpPr>
          <p:nvPr>
            <p:ph type="body" sz="quarter" idx="24" hasCustomPrompt="1"/>
          </p:nvPr>
        </p:nvSpPr>
        <p:spPr>
          <a:xfrm>
            <a:off x="4599432" y="2933475"/>
            <a:ext cx="768096" cy="69494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7" name="Content Placeholder 17">
            <a:extLst>
              <a:ext uri="{FF2B5EF4-FFF2-40B4-BE49-F238E27FC236}">
                <a16:creationId xmlns:a16="http://schemas.microsoft.com/office/drawing/2014/main" id="{C9030E85-B7BF-F051-CBF2-4E9130632033}"/>
              </a:ext>
            </a:extLst>
          </p:cNvPr>
          <p:cNvSpPr>
            <a:spLocks noGrp="1"/>
          </p:cNvSpPr>
          <p:nvPr>
            <p:ph sz="quarter" idx="26"/>
          </p:nvPr>
        </p:nvSpPr>
        <p:spPr>
          <a:xfrm>
            <a:off x="5638800" y="9477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B9A39866-1BF8-6E69-7577-26A7459C2805}"/>
              </a:ext>
            </a:extLst>
          </p:cNvPr>
          <p:cNvSpPr>
            <a:spLocks noGrp="1"/>
          </p:cNvSpPr>
          <p:nvPr>
            <p:ph sz="quarter" idx="27"/>
          </p:nvPr>
        </p:nvSpPr>
        <p:spPr>
          <a:xfrm>
            <a:off x="5638800" y="19383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3" name="Content Placeholder 17">
            <a:extLst>
              <a:ext uri="{FF2B5EF4-FFF2-40B4-BE49-F238E27FC236}">
                <a16:creationId xmlns:a16="http://schemas.microsoft.com/office/drawing/2014/main" id="{836B8BFB-AB56-1859-2B52-558D9A723ED0}"/>
              </a:ext>
            </a:extLst>
          </p:cNvPr>
          <p:cNvSpPr>
            <a:spLocks noGrp="1"/>
          </p:cNvSpPr>
          <p:nvPr>
            <p:ph sz="quarter" idx="28" hasCustomPrompt="1"/>
          </p:nvPr>
        </p:nvSpPr>
        <p:spPr>
          <a:xfrm>
            <a:off x="5638800" y="29289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a:t>
            </a:r>
            <a:r>
              <a:rPr lang="en-US" err="1"/>
              <a:t>stylesFourth</a:t>
            </a:r>
            <a:r>
              <a:rPr lang="en-US"/>
              <a:t> level</a:t>
            </a:r>
          </a:p>
        </p:txBody>
      </p:sp>
      <p:sp>
        <p:nvSpPr>
          <p:cNvPr id="24" name="Content Placeholder 17">
            <a:extLst>
              <a:ext uri="{FF2B5EF4-FFF2-40B4-BE49-F238E27FC236}">
                <a16:creationId xmlns:a16="http://schemas.microsoft.com/office/drawing/2014/main" id="{2AF180FA-369B-BE97-8766-AD281839F45D}"/>
              </a:ext>
            </a:extLst>
          </p:cNvPr>
          <p:cNvSpPr>
            <a:spLocks noGrp="1"/>
          </p:cNvSpPr>
          <p:nvPr>
            <p:ph sz="quarter" idx="29"/>
          </p:nvPr>
        </p:nvSpPr>
        <p:spPr>
          <a:xfrm>
            <a:off x="5638800" y="49101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5" name="Content Placeholder 17">
            <a:extLst>
              <a:ext uri="{FF2B5EF4-FFF2-40B4-BE49-F238E27FC236}">
                <a16:creationId xmlns:a16="http://schemas.microsoft.com/office/drawing/2014/main" id="{549397A2-0AB0-F824-0155-D6710460520D}"/>
              </a:ext>
            </a:extLst>
          </p:cNvPr>
          <p:cNvSpPr>
            <a:spLocks noGrp="1"/>
          </p:cNvSpPr>
          <p:nvPr>
            <p:ph sz="quarter" idx="30"/>
          </p:nvPr>
        </p:nvSpPr>
        <p:spPr>
          <a:xfrm>
            <a:off x="5638800" y="39195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104548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p:nvSpPr>
        <p:spPr>
          <a:xfrm>
            <a:off x="806289"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F5FFE906-4F19-DDCB-02D2-8D5F4368166D}"/>
              </a:ext>
            </a:extLst>
          </p:cNvPr>
          <p:cNvSpPr/>
          <p:nvPr/>
        </p:nvSpPr>
        <p:spPr>
          <a:xfrm>
            <a:off x="806288"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3" name="Rectangle 22">
            <a:extLst>
              <a:ext uri="{FF2B5EF4-FFF2-40B4-BE49-F238E27FC236}">
                <a16:creationId xmlns:a16="http://schemas.microsoft.com/office/drawing/2014/main" id="{360B642B-C832-01F1-B2C5-C0FA060F9BBA}"/>
              </a:ext>
            </a:extLst>
          </p:cNvPr>
          <p:cNvSpPr/>
          <p:nvPr/>
        </p:nvSpPr>
        <p:spPr>
          <a:xfrm>
            <a:off x="6223503"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p:nvSpPr>
        <p:spPr>
          <a:xfrm>
            <a:off x="6223503"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8D126E5A-C3FD-1E81-E69E-1DC585D3A13B}"/>
              </a:ext>
            </a:extLst>
          </p:cNvPr>
          <p:cNvSpPr/>
          <p:nvPr/>
        </p:nvSpPr>
        <p:spPr>
          <a:xfrm>
            <a:off x="6223502"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Eight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4" name="Rectangle 3">
            <a:extLst>
              <a:ext uri="{FF2B5EF4-FFF2-40B4-BE49-F238E27FC236}">
                <a16:creationId xmlns:a16="http://schemas.microsoft.com/office/drawing/2014/main" id="{BD41C8D4-3DEF-AC4C-C9DF-6BC0ECE0A76F}"/>
              </a:ext>
            </a:extLst>
          </p:cNvPr>
          <p:cNvSpPr/>
          <p:nvPr/>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7" name="Rectangle 6">
            <a:extLst>
              <a:ext uri="{FF2B5EF4-FFF2-40B4-BE49-F238E27FC236}">
                <a16:creationId xmlns:a16="http://schemas.microsoft.com/office/drawing/2014/main" id="{ECB16B80-C336-C91C-9709-8FEA29DA0E7D}"/>
              </a:ext>
            </a:extLst>
          </p:cNvPr>
          <p:cNvSpPr/>
          <p:nvPr/>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grpSp>
        <p:nvGrpSpPr>
          <p:cNvPr id="12" name="Group 11">
            <a:extLst>
              <a:ext uri="{FF2B5EF4-FFF2-40B4-BE49-F238E27FC236}">
                <a16:creationId xmlns:a16="http://schemas.microsoft.com/office/drawing/2014/main" id="{681E2C51-5620-BA24-0CAD-2462496E7CD0}"/>
              </a:ext>
            </a:extLst>
          </p:cNvPr>
          <p:cNvGrpSpPr/>
          <p:nvPr/>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7" name="Content Placeholder 17">
            <a:extLst>
              <a:ext uri="{FF2B5EF4-FFF2-40B4-BE49-F238E27FC236}">
                <a16:creationId xmlns:a16="http://schemas.microsoft.com/office/drawing/2014/main" id="{0ABC318F-1300-9700-0954-8EA9EF1D2E1B}"/>
              </a:ext>
            </a:extLst>
          </p:cNvPr>
          <p:cNvSpPr>
            <a:spLocks noGrp="1"/>
          </p:cNvSpPr>
          <p:nvPr>
            <p:ph sz="quarter" idx="26"/>
          </p:nvPr>
        </p:nvSpPr>
        <p:spPr>
          <a:xfrm>
            <a:off x="16002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8" name="Content Placeholder 17">
            <a:extLst>
              <a:ext uri="{FF2B5EF4-FFF2-40B4-BE49-F238E27FC236}">
                <a16:creationId xmlns:a16="http://schemas.microsoft.com/office/drawing/2014/main" id="{048D2424-6F33-3A1D-0E03-A2052CAA7714}"/>
              </a:ext>
            </a:extLst>
          </p:cNvPr>
          <p:cNvSpPr>
            <a:spLocks noGrp="1"/>
          </p:cNvSpPr>
          <p:nvPr>
            <p:ph sz="quarter" idx="27"/>
          </p:nvPr>
        </p:nvSpPr>
        <p:spPr>
          <a:xfrm>
            <a:off x="16002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9" name="Content Placeholder 17">
            <a:extLst>
              <a:ext uri="{FF2B5EF4-FFF2-40B4-BE49-F238E27FC236}">
                <a16:creationId xmlns:a16="http://schemas.microsoft.com/office/drawing/2014/main" id="{7BDE6555-D111-E0C4-F6E1-53ADB973BD89}"/>
              </a:ext>
            </a:extLst>
          </p:cNvPr>
          <p:cNvSpPr>
            <a:spLocks noGrp="1"/>
          </p:cNvSpPr>
          <p:nvPr>
            <p:ph sz="quarter" idx="28"/>
          </p:nvPr>
        </p:nvSpPr>
        <p:spPr>
          <a:xfrm>
            <a:off x="16002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0" name="Content Placeholder 17">
            <a:extLst>
              <a:ext uri="{FF2B5EF4-FFF2-40B4-BE49-F238E27FC236}">
                <a16:creationId xmlns:a16="http://schemas.microsoft.com/office/drawing/2014/main" id="{C98DBD47-4156-6878-26EF-DC2A47F4910C}"/>
              </a:ext>
            </a:extLst>
          </p:cNvPr>
          <p:cNvSpPr>
            <a:spLocks noGrp="1"/>
          </p:cNvSpPr>
          <p:nvPr>
            <p:ph sz="quarter" idx="29"/>
          </p:nvPr>
        </p:nvSpPr>
        <p:spPr>
          <a:xfrm>
            <a:off x="16002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1" name="Content Placeholder 17">
            <a:extLst>
              <a:ext uri="{FF2B5EF4-FFF2-40B4-BE49-F238E27FC236}">
                <a16:creationId xmlns:a16="http://schemas.microsoft.com/office/drawing/2014/main" id="{EFD331E6-A71B-D3EF-C98A-D1F7100F82DA}"/>
              </a:ext>
            </a:extLst>
          </p:cNvPr>
          <p:cNvSpPr>
            <a:spLocks noGrp="1"/>
          </p:cNvSpPr>
          <p:nvPr>
            <p:ph sz="quarter" idx="30"/>
          </p:nvPr>
        </p:nvSpPr>
        <p:spPr>
          <a:xfrm>
            <a:off x="71628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2" name="Content Placeholder 17">
            <a:extLst>
              <a:ext uri="{FF2B5EF4-FFF2-40B4-BE49-F238E27FC236}">
                <a16:creationId xmlns:a16="http://schemas.microsoft.com/office/drawing/2014/main" id="{1C073818-6C6A-D24A-F3C1-73FC80CF8620}"/>
              </a:ext>
            </a:extLst>
          </p:cNvPr>
          <p:cNvSpPr>
            <a:spLocks noGrp="1"/>
          </p:cNvSpPr>
          <p:nvPr>
            <p:ph sz="quarter" idx="31"/>
          </p:nvPr>
        </p:nvSpPr>
        <p:spPr>
          <a:xfrm>
            <a:off x="71628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3" name="Content Placeholder 17">
            <a:extLst>
              <a:ext uri="{FF2B5EF4-FFF2-40B4-BE49-F238E27FC236}">
                <a16:creationId xmlns:a16="http://schemas.microsoft.com/office/drawing/2014/main" id="{4B5FF665-216A-73E8-7920-63BCEC7A21AE}"/>
              </a:ext>
            </a:extLst>
          </p:cNvPr>
          <p:cNvSpPr>
            <a:spLocks noGrp="1"/>
          </p:cNvSpPr>
          <p:nvPr>
            <p:ph sz="quarter" idx="32"/>
          </p:nvPr>
        </p:nvSpPr>
        <p:spPr>
          <a:xfrm>
            <a:off x="71628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4" name="Content Placeholder 17">
            <a:extLst>
              <a:ext uri="{FF2B5EF4-FFF2-40B4-BE49-F238E27FC236}">
                <a16:creationId xmlns:a16="http://schemas.microsoft.com/office/drawing/2014/main" id="{FEFB9B61-74DA-6DED-1F22-72BBA36D9305}"/>
              </a:ext>
            </a:extLst>
          </p:cNvPr>
          <p:cNvSpPr>
            <a:spLocks noGrp="1"/>
          </p:cNvSpPr>
          <p:nvPr>
            <p:ph sz="quarter" idx="33"/>
          </p:nvPr>
        </p:nvSpPr>
        <p:spPr>
          <a:xfrm>
            <a:off x="71628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6" name="Text Placeholder 29">
            <a:extLst>
              <a:ext uri="{FF2B5EF4-FFF2-40B4-BE49-F238E27FC236}">
                <a16:creationId xmlns:a16="http://schemas.microsoft.com/office/drawing/2014/main" id="{C29102B5-DBD3-3087-6871-2EBF11C1D972}"/>
              </a:ext>
            </a:extLst>
          </p:cNvPr>
          <p:cNvSpPr>
            <a:spLocks noGrp="1"/>
          </p:cNvSpPr>
          <p:nvPr>
            <p:ph type="body" sz="quarter" idx="20" hasCustomPrompt="1"/>
          </p:nvPr>
        </p:nvSpPr>
        <p:spPr>
          <a:xfrm>
            <a:off x="6858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1" name="Text Placeholder 29">
            <a:extLst>
              <a:ext uri="{FF2B5EF4-FFF2-40B4-BE49-F238E27FC236}">
                <a16:creationId xmlns:a16="http://schemas.microsoft.com/office/drawing/2014/main" id="{293A630C-818A-4448-D569-B51CB04221BB}"/>
              </a:ext>
            </a:extLst>
          </p:cNvPr>
          <p:cNvSpPr>
            <a:spLocks noGrp="1"/>
          </p:cNvSpPr>
          <p:nvPr>
            <p:ph type="body" sz="quarter" idx="21" hasCustomPrompt="1"/>
          </p:nvPr>
        </p:nvSpPr>
        <p:spPr>
          <a:xfrm>
            <a:off x="6858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15" name="Text Placeholder 29">
            <a:extLst>
              <a:ext uri="{FF2B5EF4-FFF2-40B4-BE49-F238E27FC236}">
                <a16:creationId xmlns:a16="http://schemas.microsoft.com/office/drawing/2014/main" id="{59406EA4-18A0-B235-5DA5-A5FA3D0CF6E8}"/>
              </a:ext>
            </a:extLst>
          </p:cNvPr>
          <p:cNvSpPr>
            <a:spLocks noGrp="1"/>
          </p:cNvSpPr>
          <p:nvPr>
            <p:ph type="body" sz="quarter" idx="22" hasCustomPrompt="1"/>
          </p:nvPr>
        </p:nvSpPr>
        <p:spPr>
          <a:xfrm>
            <a:off x="685800" y="3124708"/>
            <a:ext cx="762000" cy="62411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0" name="Text Placeholder 29">
            <a:extLst>
              <a:ext uri="{FF2B5EF4-FFF2-40B4-BE49-F238E27FC236}">
                <a16:creationId xmlns:a16="http://schemas.microsoft.com/office/drawing/2014/main" id="{0684EDDC-851D-C769-37DD-CA5A5DDFE3F6}"/>
              </a:ext>
            </a:extLst>
          </p:cNvPr>
          <p:cNvSpPr>
            <a:spLocks noGrp="1"/>
          </p:cNvSpPr>
          <p:nvPr>
            <p:ph type="body" sz="quarter" idx="23" hasCustomPrompt="1"/>
          </p:nvPr>
        </p:nvSpPr>
        <p:spPr>
          <a:xfrm>
            <a:off x="60960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29">
            <a:extLst>
              <a:ext uri="{FF2B5EF4-FFF2-40B4-BE49-F238E27FC236}">
                <a16:creationId xmlns:a16="http://schemas.microsoft.com/office/drawing/2014/main" id="{A2026319-6E90-B700-39BF-1B80C564A3B5}"/>
              </a:ext>
            </a:extLst>
          </p:cNvPr>
          <p:cNvSpPr>
            <a:spLocks noGrp="1"/>
          </p:cNvSpPr>
          <p:nvPr>
            <p:ph type="body" sz="quarter" idx="24" hasCustomPrompt="1"/>
          </p:nvPr>
        </p:nvSpPr>
        <p:spPr>
          <a:xfrm>
            <a:off x="685800" y="4125142"/>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29" name="Text Placeholder 29">
            <a:extLst>
              <a:ext uri="{FF2B5EF4-FFF2-40B4-BE49-F238E27FC236}">
                <a16:creationId xmlns:a16="http://schemas.microsoft.com/office/drawing/2014/main" id="{A425B4F1-9ABC-2362-3320-A71B25763EC1}"/>
              </a:ext>
            </a:extLst>
          </p:cNvPr>
          <p:cNvSpPr>
            <a:spLocks noGrp="1"/>
          </p:cNvSpPr>
          <p:nvPr>
            <p:ph type="body" sz="quarter" idx="25" hasCustomPrompt="1"/>
          </p:nvPr>
        </p:nvSpPr>
        <p:spPr>
          <a:xfrm>
            <a:off x="6096000" y="3124708"/>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6</a:t>
            </a:r>
          </a:p>
        </p:txBody>
      </p:sp>
      <p:sp>
        <p:nvSpPr>
          <p:cNvPr id="32" name="Text Placeholder 29">
            <a:extLst>
              <a:ext uri="{FF2B5EF4-FFF2-40B4-BE49-F238E27FC236}">
                <a16:creationId xmlns:a16="http://schemas.microsoft.com/office/drawing/2014/main" id="{5A5CDF2D-9B36-1492-9A22-6705F3D46E10}"/>
              </a:ext>
            </a:extLst>
          </p:cNvPr>
          <p:cNvSpPr>
            <a:spLocks noGrp="1"/>
          </p:cNvSpPr>
          <p:nvPr>
            <p:ph type="body" sz="quarter" idx="34" hasCustomPrompt="1"/>
          </p:nvPr>
        </p:nvSpPr>
        <p:spPr>
          <a:xfrm>
            <a:off x="6096000" y="4125142"/>
            <a:ext cx="762000" cy="624114"/>
          </a:xfrm>
          <a:solidFill>
            <a:schemeClr val="tx2"/>
          </a:solidFill>
        </p:spPr>
        <p:txBody>
          <a:bodyPr anchor="ctr" anchorCtr="0">
            <a:normAutofit/>
          </a:bodyPr>
          <a:lstStyle>
            <a:lvl1pPr marL="0" indent="0" algn="ctr">
              <a:buNone/>
              <a:defRPr sz="3600">
                <a:solidFill>
                  <a:schemeClr val="bg1"/>
                </a:solidFill>
              </a:defRPr>
            </a:lvl1pPr>
          </a:lstStyle>
          <a:p>
            <a:pPr lvl="0"/>
            <a:r>
              <a:rPr lang="en-US"/>
              <a:t>07</a:t>
            </a:r>
          </a:p>
        </p:txBody>
      </p:sp>
      <p:sp>
        <p:nvSpPr>
          <p:cNvPr id="45" name="Text Placeholder 29">
            <a:extLst>
              <a:ext uri="{FF2B5EF4-FFF2-40B4-BE49-F238E27FC236}">
                <a16:creationId xmlns:a16="http://schemas.microsoft.com/office/drawing/2014/main" id="{53ABA493-3207-93BC-2E4C-610216CB36DB}"/>
              </a:ext>
            </a:extLst>
          </p:cNvPr>
          <p:cNvSpPr>
            <a:spLocks noGrp="1"/>
          </p:cNvSpPr>
          <p:nvPr>
            <p:ph type="body" sz="quarter" idx="36" hasCustomPrompt="1"/>
          </p:nvPr>
        </p:nvSpPr>
        <p:spPr>
          <a:xfrm>
            <a:off x="60960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8</a:t>
            </a:r>
          </a:p>
        </p:txBody>
      </p:sp>
    </p:spTree>
    <p:extLst>
      <p:ext uri="{BB962C8B-B14F-4D97-AF65-F5344CB8AC3E}">
        <p14:creationId xmlns:p14="http://schemas.microsoft.com/office/powerpoint/2010/main" val="5933701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solidFill>
                  <a:schemeClr val="bg1"/>
                </a:solidFill>
              </a:endParaRPr>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B72B5471-BD5B-6CE5-858A-0CDBF2C473E8}"/>
              </a:ext>
            </a:extLst>
          </p:cNvPr>
          <p:cNvSpPr>
            <a:spLocks noGrp="1"/>
          </p:cNvSpPr>
          <p:nvPr>
            <p:ph sz="quarter" idx="20"/>
          </p:nvPr>
        </p:nvSpPr>
        <p:spPr>
          <a:xfrm>
            <a:off x="106070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B04CAE37-30C7-F870-09F2-F7673710C74B}"/>
              </a:ext>
            </a:extLst>
          </p:cNvPr>
          <p:cNvSpPr>
            <a:spLocks noGrp="1"/>
          </p:cNvSpPr>
          <p:nvPr>
            <p:ph sz="quarter" idx="21"/>
          </p:nvPr>
        </p:nvSpPr>
        <p:spPr>
          <a:xfrm>
            <a:off x="645566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257672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Content Placeholder 17">
            <a:extLst>
              <a:ext uri="{FF2B5EF4-FFF2-40B4-BE49-F238E27FC236}">
                <a16:creationId xmlns:a16="http://schemas.microsoft.com/office/drawing/2014/main" id="{691641AC-20B3-7EFA-C0EB-5D52891E1E6C}"/>
              </a:ext>
            </a:extLst>
          </p:cNvPr>
          <p:cNvSpPr>
            <a:spLocks noGrp="1"/>
          </p:cNvSpPr>
          <p:nvPr>
            <p:ph sz="quarter" idx="20"/>
          </p:nvPr>
        </p:nvSpPr>
        <p:spPr>
          <a:xfrm>
            <a:off x="106070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2F04EE25-85CC-68C1-A421-157500D216EE}"/>
              </a:ext>
            </a:extLst>
          </p:cNvPr>
          <p:cNvSpPr>
            <a:spLocks noGrp="1"/>
          </p:cNvSpPr>
          <p:nvPr>
            <p:ph sz="quarter" idx="21"/>
          </p:nvPr>
        </p:nvSpPr>
        <p:spPr>
          <a:xfrm>
            <a:off x="645566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9191345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961449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normAutofit/>
          </a:bodyPr>
          <a:lstStyle>
            <a:lvl1pPr marL="0" indent="0">
              <a:buNone/>
              <a:defRPr sz="1200" b="1">
                <a:solidFill>
                  <a:schemeClr val="bg1"/>
                </a:solidFill>
              </a:defRPr>
            </a:lvl1p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Content Placeholder 17">
            <a:extLst>
              <a:ext uri="{FF2B5EF4-FFF2-40B4-BE49-F238E27FC236}">
                <a16:creationId xmlns:a16="http://schemas.microsoft.com/office/drawing/2014/main" id="{DC4D1A3F-81F5-BB1B-F47C-07713712F540}"/>
              </a:ext>
            </a:extLst>
          </p:cNvPr>
          <p:cNvSpPr>
            <a:spLocks noGrp="1"/>
          </p:cNvSpPr>
          <p:nvPr>
            <p:ph sz="quarter" idx="20"/>
          </p:nvPr>
        </p:nvSpPr>
        <p:spPr>
          <a:xfrm>
            <a:off x="1060704"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Content Placeholder 17">
            <a:extLst>
              <a:ext uri="{FF2B5EF4-FFF2-40B4-BE49-F238E27FC236}">
                <a16:creationId xmlns:a16="http://schemas.microsoft.com/office/drawing/2014/main" id="{259A02CD-D601-E8A9-FE91-EB7F5F470B5D}"/>
              </a:ext>
            </a:extLst>
          </p:cNvPr>
          <p:cNvSpPr>
            <a:spLocks noGrp="1"/>
          </p:cNvSpPr>
          <p:nvPr>
            <p:ph sz="quarter" idx="21"/>
          </p:nvPr>
        </p:nvSpPr>
        <p:spPr>
          <a:xfrm>
            <a:off x="4648200"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Content Placeholder 17">
            <a:extLst>
              <a:ext uri="{FF2B5EF4-FFF2-40B4-BE49-F238E27FC236}">
                <a16:creationId xmlns:a16="http://schemas.microsoft.com/office/drawing/2014/main" id="{88DF9C5A-F4A0-8BCB-2E61-5854FE61AF49}"/>
              </a:ext>
            </a:extLst>
          </p:cNvPr>
          <p:cNvSpPr>
            <a:spLocks noGrp="1"/>
          </p:cNvSpPr>
          <p:nvPr>
            <p:ph sz="quarter" idx="22"/>
          </p:nvPr>
        </p:nvSpPr>
        <p:spPr>
          <a:xfrm>
            <a:off x="8257032"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4277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plash screen 2">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883"/>
            <a:ext cx="12191617" cy="6856445"/>
          </a:xfrm>
          <a:prstGeom prst="rect">
            <a:avLst/>
          </a:prstGeom>
        </p:spPr>
      </p:pic>
      <p:sp>
        <p:nvSpPr>
          <p:cNvPr id="5" name="TextBox 4">
            <a:extLst>
              <a:ext uri="{FF2B5EF4-FFF2-40B4-BE49-F238E27FC236}">
                <a16:creationId xmlns:a16="http://schemas.microsoft.com/office/drawing/2014/main" id="{1EEF823C-FE1A-4D7D-97A8-108F041ECC7C}"/>
              </a:ext>
            </a:extLst>
          </p:cNvPr>
          <p:cNvSpPr txBox="1"/>
          <p:nvPr/>
        </p:nvSpPr>
        <p:spPr>
          <a:xfrm>
            <a:off x="5270741" y="2682814"/>
            <a:ext cx="5098211" cy="2308324"/>
          </a:xfrm>
          <a:prstGeom prst="rect">
            <a:avLst/>
          </a:prstGeom>
          <a:noFill/>
        </p:spPr>
        <p:txBody>
          <a:bodyPr wrap="square" rtlCol="0">
            <a:spAutoFit/>
          </a:bodyPr>
          <a:lstStyle/>
          <a:p>
            <a:r>
              <a:rPr lang="en-US" sz="4800">
                <a:solidFill>
                  <a:schemeClr val="bg1"/>
                </a:solidFill>
              </a:rPr>
              <a:t>THANK YOU FOR YOUR TIME AND ATTENTION</a:t>
            </a:r>
          </a:p>
        </p:txBody>
      </p:sp>
    </p:spTree>
    <p:extLst>
      <p:ext uri="{BB962C8B-B14F-4D97-AF65-F5344CB8AC3E}">
        <p14:creationId xmlns:p14="http://schemas.microsoft.com/office/powerpoint/2010/main" val="26173358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18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norm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3" name="Content Placeholder 17">
            <a:extLst>
              <a:ext uri="{FF2B5EF4-FFF2-40B4-BE49-F238E27FC236}">
                <a16:creationId xmlns:a16="http://schemas.microsoft.com/office/drawing/2014/main" id="{5031F53F-D3EA-8985-E402-F7C2CDF7AA27}"/>
              </a:ext>
            </a:extLst>
          </p:cNvPr>
          <p:cNvSpPr>
            <a:spLocks noGrp="1"/>
          </p:cNvSpPr>
          <p:nvPr>
            <p:ph sz="quarter" idx="22"/>
          </p:nvPr>
        </p:nvSpPr>
        <p:spPr>
          <a:xfrm>
            <a:off x="99669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Content Placeholder 17">
            <a:extLst>
              <a:ext uri="{FF2B5EF4-FFF2-40B4-BE49-F238E27FC236}">
                <a16:creationId xmlns:a16="http://schemas.microsoft.com/office/drawing/2014/main" id="{753F2516-0890-B56D-1C13-9AFB7CF91D2A}"/>
              </a:ext>
            </a:extLst>
          </p:cNvPr>
          <p:cNvSpPr>
            <a:spLocks noGrp="1"/>
          </p:cNvSpPr>
          <p:nvPr>
            <p:ph sz="quarter" idx="23"/>
          </p:nvPr>
        </p:nvSpPr>
        <p:spPr>
          <a:xfrm>
            <a:off x="369417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Content Placeholder 17">
            <a:extLst>
              <a:ext uri="{FF2B5EF4-FFF2-40B4-BE49-F238E27FC236}">
                <a16:creationId xmlns:a16="http://schemas.microsoft.com/office/drawing/2014/main" id="{04470E80-3EAA-F5B8-97CB-1624AFB82ECA}"/>
              </a:ext>
            </a:extLst>
          </p:cNvPr>
          <p:cNvSpPr>
            <a:spLocks noGrp="1"/>
          </p:cNvSpPr>
          <p:nvPr>
            <p:ph sz="quarter" idx="24"/>
          </p:nvPr>
        </p:nvSpPr>
        <p:spPr>
          <a:xfrm>
            <a:off x="639165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Content Placeholder 17">
            <a:extLst>
              <a:ext uri="{FF2B5EF4-FFF2-40B4-BE49-F238E27FC236}">
                <a16:creationId xmlns:a16="http://schemas.microsoft.com/office/drawing/2014/main" id="{A6BB3462-521B-7D0A-E0AA-75D04A28758C}"/>
              </a:ext>
            </a:extLst>
          </p:cNvPr>
          <p:cNvSpPr>
            <a:spLocks noGrp="1"/>
          </p:cNvSpPr>
          <p:nvPr>
            <p:ph sz="quarter" idx="25"/>
          </p:nvPr>
        </p:nvSpPr>
        <p:spPr>
          <a:xfrm>
            <a:off x="9098280"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65433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Six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33" name="Rectangle 32">
            <a:extLst>
              <a:ext uri="{FF2B5EF4-FFF2-40B4-BE49-F238E27FC236}">
                <a16:creationId xmlns:a16="http://schemas.microsoft.com/office/drawing/2014/main" id="{FD9BCE3B-4762-C661-5C9C-B1DC7338A906}"/>
              </a:ext>
            </a:extLst>
          </p:cNvPr>
          <p:cNvSpPr/>
          <p:nvPr/>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B129E26F-9EAB-58D3-8BE0-92C03DF5A2B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E93EFC32-2E6A-B131-0C23-F0010AD9B58F}"/>
              </a:ext>
            </a:extLst>
          </p:cNvPr>
          <p:cNvSpPr>
            <a:spLocks noGrp="1"/>
          </p:cNvSpPr>
          <p:nvPr>
            <p:ph sz="quarter" idx="28"/>
          </p:nvPr>
        </p:nvSpPr>
        <p:spPr>
          <a:xfrm>
            <a:off x="1060797"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6" name="Content Placeholder 17">
            <a:extLst>
              <a:ext uri="{FF2B5EF4-FFF2-40B4-BE49-F238E27FC236}">
                <a16:creationId xmlns:a16="http://schemas.microsoft.com/office/drawing/2014/main" id="{52B3257F-6803-6233-9D64-82C0E49AC3A6}"/>
              </a:ext>
            </a:extLst>
          </p:cNvPr>
          <p:cNvSpPr>
            <a:spLocks noGrp="1"/>
          </p:cNvSpPr>
          <p:nvPr>
            <p:ph sz="quarter" idx="29"/>
          </p:nvPr>
        </p:nvSpPr>
        <p:spPr>
          <a:xfrm>
            <a:off x="4662268"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8" name="Content Placeholder 17">
            <a:extLst>
              <a:ext uri="{FF2B5EF4-FFF2-40B4-BE49-F238E27FC236}">
                <a16:creationId xmlns:a16="http://schemas.microsoft.com/office/drawing/2014/main" id="{FC75CEE2-25FD-4AF1-8299-4621D4406942}"/>
              </a:ext>
            </a:extLst>
          </p:cNvPr>
          <p:cNvSpPr>
            <a:spLocks noGrp="1"/>
          </p:cNvSpPr>
          <p:nvPr>
            <p:ph sz="quarter" idx="30"/>
          </p:nvPr>
        </p:nvSpPr>
        <p:spPr>
          <a:xfrm>
            <a:off x="8262206"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9" name="Content Placeholder 17">
            <a:extLst>
              <a:ext uri="{FF2B5EF4-FFF2-40B4-BE49-F238E27FC236}">
                <a16:creationId xmlns:a16="http://schemas.microsoft.com/office/drawing/2014/main" id="{BE84CC19-BF70-4442-4C61-1331DCCF9AC5}"/>
              </a:ext>
            </a:extLst>
          </p:cNvPr>
          <p:cNvSpPr>
            <a:spLocks noGrp="1"/>
          </p:cNvSpPr>
          <p:nvPr>
            <p:ph sz="quarter" idx="31"/>
          </p:nvPr>
        </p:nvSpPr>
        <p:spPr>
          <a:xfrm>
            <a:off x="1060797"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0" name="Content Placeholder 17">
            <a:extLst>
              <a:ext uri="{FF2B5EF4-FFF2-40B4-BE49-F238E27FC236}">
                <a16:creationId xmlns:a16="http://schemas.microsoft.com/office/drawing/2014/main" id="{20E7448F-6A72-5BAC-E0C9-4842AFBE53DC}"/>
              </a:ext>
            </a:extLst>
          </p:cNvPr>
          <p:cNvSpPr>
            <a:spLocks noGrp="1"/>
          </p:cNvSpPr>
          <p:nvPr>
            <p:ph sz="quarter" idx="32"/>
          </p:nvPr>
        </p:nvSpPr>
        <p:spPr>
          <a:xfrm>
            <a:off x="4662268"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1" name="Content Placeholder 17">
            <a:extLst>
              <a:ext uri="{FF2B5EF4-FFF2-40B4-BE49-F238E27FC236}">
                <a16:creationId xmlns:a16="http://schemas.microsoft.com/office/drawing/2014/main" id="{A99FE960-70D8-C68D-D85A-10054C69A0F2}"/>
              </a:ext>
            </a:extLst>
          </p:cNvPr>
          <p:cNvSpPr>
            <a:spLocks noGrp="1"/>
          </p:cNvSpPr>
          <p:nvPr>
            <p:ph sz="quarter" idx="33"/>
          </p:nvPr>
        </p:nvSpPr>
        <p:spPr>
          <a:xfrm>
            <a:off x="8262206"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63759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6424"/>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6764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630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701040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792071"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569137"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46203"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123269"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00335"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677400"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Content Placeholder 17">
            <a:extLst>
              <a:ext uri="{FF2B5EF4-FFF2-40B4-BE49-F238E27FC236}">
                <a16:creationId xmlns:a16="http://schemas.microsoft.com/office/drawing/2014/main" id="{13EA36FF-4BDF-0027-4049-9EBEB00FB103}"/>
              </a:ext>
            </a:extLst>
          </p:cNvPr>
          <p:cNvSpPr>
            <a:spLocks noGrp="1"/>
          </p:cNvSpPr>
          <p:nvPr>
            <p:ph sz="quarter" idx="64"/>
          </p:nvPr>
        </p:nvSpPr>
        <p:spPr>
          <a:xfrm>
            <a:off x="24384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6C708107-C0AF-48F8-4322-BA907E46DFD8}"/>
              </a:ext>
            </a:extLst>
          </p:cNvPr>
          <p:cNvSpPr>
            <a:spLocks noGrp="1"/>
          </p:cNvSpPr>
          <p:nvPr>
            <p:ph sz="quarter" idx="65"/>
          </p:nvPr>
        </p:nvSpPr>
        <p:spPr>
          <a:xfrm>
            <a:off x="60198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5" name="Content Placeholder 17">
            <a:extLst>
              <a:ext uri="{FF2B5EF4-FFF2-40B4-BE49-F238E27FC236}">
                <a16:creationId xmlns:a16="http://schemas.microsoft.com/office/drawing/2014/main" id="{7DD57526-A2B6-31EC-DD48-29E9ADDA1136}"/>
              </a:ext>
            </a:extLst>
          </p:cNvPr>
          <p:cNvSpPr>
            <a:spLocks noGrp="1"/>
          </p:cNvSpPr>
          <p:nvPr>
            <p:ph sz="quarter" idx="67"/>
          </p:nvPr>
        </p:nvSpPr>
        <p:spPr>
          <a:xfrm>
            <a:off x="95250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0663B468-A4AA-3272-832C-2797B3FE4AB8}"/>
              </a:ext>
            </a:extLst>
          </p:cNvPr>
          <p:cNvSpPr>
            <a:spLocks noGrp="1"/>
          </p:cNvSpPr>
          <p:nvPr>
            <p:ph sz="quarter" idx="68"/>
          </p:nvPr>
        </p:nvSpPr>
        <p:spPr>
          <a:xfrm>
            <a:off x="6858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81841119-AAED-BDED-1548-E8BB5D7CA59F}"/>
              </a:ext>
            </a:extLst>
          </p:cNvPr>
          <p:cNvSpPr>
            <a:spLocks noGrp="1"/>
          </p:cNvSpPr>
          <p:nvPr>
            <p:ph sz="quarter" idx="69"/>
          </p:nvPr>
        </p:nvSpPr>
        <p:spPr>
          <a:xfrm>
            <a:off x="42672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5DDAC065-2869-DD46-7AB8-57BD6F529C4C}"/>
              </a:ext>
            </a:extLst>
          </p:cNvPr>
          <p:cNvSpPr>
            <a:spLocks noGrp="1"/>
          </p:cNvSpPr>
          <p:nvPr>
            <p:ph sz="quarter" idx="70"/>
          </p:nvPr>
        </p:nvSpPr>
        <p:spPr>
          <a:xfrm>
            <a:off x="77724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235625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p:nvCxnSpPr>
        <p:spPr>
          <a:xfrm flipV="1">
            <a:off x="104058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9696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846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6716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9835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6AF6021-6E42-EF2D-2A51-2E5A22F1746B}"/>
              </a:ext>
            </a:extLst>
          </p:cNvPr>
          <p:cNvSpPr/>
          <p:nvPr/>
        </p:nvSpPr>
        <p:spPr>
          <a:xfrm>
            <a:off x="9669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7" name="Rectangle 6">
            <a:extLst>
              <a:ext uri="{FF2B5EF4-FFF2-40B4-BE49-F238E27FC236}">
                <a16:creationId xmlns:a16="http://schemas.microsoft.com/office/drawing/2014/main" id="{01E92454-01BE-85A8-6230-5E1ED9A5D8B5}"/>
              </a:ext>
            </a:extLst>
          </p:cNvPr>
          <p:cNvSpPr/>
          <p:nvPr/>
        </p:nvSpPr>
        <p:spPr>
          <a:xfrm>
            <a:off x="2681751" y="3356328"/>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8" name="Rectangle 7">
            <a:extLst>
              <a:ext uri="{FF2B5EF4-FFF2-40B4-BE49-F238E27FC236}">
                <a16:creationId xmlns:a16="http://schemas.microsoft.com/office/drawing/2014/main" id="{C47FAF06-6923-423A-4B04-3E2975B0A4A7}"/>
              </a:ext>
            </a:extLst>
          </p:cNvPr>
          <p:cNvSpPr/>
          <p:nvPr/>
        </p:nvSpPr>
        <p:spPr>
          <a:xfrm>
            <a:off x="43871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9" name="Rectangle 8">
            <a:extLst>
              <a:ext uri="{FF2B5EF4-FFF2-40B4-BE49-F238E27FC236}">
                <a16:creationId xmlns:a16="http://schemas.microsoft.com/office/drawing/2014/main" id="{3518A56B-86F2-7D58-8DEA-768A25A5C39A}"/>
              </a:ext>
            </a:extLst>
          </p:cNvPr>
          <p:cNvSpPr/>
          <p:nvPr/>
        </p:nvSpPr>
        <p:spPr>
          <a:xfrm>
            <a:off x="60983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0" name="Rectangle 9">
            <a:extLst>
              <a:ext uri="{FF2B5EF4-FFF2-40B4-BE49-F238E27FC236}">
                <a16:creationId xmlns:a16="http://schemas.microsoft.com/office/drawing/2014/main" id="{319F290D-C8DF-C88B-EF14-AE1A74E01D73}"/>
              </a:ext>
            </a:extLst>
          </p:cNvPr>
          <p:cNvSpPr/>
          <p:nvPr/>
        </p:nvSpPr>
        <p:spPr>
          <a:xfrm>
            <a:off x="7813742" y="3729585"/>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5211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1081677" y="377979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796469" y="3426988"/>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501868" y="3795824"/>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13107" y="3431409"/>
            <a:ext cx="1486313" cy="218674"/>
          </a:xfrm>
        </p:spPr>
        <p:txBody>
          <a:bodyP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928460" y="379390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p:nvSpPr>
        <p:spPr>
          <a:xfrm>
            <a:off x="917981" y="4149717"/>
            <a:ext cx="1750641"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5" name="TextBox 4">
            <a:extLst>
              <a:ext uri="{FF2B5EF4-FFF2-40B4-BE49-F238E27FC236}">
                <a16:creationId xmlns:a16="http://schemas.microsoft.com/office/drawing/2014/main" id="{A49878B0-CF0A-802D-531E-1FCD7080CC56}"/>
              </a:ext>
            </a:extLst>
          </p:cNvPr>
          <p:cNvSpPr txBox="1"/>
          <p:nvPr/>
        </p:nvSpPr>
        <p:spPr>
          <a:xfrm>
            <a:off x="6089340" y="2972163"/>
            <a:ext cx="1724798"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19" name="Rectangle 18">
            <a:extLst>
              <a:ext uri="{FF2B5EF4-FFF2-40B4-BE49-F238E27FC236}">
                <a16:creationId xmlns:a16="http://schemas.microsoft.com/office/drawing/2014/main" id="{622F5348-07E7-C888-D291-A0D3B05C7F4F}"/>
              </a:ext>
            </a:extLst>
          </p:cNvPr>
          <p:cNvSpPr/>
          <p:nvPr/>
        </p:nvSpPr>
        <p:spPr>
          <a:xfrm>
            <a:off x="95290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643811" y="3438636"/>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11" name="Group 10">
            <a:extLst>
              <a:ext uri="{FF2B5EF4-FFF2-40B4-BE49-F238E27FC236}">
                <a16:creationId xmlns:a16="http://schemas.microsoft.com/office/drawing/2014/main" id="{F194D94E-5449-DF2C-2F5D-D841479A4552}"/>
              </a:ext>
            </a:extLst>
          </p:cNvPr>
          <p:cNvGrpSpPr/>
          <p:nvPr/>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4" name="Content Placeholder 17">
            <a:extLst>
              <a:ext uri="{FF2B5EF4-FFF2-40B4-BE49-F238E27FC236}">
                <a16:creationId xmlns:a16="http://schemas.microsoft.com/office/drawing/2014/main" id="{C04E7B68-FD06-FE47-C0CA-09997FF2A094}"/>
              </a:ext>
            </a:extLst>
          </p:cNvPr>
          <p:cNvSpPr>
            <a:spLocks noGrp="1"/>
          </p:cNvSpPr>
          <p:nvPr>
            <p:ph sz="quarter" idx="64"/>
          </p:nvPr>
        </p:nvSpPr>
        <p:spPr>
          <a:xfrm>
            <a:off x="25146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5" name="Content Placeholder 17">
            <a:extLst>
              <a:ext uri="{FF2B5EF4-FFF2-40B4-BE49-F238E27FC236}">
                <a16:creationId xmlns:a16="http://schemas.microsoft.com/office/drawing/2014/main" id="{0E50B341-584B-5AEC-A79D-ADD8CF05F8FC}"/>
              </a:ext>
            </a:extLst>
          </p:cNvPr>
          <p:cNvSpPr>
            <a:spLocks noGrp="1"/>
          </p:cNvSpPr>
          <p:nvPr>
            <p:ph sz="quarter" idx="65"/>
          </p:nvPr>
        </p:nvSpPr>
        <p:spPr>
          <a:xfrm>
            <a:off x="6019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0AE223FE-03F1-1BE1-0D01-AF3D511DF195}"/>
              </a:ext>
            </a:extLst>
          </p:cNvPr>
          <p:cNvSpPr>
            <a:spLocks noGrp="1"/>
          </p:cNvSpPr>
          <p:nvPr>
            <p:ph sz="quarter" idx="67"/>
          </p:nvPr>
        </p:nvSpPr>
        <p:spPr>
          <a:xfrm>
            <a:off x="9448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7" name="Content Placeholder 17">
            <a:extLst>
              <a:ext uri="{FF2B5EF4-FFF2-40B4-BE49-F238E27FC236}">
                <a16:creationId xmlns:a16="http://schemas.microsoft.com/office/drawing/2014/main" id="{3979C53E-CE70-6ED5-B667-9C2275B8AF3A}"/>
              </a:ext>
            </a:extLst>
          </p:cNvPr>
          <p:cNvSpPr>
            <a:spLocks noGrp="1"/>
          </p:cNvSpPr>
          <p:nvPr>
            <p:ph sz="quarter" idx="68"/>
          </p:nvPr>
        </p:nvSpPr>
        <p:spPr>
          <a:xfrm>
            <a:off x="9906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8" name="Content Placeholder 17">
            <a:extLst>
              <a:ext uri="{FF2B5EF4-FFF2-40B4-BE49-F238E27FC236}">
                <a16:creationId xmlns:a16="http://schemas.microsoft.com/office/drawing/2014/main" id="{4E918C0F-FF63-F25D-A047-72148F59D010}"/>
              </a:ext>
            </a:extLst>
          </p:cNvPr>
          <p:cNvSpPr>
            <a:spLocks noGrp="1"/>
          </p:cNvSpPr>
          <p:nvPr>
            <p:ph sz="quarter" idx="69"/>
          </p:nvPr>
        </p:nvSpPr>
        <p:spPr>
          <a:xfrm>
            <a:off x="4267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9" name="Content Placeholder 17">
            <a:extLst>
              <a:ext uri="{FF2B5EF4-FFF2-40B4-BE49-F238E27FC236}">
                <a16:creationId xmlns:a16="http://schemas.microsoft.com/office/drawing/2014/main" id="{6C2406E8-B9A7-737B-D983-E39068B37BDB}"/>
              </a:ext>
            </a:extLst>
          </p:cNvPr>
          <p:cNvSpPr>
            <a:spLocks noGrp="1"/>
          </p:cNvSpPr>
          <p:nvPr>
            <p:ph sz="quarter" idx="70"/>
          </p:nvPr>
        </p:nvSpPr>
        <p:spPr>
          <a:xfrm>
            <a:off x="7696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625776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Wingdings" pitchFamily="2" charset="2"/>
              <a:buNone/>
              <a:tabLst/>
              <a:defRPr/>
            </a:pPr>
            <a:r>
              <a:rPr lang="en-US"/>
              <a:t>Click to add subheading</a:t>
            </a:r>
            <a:endParaRPr lang="en-GB"/>
          </a:p>
        </p:txBody>
      </p:sp>
      <p:sp>
        <p:nvSpPr>
          <p:cNvPr id="18" name="Rectangle 17">
            <a:extLst>
              <a:ext uri="{FF2B5EF4-FFF2-40B4-BE49-F238E27FC236}">
                <a16:creationId xmlns:a16="http://schemas.microsoft.com/office/drawing/2014/main" id="{9C162B7E-6DD2-0BDC-A754-B14190695F9D}"/>
              </a:ext>
            </a:extLst>
          </p:cNvPr>
          <p:cNvSpPr/>
          <p:nvPr/>
        </p:nvSpPr>
        <p:spPr>
          <a:xfrm>
            <a:off x="797913" y="3733800"/>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1" name="Rectangle 20">
            <a:extLst>
              <a:ext uri="{FF2B5EF4-FFF2-40B4-BE49-F238E27FC236}">
                <a16:creationId xmlns:a16="http://schemas.microsoft.com/office/drawing/2014/main" id="{501CD494-4588-D746-4872-F8ECD0F5AA38}"/>
              </a:ext>
            </a:extLst>
          </p:cNvPr>
          <p:cNvSpPr/>
          <p:nvPr/>
        </p:nvSpPr>
        <p:spPr>
          <a:xfrm>
            <a:off x="2980944" y="3352800"/>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4" name="Rectangle 23">
            <a:extLst>
              <a:ext uri="{FF2B5EF4-FFF2-40B4-BE49-F238E27FC236}">
                <a16:creationId xmlns:a16="http://schemas.microsoft.com/office/drawing/2014/main" id="{54D080DA-7928-FAB5-1EC5-E057D616B939}"/>
              </a:ext>
            </a:extLst>
          </p:cNvPr>
          <p:cNvSpPr/>
          <p:nvPr/>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5" name="Rectangle 24">
            <a:extLst>
              <a:ext uri="{FF2B5EF4-FFF2-40B4-BE49-F238E27FC236}">
                <a16:creationId xmlns:a16="http://schemas.microsoft.com/office/drawing/2014/main" id="{000A0001-BCDB-B25A-6F7C-E3402F3D8D7E}"/>
              </a:ext>
            </a:extLst>
          </p:cNvPr>
          <p:cNvSpPr/>
          <p:nvPr/>
        </p:nvSpPr>
        <p:spPr>
          <a:xfrm>
            <a:off x="7351113" y="3355848"/>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4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108960" y="3417167"/>
            <a:ext cx="1920240" cy="231260"/>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92203" y="3801331"/>
            <a:ext cx="1920240" cy="207661"/>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79129" y="3422906"/>
            <a:ext cx="1920240" cy="226839"/>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p:nvCxnSpPr>
        <p:spPr>
          <a:xfrm>
            <a:off x="800552" y="3733800"/>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p:nvCxnSpPr>
        <p:spPr>
          <a:xfrm>
            <a:off x="2991493" y="1808522"/>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p:nvCxnSpPr>
        <p:spPr>
          <a:xfrm>
            <a:off x="7360920" y="1965960"/>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CBEB14D-5BA5-643D-3888-51C635CEC8B1}"/>
              </a:ext>
            </a:extLst>
          </p:cNvPr>
          <p:cNvSpPr/>
          <p:nvPr/>
        </p:nvSpPr>
        <p:spPr>
          <a:xfrm>
            <a:off x="9560913" y="3733800"/>
            <a:ext cx="2173887" cy="35999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87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p:nvCxnSpPr>
        <p:spPr>
          <a:xfrm>
            <a:off x="9557123" y="3733800"/>
            <a:ext cx="0" cy="161767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2" name="Content Placeholder 17">
            <a:extLst>
              <a:ext uri="{FF2B5EF4-FFF2-40B4-BE49-F238E27FC236}">
                <a16:creationId xmlns:a16="http://schemas.microsoft.com/office/drawing/2014/main" id="{223BAD68-DF8E-2DE9-AF59-8BA2768DA520}"/>
              </a:ext>
            </a:extLst>
          </p:cNvPr>
          <p:cNvSpPr>
            <a:spLocks noGrp="1"/>
          </p:cNvSpPr>
          <p:nvPr>
            <p:ph sz="quarter" idx="63"/>
          </p:nvPr>
        </p:nvSpPr>
        <p:spPr>
          <a:xfrm>
            <a:off x="311831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9ED7E7CF-8C4F-4727-B19C-9AB2CAE7CB0A}"/>
              </a:ext>
            </a:extLst>
          </p:cNvPr>
          <p:cNvSpPr>
            <a:spLocks noGrp="1"/>
          </p:cNvSpPr>
          <p:nvPr>
            <p:ph sz="quarter" idx="64"/>
          </p:nvPr>
        </p:nvSpPr>
        <p:spPr>
          <a:xfrm>
            <a:off x="9319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E1B18EFE-C94D-D0D2-A1E7-03C6B88087B9}"/>
              </a:ext>
            </a:extLst>
          </p:cNvPr>
          <p:cNvSpPr>
            <a:spLocks noGrp="1"/>
          </p:cNvSpPr>
          <p:nvPr>
            <p:ph sz="quarter" idx="65"/>
          </p:nvPr>
        </p:nvSpPr>
        <p:spPr>
          <a:xfrm>
            <a:off x="5292203"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2" name="Content Placeholder 17">
            <a:extLst>
              <a:ext uri="{FF2B5EF4-FFF2-40B4-BE49-F238E27FC236}">
                <a16:creationId xmlns:a16="http://schemas.microsoft.com/office/drawing/2014/main" id="{873156A0-6700-E73F-30C9-08C6B9E15EFA}"/>
              </a:ext>
            </a:extLst>
          </p:cNvPr>
          <p:cNvSpPr>
            <a:spLocks noGrp="1"/>
          </p:cNvSpPr>
          <p:nvPr>
            <p:ph sz="quarter" idx="66"/>
          </p:nvPr>
        </p:nvSpPr>
        <p:spPr>
          <a:xfrm>
            <a:off x="748576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3" name="Content Placeholder 17">
            <a:extLst>
              <a:ext uri="{FF2B5EF4-FFF2-40B4-BE49-F238E27FC236}">
                <a16:creationId xmlns:a16="http://schemas.microsoft.com/office/drawing/2014/main" id="{207428A8-B813-0023-E63D-8D42D0AEA86C}"/>
              </a:ext>
            </a:extLst>
          </p:cNvPr>
          <p:cNvSpPr>
            <a:spLocks noGrp="1"/>
          </p:cNvSpPr>
          <p:nvPr>
            <p:ph sz="quarter" idx="67"/>
          </p:nvPr>
        </p:nvSpPr>
        <p:spPr>
          <a:xfrm>
            <a:off x="96681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45165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3E43F683-1C6F-A88B-EFFC-61BC47677550}"/>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Text Placeholder 12">
            <a:extLst>
              <a:ext uri="{FF2B5EF4-FFF2-40B4-BE49-F238E27FC236}">
                <a16:creationId xmlns:a16="http://schemas.microsoft.com/office/drawing/2014/main" id="{F208C0BF-2ED7-5DE5-CB73-756018FFEAE7}"/>
              </a:ext>
            </a:extLst>
          </p:cNvPr>
          <p:cNvSpPr>
            <a:spLocks noGrp="1"/>
          </p:cNvSpPr>
          <p:nvPr>
            <p:ph type="body" sz="quarter" idx="23" hasCustomPrompt="1"/>
          </p:nvPr>
        </p:nvSpPr>
        <p:spPr>
          <a:xfrm>
            <a:off x="1645920"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1</a:t>
            </a:r>
          </a:p>
        </p:txBody>
      </p:sp>
      <p:sp>
        <p:nvSpPr>
          <p:cNvPr id="14" name="Text Placeholder 12">
            <a:extLst>
              <a:ext uri="{FF2B5EF4-FFF2-40B4-BE49-F238E27FC236}">
                <a16:creationId xmlns:a16="http://schemas.microsoft.com/office/drawing/2014/main" id="{E51AF760-8DBB-8A14-4B06-2189A23ED6F1}"/>
              </a:ext>
            </a:extLst>
          </p:cNvPr>
          <p:cNvSpPr>
            <a:spLocks noGrp="1"/>
          </p:cNvSpPr>
          <p:nvPr>
            <p:ph type="body" sz="quarter" idx="24" hasCustomPrompt="1"/>
          </p:nvPr>
        </p:nvSpPr>
        <p:spPr>
          <a:xfrm>
            <a:off x="3739896" y="461772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2</a:t>
            </a:r>
          </a:p>
        </p:txBody>
      </p:sp>
      <p:sp>
        <p:nvSpPr>
          <p:cNvPr id="15" name="Text Placeholder 12">
            <a:extLst>
              <a:ext uri="{FF2B5EF4-FFF2-40B4-BE49-F238E27FC236}">
                <a16:creationId xmlns:a16="http://schemas.microsoft.com/office/drawing/2014/main" id="{C7CE9357-05A9-DF7C-6E17-997138D12646}"/>
              </a:ext>
            </a:extLst>
          </p:cNvPr>
          <p:cNvSpPr>
            <a:spLocks noGrp="1"/>
          </p:cNvSpPr>
          <p:nvPr>
            <p:ph type="body" sz="quarter" idx="25" hasCustomPrompt="1"/>
          </p:nvPr>
        </p:nvSpPr>
        <p:spPr>
          <a:xfrm>
            <a:off x="5833872"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3</a:t>
            </a:r>
          </a:p>
        </p:txBody>
      </p:sp>
      <p:sp>
        <p:nvSpPr>
          <p:cNvPr id="17" name="Text Placeholder 12">
            <a:extLst>
              <a:ext uri="{FF2B5EF4-FFF2-40B4-BE49-F238E27FC236}">
                <a16:creationId xmlns:a16="http://schemas.microsoft.com/office/drawing/2014/main" id="{F62B2FDD-AA89-1B9A-1908-3ED3739E9105}"/>
              </a:ext>
            </a:extLst>
          </p:cNvPr>
          <p:cNvSpPr>
            <a:spLocks noGrp="1"/>
          </p:cNvSpPr>
          <p:nvPr>
            <p:ph type="body" sz="quarter" idx="26" hasCustomPrompt="1"/>
          </p:nvPr>
        </p:nvSpPr>
        <p:spPr>
          <a:xfrm>
            <a:off x="7927848" y="4608576"/>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4</a:t>
            </a:r>
          </a:p>
        </p:txBody>
      </p:sp>
      <p:sp>
        <p:nvSpPr>
          <p:cNvPr id="18" name="Text Placeholder 12">
            <a:extLst>
              <a:ext uri="{FF2B5EF4-FFF2-40B4-BE49-F238E27FC236}">
                <a16:creationId xmlns:a16="http://schemas.microsoft.com/office/drawing/2014/main" id="{0226740B-BD49-795F-0512-EEBF68A82A61}"/>
              </a:ext>
            </a:extLst>
          </p:cNvPr>
          <p:cNvSpPr>
            <a:spLocks noGrp="1"/>
          </p:cNvSpPr>
          <p:nvPr>
            <p:ph type="body" sz="quarter" idx="27" hasCustomPrompt="1"/>
          </p:nvPr>
        </p:nvSpPr>
        <p:spPr>
          <a:xfrm>
            <a:off x="9985248"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5</a:t>
            </a:r>
          </a:p>
        </p:txBody>
      </p:sp>
      <p:sp>
        <p:nvSpPr>
          <p:cNvPr id="12" name="Content Placeholder 17">
            <a:extLst>
              <a:ext uri="{FF2B5EF4-FFF2-40B4-BE49-F238E27FC236}">
                <a16:creationId xmlns:a16="http://schemas.microsoft.com/office/drawing/2014/main" id="{EA0B72CB-9D39-945E-6291-73282C8FD615}"/>
              </a:ext>
            </a:extLst>
          </p:cNvPr>
          <p:cNvSpPr>
            <a:spLocks noGrp="1"/>
          </p:cNvSpPr>
          <p:nvPr>
            <p:ph sz="quarter" idx="68"/>
          </p:nvPr>
        </p:nvSpPr>
        <p:spPr>
          <a:xfrm>
            <a:off x="1188720"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094F4753-05D7-30D6-0BDE-B2DBEF84E89D}"/>
              </a:ext>
            </a:extLst>
          </p:cNvPr>
          <p:cNvSpPr>
            <a:spLocks noGrp="1"/>
          </p:cNvSpPr>
          <p:nvPr>
            <p:ph sz="quarter" idx="69"/>
          </p:nvPr>
        </p:nvSpPr>
        <p:spPr>
          <a:xfrm>
            <a:off x="3275838"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0" name="Content Placeholder 17">
            <a:extLst>
              <a:ext uri="{FF2B5EF4-FFF2-40B4-BE49-F238E27FC236}">
                <a16:creationId xmlns:a16="http://schemas.microsoft.com/office/drawing/2014/main" id="{BB6371A6-E92F-2799-FD25-17375D6357CF}"/>
              </a:ext>
            </a:extLst>
          </p:cNvPr>
          <p:cNvSpPr>
            <a:spLocks noGrp="1"/>
          </p:cNvSpPr>
          <p:nvPr>
            <p:ph sz="quarter" idx="70"/>
          </p:nvPr>
        </p:nvSpPr>
        <p:spPr>
          <a:xfrm>
            <a:off x="5362956"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1" name="Content Placeholder 17">
            <a:extLst>
              <a:ext uri="{FF2B5EF4-FFF2-40B4-BE49-F238E27FC236}">
                <a16:creationId xmlns:a16="http://schemas.microsoft.com/office/drawing/2014/main" id="{FFED207C-D633-84E1-66FD-32200E0D22CD}"/>
              </a:ext>
            </a:extLst>
          </p:cNvPr>
          <p:cNvSpPr>
            <a:spLocks noGrp="1"/>
          </p:cNvSpPr>
          <p:nvPr>
            <p:ph sz="quarter" idx="71"/>
          </p:nvPr>
        </p:nvSpPr>
        <p:spPr>
          <a:xfrm>
            <a:off x="7450074"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9F1DF0FB-708D-5ED4-EB4B-06A44AFEE637}"/>
              </a:ext>
            </a:extLst>
          </p:cNvPr>
          <p:cNvSpPr>
            <a:spLocks noGrp="1"/>
          </p:cNvSpPr>
          <p:nvPr>
            <p:ph sz="quarter" idx="72"/>
          </p:nvPr>
        </p:nvSpPr>
        <p:spPr>
          <a:xfrm>
            <a:off x="9537192"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5533085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427748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wo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marL="0" indent="0" algn="l">
              <a:buNone/>
              <a:defRPr sz="1400" b="1">
                <a:solidFill>
                  <a:schemeClr val="tx1"/>
                </a:solidFill>
              </a:defRPr>
            </a:lvl1pPr>
          </a:lstStyle>
          <a:p>
            <a:pPr lvl="0"/>
            <a:r>
              <a:rPr lang="en-US"/>
              <a:t>Lorem ipsum dolor</a:t>
            </a:r>
          </a:p>
        </p:txBody>
      </p:sp>
      <p:grpSp>
        <p:nvGrpSpPr>
          <p:cNvPr id="3" name="Group 2">
            <a:extLst>
              <a:ext uri="{FF2B5EF4-FFF2-40B4-BE49-F238E27FC236}">
                <a16:creationId xmlns:a16="http://schemas.microsoft.com/office/drawing/2014/main" id="{1FE31BF3-CCB3-0476-E671-E61F6C4B8D39}"/>
              </a:ext>
            </a:extLst>
          </p:cNvPr>
          <p:cNvGrpSpPr/>
          <p:nvPr>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477000" y="3023170"/>
            <a:ext cx="4828032"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7" name="Content Placeholder 17">
            <a:extLst>
              <a:ext uri="{FF2B5EF4-FFF2-40B4-BE49-F238E27FC236}">
                <a16:creationId xmlns:a16="http://schemas.microsoft.com/office/drawing/2014/main" id="{B4B6A7E2-FF9D-DB99-AB38-64CBF6F89522}"/>
              </a:ext>
            </a:extLst>
          </p:cNvPr>
          <p:cNvSpPr>
            <a:spLocks noGrp="1"/>
          </p:cNvSpPr>
          <p:nvPr>
            <p:ph sz="quarter" idx="61"/>
          </p:nvPr>
        </p:nvSpPr>
        <p:spPr>
          <a:xfrm>
            <a:off x="950976" y="3447288"/>
            <a:ext cx="484632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2B1A665A-89B8-6B47-D2C0-CD4BAD6CF9BE}"/>
              </a:ext>
            </a:extLst>
          </p:cNvPr>
          <p:cNvSpPr>
            <a:spLocks noGrp="1"/>
          </p:cNvSpPr>
          <p:nvPr>
            <p:ph sz="quarter" idx="21"/>
          </p:nvPr>
        </p:nvSpPr>
        <p:spPr>
          <a:xfrm>
            <a:off x="6483096" y="3447288"/>
            <a:ext cx="4818888"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3537837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hree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hree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grpSp>
        <p:nvGrpSpPr>
          <p:cNvPr id="9" name="Group 8">
            <a:extLst>
              <a:ext uri="{FF2B5EF4-FFF2-40B4-BE49-F238E27FC236}">
                <a16:creationId xmlns:a16="http://schemas.microsoft.com/office/drawing/2014/main" id="{EDAC905F-2EB9-6216-DBB3-EF1D5ECD0722}"/>
              </a:ext>
            </a:extLst>
          </p:cNvPr>
          <p:cNvGrpSpPr/>
          <p:nvPr/>
        </p:nvGrpSpPr>
        <p:grpSpPr>
          <a:xfrm>
            <a:off x="815975" y="1749278"/>
            <a:ext cx="3409075" cy="4499121"/>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21625" y="1749278"/>
            <a:ext cx="3409075" cy="4499121"/>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27275" y="1749278"/>
            <a:ext cx="3409075" cy="4499121"/>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38816"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5963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70415"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67437" y="3023170"/>
            <a:ext cx="31473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572000" y="3026312"/>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53400" y="3048000"/>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19" name="Content Placeholder 17">
            <a:extLst>
              <a:ext uri="{FF2B5EF4-FFF2-40B4-BE49-F238E27FC236}">
                <a16:creationId xmlns:a16="http://schemas.microsoft.com/office/drawing/2014/main" id="{3A99F7A3-BB49-1D75-CC25-EE0F00637033}"/>
              </a:ext>
            </a:extLst>
          </p:cNvPr>
          <p:cNvSpPr>
            <a:spLocks noGrp="1"/>
          </p:cNvSpPr>
          <p:nvPr>
            <p:ph sz="quarter" idx="61"/>
          </p:nvPr>
        </p:nvSpPr>
        <p:spPr>
          <a:xfrm>
            <a:off x="960120"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C21A6BA5-2528-BEA0-FA31-FAD1CC7EE487}"/>
              </a:ext>
            </a:extLst>
          </p:cNvPr>
          <p:cNvSpPr>
            <a:spLocks noGrp="1"/>
          </p:cNvSpPr>
          <p:nvPr>
            <p:ph sz="quarter" idx="62"/>
          </p:nvPr>
        </p:nvSpPr>
        <p:spPr>
          <a:xfrm>
            <a:off x="4547616"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9EC4B23C-4B65-300D-2E3C-DBCD4DF38CB6}"/>
              </a:ext>
            </a:extLst>
          </p:cNvPr>
          <p:cNvSpPr>
            <a:spLocks noGrp="1"/>
          </p:cNvSpPr>
          <p:nvPr>
            <p:ph sz="quarter" idx="22"/>
          </p:nvPr>
        </p:nvSpPr>
        <p:spPr>
          <a:xfrm>
            <a:off x="8156448"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4562066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4 point pyrami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15E31BEC-29E9-D24F-89BE-FE088165AB75}"/>
              </a:ext>
            </a:extLst>
          </p:cNvPr>
          <p:cNvCxnSpPr>
            <a:cxnSpLocks/>
          </p:cNvCxnSpPr>
          <p:nvPr/>
        </p:nvCxnSpPr>
        <p:spPr>
          <a:xfrm>
            <a:off x="7461250" y="5058073"/>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9">
            <a:extLst>
              <a:ext uri="{FF2B5EF4-FFF2-40B4-BE49-F238E27FC236}">
                <a16:creationId xmlns:a16="http://schemas.microsoft.com/office/drawing/2014/main" id="{BA146893-AAEE-E56B-7DC2-BCCA3DDF82D2}"/>
              </a:ext>
            </a:extLst>
          </p:cNvPr>
          <p:cNvSpPr>
            <a:spLocks noGrp="1"/>
          </p:cNvSpPr>
          <p:nvPr>
            <p:ph type="body" sz="quarter" idx="23" hasCustomPrompt="1"/>
          </p:nvPr>
        </p:nvSpPr>
        <p:spPr>
          <a:xfrm>
            <a:off x="8686800" y="4751934"/>
            <a:ext cx="2557302" cy="324044"/>
          </a:xfrm>
        </p:spPr>
        <p:txBody>
          <a:bodyPr>
            <a:normAutofit/>
          </a:bodyPr>
          <a:lstStyle>
            <a:lvl1pPr marL="0" indent="0">
              <a:buNone/>
              <a:defRPr sz="1600" b="1">
                <a:solidFill>
                  <a:schemeClr val="bg2"/>
                </a:solidFill>
              </a:defRPr>
            </a:lvl1pPr>
          </a:lstStyle>
          <a:p>
            <a:pPr lvl="0"/>
            <a:r>
              <a:rPr lang="en-US"/>
              <a:t>Lorem ipsum dolor</a:t>
            </a:r>
          </a:p>
        </p:txBody>
      </p:sp>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our point</a:t>
            </a:r>
            <a:br>
              <a:rPr lang="en-US"/>
            </a:br>
            <a:r>
              <a:rPr lang="en-US"/>
              <a:t>pyramid</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51" name="Text Placeholder 49">
            <a:extLst>
              <a:ext uri="{FF2B5EF4-FFF2-40B4-BE49-F238E27FC236}">
                <a16:creationId xmlns:a16="http://schemas.microsoft.com/office/drawing/2014/main" id="{3730989F-3C5B-0D21-C96E-ECBB026FAC97}"/>
              </a:ext>
            </a:extLst>
          </p:cNvPr>
          <p:cNvSpPr>
            <a:spLocks noGrp="1"/>
          </p:cNvSpPr>
          <p:nvPr>
            <p:ph type="body" sz="quarter" idx="17" hasCustomPrompt="1"/>
          </p:nvPr>
        </p:nvSpPr>
        <p:spPr>
          <a:xfrm>
            <a:off x="8686800" y="798554"/>
            <a:ext cx="2557302" cy="324044"/>
          </a:xfrm>
        </p:spPr>
        <p:txBody>
          <a:bodyPr>
            <a:normAutofit/>
          </a:bodyPr>
          <a:lstStyle>
            <a:lvl1pPr marL="0" indent="0">
              <a:buNone/>
              <a:defRPr sz="1600" b="1">
                <a:solidFill>
                  <a:schemeClr val="accent1"/>
                </a:solidFill>
              </a:defRPr>
            </a:lvl1pPr>
          </a:lstStyle>
          <a:p>
            <a:pPr lvl="0"/>
            <a:r>
              <a:rPr lang="en-US"/>
              <a:t>Lorem ipsum dolor</a:t>
            </a:r>
          </a:p>
        </p:txBody>
      </p:sp>
      <p:cxnSp>
        <p:nvCxnSpPr>
          <p:cNvPr id="52" name="Straight Connector 51">
            <a:extLst>
              <a:ext uri="{FF2B5EF4-FFF2-40B4-BE49-F238E27FC236}">
                <a16:creationId xmlns:a16="http://schemas.microsoft.com/office/drawing/2014/main" id="{D93B5DE0-2778-55D8-5B63-06B3ED9A875C}"/>
              </a:ext>
            </a:extLst>
          </p:cNvPr>
          <p:cNvCxnSpPr>
            <a:cxnSpLocks/>
          </p:cNvCxnSpPr>
          <p:nvPr/>
        </p:nvCxnSpPr>
        <p:spPr>
          <a:xfrm>
            <a:off x="6035783" y="1102648"/>
            <a:ext cx="5400566" cy="1328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93BBF5-7965-705C-7066-2A8B368C2ADE}"/>
              </a:ext>
            </a:extLst>
          </p:cNvPr>
          <p:cNvCxnSpPr>
            <a:cxnSpLocks/>
          </p:cNvCxnSpPr>
          <p:nvPr/>
        </p:nvCxnSpPr>
        <p:spPr>
          <a:xfrm flipV="1">
            <a:off x="6751426" y="2599659"/>
            <a:ext cx="4684924" cy="121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962CBE-CFB2-AA4F-3522-C00036B7F114}"/>
              </a:ext>
            </a:extLst>
          </p:cNvPr>
          <p:cNvCxnSpPr>
            <a:cxnSpLocks/>
          </p:cNvCxnSpPr>
          <p:nvPr/>
        </p:nvCxnSpPr>
        <p:spPr>
          <a:xfrm>
            <a:off x="7461250" y="3811339"/>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 Placeholder 49">
            <a:extLst>
              <a:ext uri="{FF2B5EF4-FFF2-40B4-BE49-F238E27FC236}">
                <a16:creationId xmlns:a16="http://schemas.microsoft.com/office/drawing/2014/main" id="{FABE6391-6130-80DD-2E80-D09786D417D0}"/>
              </a:ext>
            </a:extLst>
          </p:cNvPr>
          <p:cNvSpPr>
            <a:spLocks noGrp="1"/>
          </p:cNvSpPr>
          <p:nvPr>
            <p:ph type="body" sz="quarter" idx="19" hasCustomPrompt="1"/>
          </p:nvPr>
        </p:nvSpPr>
        <p:spPr>
          <a:xfrm>
            <a:off x="8686800" y="2286000"/>
            <a:ext cx="2557302" cy="324044"/>
          </a:xfrm>
        </p:spPr>
        <p:txBody>
          <a:bodyPr>
            <a:normAutofit/>
          </a:bodyPr>
          <a:lstStyle>
            <a:lvl1pPr marL="0" indent="0">
              <a:buNone/>
              <a:defRPr sz="1600" b="1">
                <a:solidFill>
                  <a:schemeClr val="tx2"/>
                </a:solidFill>
              </a:defRPr>
            </a:lvl1pPr>
          </a:lstStyle>
          <a:p>
            <a:pPr lvl="0"/>
            <a:r>
              <a:rPr lang="en-US"/>
              <a:t>Lorem ipsum dolor</a:t>
            </a:r>
          </a:p>
        </p:txBody>
      </p:sp>
      <p:sp>
        <p:nvSpPr>
          <p:cNvPr id="58" name="Text Placeholder 49">
            <a:extLst>
              <a:ext uri="{FF2B5EF4-FFF2-40B4-BE49-F238E27FC236}">
                <a16:creationId xmlns:a16="http://schemas.microsoft.com/office/drawing/2014/main" id="{AEA0D083-188D-275C-19A3-2B08840ED843}"/>
              </a:ext>
            </a:extLst>
          </p:cNvPr>
          <p:cNvSpPr>
            <a:spLocks noGrp="1"/>
          </p:cNvSpPr>
          <p:nvPr>
            <p:ph type="body" sz="quarter" idx="21" hasCustomPrompt="1"/>
          </p:nvPr>
        </p:nvSpPr>
        <p:spPr>
          <a:xfrm>
            <a:off x="8686800" y="3505200"/>
            <a:ext cx="2557302" cy="324044"/>
          </a:xfrm>
        </p:spPr>
        <p:txBody>
          <a:bodyPr>
            <a:normAutofit/>
          </a:bodyPr>
          <a:lstStyle>
            <a:lvl1pPr marL="0" indent="0">
              <a:buNone/>
              <a:defRPr sz="1600" b="1">
                <a:solidFill>
                  <a:schemeClr val="tx1"/>
                </a:solidFill>
              </a:defRPr>
            </a:lvl1pPr>
          </a:lstStyle>
          <a:p>
            <a:pPr lvl="0"/>
            <a:r>
              <a:rPr lang="en-US"/>
              <a:t>Lorem ipsum dolor</a:t>
            </a:r>
          </a:p>
        </p:txBody>
      </p:sp>
      <p:sp>
        <p:nvSpPr>
          <p:cNvPr id="38" name="Rectangle 37">
            <a:extLst>
              <a:ext uri="{FF2B5EF4-FFF2-40B4-BE49-F238E27FC236}">
                <a16:creationId xmlns:a16="http://schemas.microsoft.com/office/drawing/2014/main" id="{93E24841-D5DA-308D-C4FA-1230C1250DB6}"/>
              </a:ext>
            </a:extLst>
          </p:cNvPr>
          <p:cNvSpPr/>
          <p:nvPr/>
        </p:nvSpPr>
        <p:spPr>
          <a:xfrm>
            <a:off x="5652965" y="173410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39" name="Rectangle 38">
            <a:extLst>
              <a:ext uri="{FF2B5EF4-FFF2-40B4-BE49-F238E27FC236}">
                <a16:creationId xmlns:a16="http://schemas.microsoft.com/office/drawing/2014/main" id="{623B7E06-AEC1-1A82-D474-25CB9E798690}"/>
              </a:ext>
            </a:extLst>
          </p:cNvPr>
          <p:cNvSpPr/>
          <p:nvPr/>
        </p:nvSpPr>
        <p:spPr>
          <a:xfrm>
            <a:off x="5652965" y="32528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40" name="Rectangle 39">
            <a:extLst>
              <a:ext uri="{FF2B5EF4-FFF2-40B4-BE49-F238E27FC236}">
                <a16:creationId xmlns:a16="http://schemas.microsoft.com/office/drawing/2014/main" id="{68B39BD1-DFBA-C742-6146-CEE943A2FB82}"/>
              </a:ext>
            </a:extLst>
          </p:cNvPr>
          <p:cNvSpPr/>
          <p:nvPr/>
        </p:nvSpPr>
        <p:spPr>
          <a:xfrm>
            <a:off x="5652964" y="4878023"/>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grpSp>
        <p:nvGrpSpPr>
          <p:cNvPr id="3" name="Group 2">
            <a:extLst>
              <a:ext uri="{FF2B5EF4-FFF2-40B4-BE49-F238E27FC236}">
                <a16:creationId xmlns:a16="http://schemas.microsoft.com/office/drawing/2014/main" id="{12BD220D-68E4-AA53-DDAD-EF80DFB2208E}"/>
              </a:ext>
            </a:extLst>
          </p:cNvPr>
          <p:cNvGrpSpPr/>
          <p:nvPr/>
        </p:nvGrpSpPr>
        <p:grpSpPr>
          <a:xfrm>
            <a:off x="3547308" y="848082"/>
            <a:ext cx="4976734" cy="5161839"/>
            <a:chOff x="3547308" y="848082"/>
            <a:chExt cx="4976734" cy="5161839"/>
          </a:xfrm>
        </p:grpSpPr>
        <p:grpSp>
          <p:nvGrpSpPr>
            <p:cNvPr id="7" name="Group 6">
              <a:extLst>
                <a:ext uri="{FF2B5EF4-FFF2-40B4-BE49-F238E27FC236}">
                  <a16:creationId xmlns:a16="http://schemas.microsoft.com/office/drawing/2014/main" id="{A574C05B-E903-DC0A-55E6-6E5E5DEB84FA}"/>
                </a:ext>
              </a:extLst>
            </p:cNvPr>
            <p:cNvGrpSpPr/>
            <p:nvPr/>
          </p:nvGrpSpPr>
          <p:grpSpPr>
            <a:xfrm>
              <a:off x="3547308" y="848082"/>
              <a:ext cx="4976734" cy="5161839"/>
              <a:chOff x="4659207" y="480648"/>
              <a:chExt cx="3999564" cy="4587037"/>
            </a:xfrm>
          </p:grpSpPr>
          <p:sp>
            <p:nvSpPr>
              <p:cNvPr id="19" name="Freeform 18">
                <a:extLst>
                  <a:ext uri="{FF2B5EF4-FFF2-40B4-BE49-F238E27FC236}">
                    <a16:creationId xmlns:a16="http://schemas.microsoft.com/office/drawing/2014/main" id="{4C0F3549-F56E-A8AC-5437-475CE3DE30BE}"/>
                  </a:ext>
                </a:extLst>
              </p:cNvPr>
              <p:cNvSpPr/>
              <p:nvPr/>
            </p:nvSpPr>
            <p:spPr>
              <a:xfrm>
                <a:off x="6083773" y="480648"/>
                <a:ext cx="1150431" cy="1319488"/>
              </a:xfrm>
              <a:custGeom>
                <a:avLst/>
                <a:gdLst>
                  <a:gd name="connsiteX0" fmla="*/ 575216 w 1150431"/>
                  <a:gd name="connsiteY0" fmla="*/ 0 h 1319488"/>
                  <a:gd name="connsiteX1" fmla="*/ 0 w 1150431"/>
                  <a:gd name="connsiteY1" fmla="*/ 1319488 h 1319488"/>
                  <a:gd name="connsiteX2" fmla="*/ 1150431 w 1150431"/>
                  <a:gd name="connsiteY2" fmla="*/ 1319488 h 1319488"/>
                  <a:gd name="connsiteX3" fmla="*/ 575216 w 1150431"/>
                  <a:gd name="connsiteY3" fmla="*/ 0 h 1319488"/>
                </a:gdLst>
                <a:ahLst/>
                <a:cxnLst>
                  <a:cxn ang="0">
                    <a:pos x="connsiteX0" y="connsiteY0"/>
                  </a:cxn>
                  <a:cxn ang="0">
                    <a:pos x="connsiteX1" y="connsiteY1"/>
                  </a:cxn>
                  <a:cxn ang="0">
                    <a:pos x="connsiteX2" y="connsiteY2"/>
                  </a:cxn>
                  <a:cxn ang="0">
                    <a:pos x="connsiteX3" y="connsiteY3"/>
                  </a:cxn>
                </a:cxnLst>
                <a:rect l="l" t="t" r="r" b="b"/>
                <a:pathLst>
                  <a:path w="1150431" h="1319488">
                    <a:moveTo>
                      <a:pt x="575216" y="0"/>
                    </a:moveTo>
                    <a:lnTo>
                      <a:pt x="0" y="1319488"/>
                    </a:lnTo>
                    <a:lnTo>
                      <a:pt x="1150431" y="1319488"/>
                    </a:lnTo>
                    <a:lnTo>
                      <a:pt x="575216" y="0"/>
                    </a:lnTo>
                    <a:close/>
                  </a:path>
                </a:pathLst>
              </a:custGeom>
              <a:solidFill>
                <a:schemeClr val="accent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0" name="Freeform 19">
                <a:extLst>
                  <a:ext uri="{FF2B5EF4-FFF2-40B4-BE49-F238E27FC236}">
                    <a16:creationId xmlns:a16="http://schemas.microsoft.com/office/drawing/2014/main" id="{2DD6789B-4DEF-9653-C5F8-87CFD02F83EF}"/>
                  </a:ext>
                </a:extLst>
              </p:cNvPr>
              <p:cNvSpPr/>
              <p:nvPr/>
            </p:nvSpPr>
            <p:spPr>
              <a:xfrm>
                <a:off x="4659207" y="4109983"/>
                <a:ext cx="3999564" cy="957702"/>
              </a:xfrm>
              <a:custGeom>
                <a:avLst/>
                <a:gdLst>
                  <a:gd name="connsiteX0" fmla="*/ 0 w 3999564"/>
                  <a:gd name="connsiteY0" fmla="*/ 957703 h 957702"/>
                  <a:gd name="connsiteX1" fmla="*/ 3999564 w 3999564"/>
                  <a:gd name="connsiteY1" fmla="*/ 957703 h 957702"/>
                  <a:gd name="connsiteX2" fmla="*/ 3581909 w 3999564"/>
                  <a:gd name="connsiteY2" fmla="*/ 0 h 957702"/>
                  <a:gd name="connsiteX3" fmla="*/ 417514 w 3999564"/>
                  <a:gd name="connsiteY3" fmla="*/ 0 h 957702"/>
                  <a:gd name="connsiteX4" fmla="*/ 0 w 3999564"/>
                  <a:gd name="connsiteY4" fmla="*/ 957703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9564" h="957702">
                    <a:moveTo>
                      <a:pt x="0" y="957703"/>
                    </a:moveTo>
                    <a:lnTo>
                      <a:pt x="3999564" y="957703"/>
                    </a:lnTo>
                    <a:lnTo>
                      <a:pt x="3581909" y="0"/>
                    </a:lnTo>
                    <a:lnTo>
                      <a:pt x="417514" y="0"/>
                    </a:lnTo>
                    <a:lnTo>
                      <a:pt x="0" y="957703"/>
                    </a:lnTo>
                    <a:close/>
                  </a:path>
                </a:pathLst>
              </a:custGeom>
              <a:solidFill>
                <a:schemeClr val="bg2"/>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7BA0E879-50A0-B572-F4B3-01B022112F50}"/>
                  </a:ext>
                </a:extLst>
              </p:cNvPr>
              <p:cNvSpPr/>
              <p:nvPr/>
            </p:nvSpPr>
            <p:spPr>
              <a:xfrm>
                <a:off x="5134015" y="3020668"/>
                <a:ext cx="3049805" cy="957900"/>
              </a:xfrm>
              <a:custGeom>
                <a:avLst/>
                <a:gdLst>
                  <a:gd name="connsiteX0" fmla="*/ 283495 w 3049805"/>
                  <a:gd name="connsiteY0" fmla="*/ 307558 h 957900"/>
                  <a:gd name="connsiteX1" fmla="*/ 0 w 3049805"/>
                  <a:gd name="connsiteY1" fmla="*/ 957901 h 957900"/>
                  <a:gd name="connsiteX2" fmla="*/ 3049806 w 3049805"/>
                  <a:gd name="connsiteY2" fmla="*/ 957901 h 957900"/>
                  <a:gd name="connsiteX3" fmla="*/ 2766311 w 3049805"/>
                  <a:gd name="connsiteY3" fmla="*/ 307558 h 957900"/>
                  <a:gd name="connsiteX4" fmla="*/ 2632293 w 3049805"/>
                  <a:gd name="connsiteY4" fmla="*/ 0 h 957900"/>
                  <a:gd name="connsiteX5" fmla="*/ 417513 w 3049805"/>
                  <a:gd name="connsiteY5" fmla="*/ 0 h 957900"/>
                  <a:gd name="connsiteX6" fmla="*/ 283495 w 3049805"/>
                  <a:gd name="connsiteY6" fmla="*/ 307558 h 9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9805" h="957900">
                    <a:moveTo>
                      <a:pt x="283495" y="307558"/>
                    </a:moveTo>
                    <a:lnTo>
                      <a:pt x="0" y="957901"/>
                    </a:lnTo>
                    <a:lnTo>
                      <a:pt x="3049806" y="957901"/>
                    </a:lnTo>
                    <a:lnTo>
                      <a:pt x="2766311" y="307558"/>
                    </a:lnTo>
                    <a:lnTo>
                      <a:pt x="2632293" y="0"/>
                    </a:lnTo>
                    <a:lnTo>
                      <a:pt x="417513" y="0"/>
                    </a:lnTo>
                    <a:lnTo>
                      <a:pt x="283495" y="307558"/>
                    </a:lnTo>
                    <a:close/>
                  </a:path>
                </a:pathLst>
              </a:custGeom>
              <a:solidFill>
                <a:schemeClr val="tx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52EA3AAD-9D5C-8E2C-5D6A-B30BD2630BD6}"/>
                  </a:ext>
                </a:extLst>
              </p:cNvPr>
              <p:cNvSpPr/>
              <p:nvPr/>
            </p:nvSpPr>
            <p:spPr>
              <a:xfrm>
                <a:off x="5608823" y="1931550"/>
                <a:ext cx="2100189" cy="957702"/>
              </a:xfrm>
              <a:custGeom>
                <a:avLst/>
                <a:gdLst>
                  <a:gd name="connsiteX0" fmla="*/ 417655 w 2100189"/>
                  <a:gd name="connsiteY0" fmla="*/ 0 h 957702"/>
                  <a:gd name="connsiteX1" fmla="*/ 0 w 2100189"/>
                  <a:gd name="connsiteY1" fmla="*/ 957703 h 957702"/>
                  <a:gd name="connsiteX2" fmla="*/ 2100190 w 2100189"/>
                  <a:gd name="connsiteY2" fmla="*/ 957703 h 957702"/>
                  <a:gd name="connsiteX3" fmla="*/ 1682676 w 2100189"/>
                  <a:gd name="connsiteY3" fmla="*/ 0 h 957702"/>
                  <a:gd name="connsiteX4" fmla="*/ 417655 w 2100189"/>
                  <a:gd name="connsiteY4" fmla="*/ 0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189" h="957702">
                    <a:moveTo>
                      <a:pt x="417655" y="0"/>
                    </a:moveTo>
                    <a:lnTo>
                      <a:pt x="0" y="957703"/>
                    </a:lnTo>
                    <a:lnTo>
                      <a:pt x="2100190" y="957703"/>
                    </a:lnTo>
                    <a:lnTo>
                      <a:pt x="1682676" y="0"/>
                    </a:lnTo>
                    <a:lnTo>
                      <a:pt x="417655" y="0"/>
                    </a:lnTo>
                    <a:close/>
                  </a:path>
                </a:pathLst>
              </a:custGeom>
              <a:solidFill>
                <a:schemeClr val="tx2"/>
              </a:solidFill>
              <a:ln w="14179" cap="flat">
                <a:noFill/>
                <a:prstDash val="solid"/>
                <a:miter/>
              </a:ln>
            </p:spPr>
            <p:txBody>
              <a:bodyPr rtlCol="0" anchor="ctr"/>
              <a:lstStyle/>
              <a:p>
                <a:pPr marL="0" indent="0">
                  <a:buFont typeface="Arial" panose="020B0604020202020204" pitchFamily="34" charset="0"/>
                  <a:buNone/>
                </a:pPr>
                <a:endParaRPr lang="en-US"/>
              </a:p>
            </p:txBody>
          </p:sp>
        </p:grpSp>
        <p:sp>
          <p:nvSpPr>
            <p:cNvPr id="8" name="Rectangle 7">
              <a:extLst>
                <a:ext uri="{FF2B5EF4-FFF2-40B4-BE49-F238E27FC236}">
                  <a16:creationId xmlns:a16="http://schemas.microsoft.com/office/drawing/2014/main" id="{05E23146-ED2B-3363-297C-CBF51BF37A10}"/>
                </a:ext>
              </a:extLst>
            </p:cNvPr>
            <p:cNvSpPr/>
            <p:nvPr/>
          </p:nvSpPr>
          <p:spPr>
            <a:xfrm>
              <a:off x="5647273" y="153245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16" name="Rectangle 15">
              <a:extLst>
                <a:ext uri="{FF2B5EF4-FFF2-40B4-BE49-F238E27FC236}">
                  <a16:creationId xmlns:a16="http://schemas.microsoft.com/office/drawing/2014/main" id="{B35AE6B4-ED04-F413-6D20-239C0B84CECE}"/>
                </a:ext>
              </a:extLst>
            </p:cNvPr>
            <p:cNvSpPr/>
            <p:nvPr/>
          </p:nvSpPr>
          <p:spPr>
            <a:xfrm>
              <a:off x="5647272" y="2658654"/>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17" name="Rectangle 16">
              <a:extLst>
                <a:ext uri="{FF2B5EF4-FFF2-40B4-BE49-F238E27FC236}">
                  <a16:creationId xmlns:a16="http://schemas.microsoft.com/office/drawing/2014/main" id="{09BCA15F-EBA9-4AE6-FD3F-7B6734D3FE1D}"/>
                </a:ext>
              </a:extLst>
            </p:cNvPr>
            <p:cNvSpPr/>
            <p:nvPr/>
          </p:nvSpPr>
          <p:spPr>
            <a:xfrm>
              <a:off x="5647272" y="385108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sp>
          <p:nvSpPr>
            <p:cNvPr id="18" name="Rectangle 17">
              <a:extLst>
                <a:ext uri="{FF2B5EF4-FFF2-40B4-BE49-F238E27FC236}">
                  <a16:creationId xmlns:a16="http://schemas.microsoft.com/office/drawing/2014/main" id="{67BFA213-2980-7828-FB9F-942DEC0DF5F7}"/>
                </a:ext>
              </a:extLst>
            </p:cNvPr>
            <p:cNvSpPr/>
            <p:nvPr/>
          </p:nvSpPr>
          <p:spPr>
            <a:xfrm>
              <a:off x="5647272" y="5128070"/>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4</a:t>
              </a:r>
            </a:p>
          </p:txBody>
        </p:sp>
      </p:grpSp>
      <p:sp>
        <p:nvSpPr>
          <p:cNvPr id="21" name="Content Placeholder 17">
            <a:extLst>
              <a:ext uri="{FF2B5EF4-FFF2-40B4-BE49-F238E27FC236}">
                <a16:creationId xmlns:a16="http://schemas.microsoft.com/office/drawing/2014/main" id="{E17DCA2C-A564-6100-C9C1-9BF4585B0127}"/>
              </a:ext>
            </a:extLst>
          </p:cNvPr>
          <p:cNvSpPr>
            <a:spLocks noGrp="1"/>
          </p:cNvSpPr>
          <p:nvPr>
            <p:ph sz="quarter" idx="63"/>
          </p:nvPr>
        </p:nvSpPr>
        <p:spPr>
          <a:xfrm>
            <a:off x="8686800" y="1143000"/>
            <a:ext cx="256032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AA39802B-57F7-9529-1C26-704A15A4EBD6}"/>
              </a:ext>
            </a:extLst>
          </p:cNvPr>
          <p:cNvSpPr>
            <a:spLocks noGrp="1"/>
          </p:cNvSpPr>
          <p:nvPr>
            <p:ph sz="quarter" idx="64"/>
          </p:nvPr>
        </p:nvSpPr>
        <p:spPr>
          <a:xfrm>
            <a:off x="8686800" y="26670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E0A9520F-B9D2-F947-0ACA-D3B300D51399}"/>
              </a:ext>
            </a:extLst>
          </p:cNvPr>
          <p:cNvSpPr>
            <a:spLocks noGrp="1"/>
          </p:cNvSpPr>
          <p:nvPr>
            <p:ph sz="quarter" idx="65"/>
          </p:nvPr>
        </p:nvSpPr>
        <p:spPr>
          <a:xfrm>
            <a:off x="8686800" y="38862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4" name="Content Placeholder 17">
            <a:extLst>
              <a:ext uri="{FF2B5EF4-FFF2-40B4-BE49-F238E27FC236}">
                <a16:creationId xmlns:a16="http://schemas.microsoft.com/office/drawing/2014/main" id="{4E016D0E-59CF-9EB5-1571-E71C2248A7AD}"/>
              </a:ext>
            </a:extLst>
          </p:cNvPr>
          <p:cNvSpPr>
            <a:spLocks noGrp="1"/>
          </p:cNvSpPr>
          <p:nvPr>
            <p:ph sz="quarter" idx="66"/>
          </p:nvPr>
        </p:nvSpPr>
        <p:spPr>
          <a:xfrm>
            <a:off x="8686800" y="5181600"/>
            <a:ext cx="2590800" cy="9144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713777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estions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883"/>
            <a:ext cx="12191616" cy="6856444"/>
          </a:xfrm>
          <a:prstGeom prst="rect">
            <a:avLst/>
          </a:prstGeom>
        </p:spPr>
      </p:pic>
      <p:sp>
        <p:nvSpPr>
          <p:cNvPr id="5" name="TextBox 4">
            <a:extLst>
              <a:ext uri="{FF2B5EF4-FFF2-40B4-BE49-F238E27FC236}">
                <a16:creationId xmlns:a16="http://schemas.microsoft.com/office/drawing/2014/main" id="{EA2960BB-6963-450F-907C-277E0DFF0F3C}"/>
              </a:ext>
            </a:extLst>
          </p:cNvPr>
          <p:cNvSpPr txBox="1"/>
          <p:nvPr/>
        </p:nvSpPr>
        <p:spPr>
          <a:xfrm>
            <a:off x="5270741" y="2682814"/>
            <a:ext cx="5098211" cy="1569660"/>
          </a:xfrm>
          <a:prstGeom prst="rect">
            <a:avLst/>
          </a:prstGeom>
          <a:noFill/>
        </p:spPr>
        <p:txBody>
          <a:bodyPr wrap="square" rtlCol="0">
            <a:spAutoFit/>
          </a:bodyPr>
          <a:lstStyle/>
          <a:p>
            <a:r>
              <a:rPr lang="en-US" sz="4800">
                <a:solidFill>
                  <a:schemeClr val="bg1"/>
                </a:solidFill>
              </a:rPr>
              <a:t>QUESTIONS AND ANSWERS</a:t>
            </a:r>
          </a:p>
        </p:txBody>
      </p:sp>
    </p:spTree>
    <p:extLst>
      <p:ext uri="{BB962C8B-B14F-4D97-AF65-F5344CB8AC3E}">
        <p14:creationId xmlns:p14="http://schemas.microsoft.com/office/powerpoint/2010/main" val="2145136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point triangl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4A4E4F81-F86D-CD02-2171-579792C7EC2B}"/>
              </a:ext>
            </a:extLst>
          </p:cNvPr>
          <p:cNvGrpSpPr/>
          <p:nvPr/>
        </p:nvGrpSpPr>
        <p:grpSpPr>
          <a:xfrm>
            <a:off x="785813"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696200" y="2831683"/>
            <a:ext cx="3721608"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0600" y="2831683"/>
            <a:ext cx="3721010" cy="324044"/>
          </a:xfrm>
        </p:spPr>
        <p:txBody>
          <a:bodyPr>
            <a:normAutofit/>
          </a:bodyPr>
          <a:lstStyle>
            <a:lvl1pPr marL="0" indent="0">
              <a:buNone/>
              <a:defRPr sz="1600" b="1">
                <a:solidFill>
                  <a:schemeClr val="accent4"/>
                </a:solidFill>
              </a:defRPr>
            </a:lvl1pPr>
          </a:lstStyle>
          <a:p>
            <a:pPr lvl="0"/>
            <a:r>
              <a:rPr lang="en-US"/>
              <a:t>Lorem ipsum dolor</a:t>
            </a:r>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235196" y="5638800"/>
            <a:ext cx="3721608"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19" name="Content Placeholder 17">
            <a:extLst>
              <a:ext uri="{FF2B5EF4-FFF2-40B4-BE49-F238E27FC236}">
                <a16:creationId xmlns:a16="http://schemas.microsoft.com/office/drawing/2014/main" id="{0E05ABD5-3E68-13F8-6615-F4A985568F09}"/>
              </a:ext>
            </a:extLst>
          </p:cNvPr>
          <p:cNvSpPr>
            <a:spLocks noGrp="1"/>
          </p:cNvSpPr>
          <p:nvPr>
            <p:ph sz="quarter" idx="63"/>
          </p:nvPr>
        </p:nvSpPr>
        <p:spPr>
          <a:xfrm>
            <a:off x="9906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BB81BFD-C974-DBEE-379F-86E4A0E36B5F}"/>
              </a:ext>
            </a:extLst>
          </p:cNvPr>
          <p:cNvSpPr>
            <a:spLocks noGrp="1"/>
          </p:cNvSpPr>
          <p:nvPr>
            <p:ph sz="quarter" idx="64"/>
          </p:nvPr>
        </p:nvSpPr>
        <p:spPr>
          <a:xfrm>
            <a:off x="4235196" y="6022554"/>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52657600-CDED-1015-206E-5278110EF3C3}"/>
              </a:ext>
            </a:extLst>
          </p:cNvPr>
          <p:cNvSpPr>
            <a:spLocks noGrp="1"/>
          </p:cNvSpPr>
          <p:nvPr>
            <p:ph sz="quarter" idx="65"/>
          </p:nvPr>
        </p:nvSpPr>
        <p:spPr>
          <a:xfrm>
            <a:off x="76962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6631104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ur points squar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our points - squar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1AE2DD51-A795-973A-AC7F-EFCDC6608A8C}"/>
              </a:ext>
            </a:extLst>
          </p:cNvPr>
          <p:cNvGrpSpPr/>
          <p:nvPr/>
        </p:nvGrpSpPr>
        <p:grpSpPr>
          <a:xfrm>
            <a:off x="815975" y="2384989"/>
            <a:ext cx="10620375" cy="3398382"/>
            <a:chOff x="815975" y="2044994"/>
            <a:chExt cx="10620375" cy="3398382"/>
          </a:xfrm>
        </p:grpSpPr>
        <p:cxnSp>
          <p:nvCxnSpPr>
            <p:cNvPr id="10" name="Straight Connector 9">
              <a:extLst>
                <a:ext uri="{FF2B5EF4-FFF2-40B4-BE49-F238E27FC236}">
                  <a16:creationId xmlns:a16="http://schemas.microsoft.com/office/drawing/2014/main" id="{73FD4D2A-B2BE-E573-5D74-450967EE75CE}"/>
                </a:ext>
              </a:extLst>
            </p:cNvPr>
            <p:cNvCxnSpPr>
              <a:cxnSpLocks/>
            </p:cNvCxnSpPr>
            <p:nvPr/>
          </p:nvCxnSpPr>
          <p:spPr>
            <a:xfrm flipV="1">
              <a:off x="6095937" y="2044994"/>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E2F8C8-88CC-93E9-FEBB-841E9B1C6BCD}"/>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3F0EBC-04C1-043C-B60C-82D736C9CA1E}"/>
                </a:ext>
              </a:extLst>
            </p:cNvPr>
            <p:cNvCxnSpPr>
              <a:cxnSpLocks/>
            </p:cNvCxnSpPr>
            <p:nvPr/>
          </p:nvCxnSpPr>
          <p:spPr>
            <a:xfrm>
              <a:off x="6995461" y="380301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42A6F1-B12E-643E-7565-62DA0A2CCEC9}"/>
                </a:ext>
              </a:extLst>
            </p:cNvPr>
            <p:cNvCxnSpPr>
              <a:cxnSpLocks/>
            </p:cNvCxnSpPr>
            <p:nvPr/>
          </p:nvCxnSpPr>
          <p:spPr>
            <a:xfrm flipH="1">
              <a:off x="815975" y="378898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DD80B86D-F9FB-2AAA-765A-707D0E81AA1B}"/>
                </a:ext>
              </a:extLst>
            </p:cNvPr>
            <p:cNvGrpSpPr/>
            <p:nvPr/>
          </p:nvGrpSpPr>
          <p:grpSpPr>
            <a:xfrm>
              <a:off x="4812056" y="2468666"/>
              <a:ext cx="2567888" cy="2569042"/>
              <a:chOff x="7186795" y="1963701"/>
              <a:chExt cx="2567888" cy="2569042"/>
            </a:xfrm>
          </p:grpSpPr>
          <p:sp>
            <p:nvSpPr>
              <p:cNvPr id="28" name="Freeform 27">
                <a:extLst>
                  <a:ext uri="{FF2B5EF4-FFF2-40B4-BE49-F238E27FC236}">
                    <a16:creationId xmlns:a16="http://schemas.microsoft.com/office/drawing/2014/main" id="{4C45A49E-636D-A11A-0CFD-6978BC61945E}"/>
                  </a:ext>
                </a:extLst>
              </p:cNvPr>
              <p:cNvSpPr/>
              <p:nvPr/>
            </p:nvSpPr>
            <p:spPr>
              <a:xfrm>
                <a:off x="7245251" y="3658036"/>
                <a:ext cx="2450851" cy="874707"/>
              </a:xfrm>
              <a:custGeom>
                <a:avLst/>
                <a:gdLst>
                  <a:gd name="connsiteX0" fmla="*/ 558968 w 1566883"/>
                  <a:gd name="connsiteY0" fmla="*/ 0 h 559219"/>
                  <a:gd name="connsiteX1" fmla="*/ 0 w 1566883"/>
                  <a:gd name="connsiteY1" fmla="*/ 559219 h 559219"/>
                  <a:gd name="connsiteX2" fmla="*/ 1566884 w 1566883"/>
                  <a:gd name="connsiteY2" fmla="*/ 559219 h 559219"/>
                  <a:gd name="connsiteX3" fmla="*/ 1007915 w 1566883"/>
                  <a:gd name="connsiteY3" fmla="*/ 0 h 559219"/>
                  <a:gd name="connsiteX4" fmla="*/ 558968 w 1566883"/>
                  <a:gd name="connsiteY4" fmla="*/ 0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558968" y="0"/>
                    </a:moveTo>
                    <a:lnTo>
                      <a:pt x="0" y="559219"/>
                    </a:lnTo>
                    <a:lnTo>
                      <a:pt x="1566884" y="559219"/>
                    </a:lnTo>
                    <a:lnTo>
                      <a:pt x="1007915" y="0"/>
                    </a:lnTo>
                    <a:lnTo>
                      <a:pt x="558968"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9" name="Freeform 28">
                <a:extLst>
                  <a:ext uri="{FF2B5EF4-FFF2-40B4-BE49-F238E27FC236}">
                    <a16:creationId xmlns:a16="http://schemas.microsoft.com/office/drawing/2014/main" id="{8CB1C88E-7F79-91C0-9147-6115692495B9}"/>
                  </a:ext>
                </a:extLst>
              </p:cNvPr>
              <p:cNvSpPr/>
              <p:nvPr/>
            </p:nvSpPr>
            <p:spPr>
              <a:xfrm>
                <a:off x="7186795" y="2022182"/>
                <a:ext cx="874314" cy="2451952"/>
              </a:xfrm>
              <a:custGeom>
                <a:avLst/>
                <a:gdLst>
                  <a:gd name="connsiteX0" fmla="*/ 558968 w 558968"/>
                  <a:gd name="connsiteY0" fmla="*/ 1008368 h 1567586"/>
                  <a:gd name="connsiteX1" fmla="*/ 558968 w 558968"/>
                  <a:gd name="connsiteY1" fmla="*/ 559219 h 1567586"/>
                  <a:gd name="connsiteX2" fmla="*/ 0 w 558968"/>
                  <a:gd name="connsiteY2" fmla="*/ 0 h 1567586"/>
                  <a:gd name="connsiteX3" fmla="*/ 0 w 558968"/>
                  <a:gd name="connsiteY3" fmla="*/ 1567587 h 1567586"/>
                  <a:gd name="connsiteX4" fmla="*/ 558968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558968" y="1008368"/>
                    </a:moveTo>
                    <a:lnTo>
                      <a:pt x="558968" y="559219"/>
                    </a:lnTo>
                    <a:lnTo>
                      <a:pt x="0" y="0"/>
                    </a:lnTo>
                    <a:lnTo>
                      <a:pt x="0" y="1567587"/>
                    </a:lnTo>
                    <a:lnTo>
                      <a:pt x="558968" y="1008368"/>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0" name="Freeform 29">
                <a:extLst>
                  <a:ext uri="{FF2B5EF4-FFF2-40B4-BE49-F238E27FC236}">
                    <a16:creationId xmlns:a16="http://schemas.microsoft.com/office/drawing/2014/main" id="{34030CDF-7DE0-DCEB-41F3-41FCD1AC95FC}"/>
                  </a:ext>
                </a:extLst>
              </p:cNvPr>
              <p:cNvSpPr/>
              <p:nvPr/>
            </p:nvSpPr>
            <p:spPr>
              <a:xfrm>
                <a:off x="7245251" y="1963701"/>
                <a:ext cx="2450851" cy="874707"/>
              </a:xfrm>
              <a:custGeom>
                <a:avLst/>
                <a:gdLst>
                  <a:gd name="connsiteX0" fmla="*/ 1007915 w 1566883"/>
                  <a:gd name="connsiteY0" fmla="*/ 559219 h 559219"/>
                  <a:gd name="connsiteX1" fmla="*/ 1566884 w 1566883"/>
                  <a:gd name="connsiteY1" fmla="*/ 0 h 559219"/>
                  <a:gd name="connsiteX2" fmla="*/ 0 w 1566883"/>
                  <a:gd name="connsiteY2" fmla="*/ 0 h 559219"/>
                  <a:gd name="connsiteX3" fmla="*/ 558968 w 1566883"/>
                  <a:gd name="connsiteY3" fmla="*/ 559219 h 559219"/>
                  <a:gd name="connsiteX4" fmla="*/ 1007915 w 1566883"/>
                  <a:gd name="connsiteY4" fmla="*/ 559219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1007915" y="559219"/>
                    </a:moveTo>
                    <a:lnTo>
                      <a:pt x="1566884" y="0"/>
                    </a:lnTo>
                    <a:lnTo>
                      <a:pt x="0" y="0"/>
                    </a:lnTo>
                    <a:lnTo>
                      <a:pt x="558968" y="559219"/>
                    </a:lnTo>
                    <a:lnTo>
                      <a:pt x="1007915" y="559219"/>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1" name="Freeform 30">
                <a:extLst>
                  <a:ext uri="{FF2B5EF4-FFF2-40B4-BE49-F238E27FC236}">
                    <a16:creationId xmlns:a16="http://schemas.microsoft.com/office/drawing/2014/main" id="{FE216904-5909-65B5-5D6B-E957BE0D5D2A}"/>
                  </a:ext>
                </a:extLst>
              </p:cNvPr>
              <p:cNvSpPr/>
              <p:nvPr/>
            </p:nvSpPr>
            <p:spPr>
              <a:xfrm>
                <a:off x="8880369" y="2022182"/>
                <a:ext cx="874314" cy="2451952"/>
              </a:xfrm>
              <a:custGeom>
                <a:avLst/>
                <a:gdLst>
                  <a:gd name="connsiteX0" fmla="*/ 0 w 558968"/>
                  <a:gd name="connsiteY0" fmla="*/ 1008368 h 1567586"/>
                  <a:gd name="connsiteX1" fmla="*/ 558969 w 558968"/>
                  <a:gd name="connsiteY1" fmla="*/ 1567587 h 1567586"/>
                  <a:gd name="connsiteX2" fmla="*/ 558969 w 558968"/>
                  <a:gd name="connsiteY2" fmla="*/ 0 h 1567586"/>
                  <a:gd name="connsiteX3" fmla="*/ 0 w 558968"/>
                  <a:gd name="connsiteY3" fmla="*/ 559219 h 1567586"/>
                  <a:gd name="connsiteX4" fmla="*/ 0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0" y="1008368"/>
                    </a:moveTo>
                    <a:lnTo>
                      <a:pt x="558969" y="1567587"/>
                    </a:lnTo>
                    <a:lnTo>
                      <a:pt x="558969" y="0"/>
                    </a:lnTo>
                    <a:lnTo>
                      <a:pt x="0" y="559219"/>
                    </a:lnTo>
                    <a:lnTo>
                      <a:pt x="0" y="1008368"/>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33" name="Text Placeholder 49">
            <a:extLst>
              <a:ext uri="{FF2B5EF4-FFF2-40B4-BE49-F238E27FC236}">
                <a16:creationId xmlns:a16="http://schemas.microsoft.com/office/drawing/2014/main" id="{E9AA7340-326B-6B94-E564-05A964387A56}"/>
              </a:ext>
            </a:extLst>
          </p:cNvPr>
          <p:cNvSpPr>
            <a:spLocks noGrp="1"/>
          </p:cNvSpPr>
          <p:nvPr>
            <p:ph type="body" sz="quarter" idx="17" hasCustomPrompt="1"/>
          </p:nvPr>
        </p:nvSpPr>
        <p:spPr>
          <a:xfrm>
            <a:off x="990600" y="3783111"/>
            <a:ext cx="3644073" cy="324044"/>
          </a:xfrm>
        </p:spPr>
        <p:txBody>
          <a:bodyPr>
            <a:normAutofit/>
          </a:bodyPr>
          <a:lstStyle>
            <a:lvl1pPr marL="0" indent="0">
              <a:buNone/>
              <a:defRPr sz="1600" b="1">
                <a:solidFill>
                  <a:schemeClr val="tx1"/>
                </a:solidFill>
              </a:defRPr>
            </a:lvl1pPr>
          </a:lstStyle>
          <a:p>
            <a:pPr lvl="0"/>
            <a:r>
              <a:rPr lang="en-US"/>
              <a:t>Lorem ipsum dolor</a:t>
            </a:r>
          </a:p>
        </p:txBody>
      </p:sp>
      <p:sp>
        <p:nvSpPr>
          <p:cNvPr id="35" name="Text Placeholder 49">
            <a:extLst>
              <a:ext uri="{FF2B5EF4-FFF2-40B4-BE49-F238E27FC236}">
                <a16:creationId xmlns:a16="http://schemas.microsoft.com/office/drawing/2014/main" id="{D2D16238-D684-8118-8DE7-9487FF7DF51E}"/>
              </a:ext>
            </a:extLst>
          </p:cNvPr>
          <p:cNvSpPr>
            <a:spLocks noGrp="1"/>
          </p:cNvSpPr>
          <p:nvPr>
            <p:ph type="body" sz="quarter" idx="19" hasCustomPrompt="1"/>
          </p:nvPr>
        </p:nvSpPr>
        <p:spPr>
          <a:xfrm>
            <a:off x="7467600" y="3794575"/>
            <a:ext cx="3657600"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9" name="Text Placeholder 49">
            <a:extLst>
              <a:ext uri="{FF2B5EF4-FFF2-40B4-BE49-F238E27FC236}">
                <a16:creationId xmlns:a16="http://schemas.microsoft.com/office/drawing/2014/main" id="{BF2493E3-929C-6D12-3DF5-7682E1F6E8B3}"/>
              </a:ext>
            </a:extLst>
          </p:cNvPr>
          <p:cNvSpPr>
            <a:spLocks noGrp="1"/>
          </p:cNvSpPr>
          <p:nvPr>
            <p:ph type="body" sz="quarter" idx="23" hasCustomPrompt="1"/>
          </p:nvPr>
        </p:nvSpPr>
        <p:spPr>
          <a:xfrm>
            <a:off x="4191000" y="5865556"/>
            <a:ext cx="3657600"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41" name="Text Placeholder 49">
            <a:extLst>
              <a:ext uri="{FF2B5EF4-FFF2-40B4-BE49-F238E27FC236}">
                <a16:creationId xmlns:a16="http://schemas.microsoft.com/office/drawing/2014/main" id="{37C6D4AD-FD10-95BE-45B3-6599962FE91C}"/>
              </a:ext>
            </a:extLst>
          </p:cNvPr>
          <p:cNvSpPr>
            <a:spLocks noGrp="1"/>
          </p:cNvSpPr>
          <p:nvPr>
            <p:ph type="body" sz="quarter" idx="25" hasCustomPrompt="1"/>
          </p:nvPr>
        </p:nvSpPr>
        <p:spPr>
          <a:xfrm>
            <a:off x="4191000" y="1676400"/>
            <a:ext cx="3657600" cy="324044"/>
          </a:xfrm>
        </p:spPr>
        <p:txBody>
          <a:bodyPr>
            <a:normAutofit/>
          </a:bodyPr>
          <a:lstStyle>
            <a:lvl1pPr marL="0" indent="0" algn="ctr">
              <a:buNone/>
              <a:defRPr sz="1600" b="1">
                <a:solidFill>
                  <a:schemeClr val="accent4"/>
                </a:solidFill>
              </a:defRPr>
            </a:lvl1pPr>
          </a:lstStyle>
          <a:p>
            <a:pPr lvl="0"/>
            <a:r>
              <a:rPr lang="en-US"/>
              <a:t>Lorem ipsum dolor</a:t>
            </a:r>
          </a:p>
        </p:txBody>
      </p:sp>
      <p:sp>
        <p:nvSpPr>
          <p:cNvPr id="19" name="Content Placeholder 17">
            <a:extLst>
              <a:ext uri="{FF2B5EF4-FFF2-40B4-BE49-F238E27FC236}">
                <a16:creationId xmlns:a16="http://schemas.microsoft.com/office/drawing/2014/main" id="{3030C0CE-889F-CC8A-4303-92370353D2E2}"/>
              </a:ext>
            </a:extLst>
          </p:cNvPr>
          <p:cNvSpPr>
            <a:spLocks noGrp="1"/>
          </p:cNvSpPr>
          <p:nvPr>
            <p:ph sz="quarter" idx="63"/>
          </p:nvPr>
        </p:nvSpPr>
        <p:spPr>
          <a:xfrm>
            <a:off x="990600" y="41910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44A0222-CD13-C8B4-DD0E-7E60F0116F06}"/>
              </a:ext>
            </a:extLst>
          </p:cNvPr>
          <p:cNvSpPr>
            <a:spLocks noGrp="1"/>
          </p:cNvSpPr>
          <p:nvPr>
            <p:ph sz="quarter" idx="64"/>
          </p:nvPr>
        </p:nvSpPr>
        <p:spPr>
          <a:xfrm>
            <a:off x="7467600" y="41910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79D3ED51-FC75-AC56-B538-71AE2ADC73ED}"/>
              </a:ext>
            </a:extLst>
          </p:cNvPr>
          <p:cNvSpPr>
            <a:spLocks noGrp="1"/>
          </p:cNvSpPr>
          <p:nvPr>
            <p:ph sz="quarter" idx="65"/>
          </p:nvPr>
        </p:nvSpPr>
        <p:spPr>
          <a:xfrm>
            <a:off x="4191000" y="2073089"/>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2" name="Content Placeholder 17">
            <a:extLst>
              <a:ext uri="{FF2B5EF4-FFF2-40B4-BE49-F238E27FC236}">
                <a16:creationId xmlns:a16="http://schemas.microsoft.com/office/drawing/2014/main" id="{0C8BEEDD-4B08-6A7C-D12B-67E9DC2DCBDC}"/>
              </a:ext>
            </a:extLst>
          </p:cNvPr>
          <p:cNvSpPr>
            <a:spLocks noGrp="1"/>
          </p:cNvSpPr>
          <p:nvPr>
            <p:ph sz="quarter" idx="66"/>
          </p:nvPr>
        </p:nvSpPr>
        <p:spPr>
          <a:xfrm>
            <a:off x="4191000" y="62484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9666781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Five point pent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ive points - pentagon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9982F7E7-70CA-4BF5-148B-AFC9AE54CA0D}"/>
              </a:ext>
            </a:extLst>
          </p:cNvPr>
          <p:cNvGrpSpPr/>
          <p:nvPr/>
        </p:nvGrpSpPr>
        <p:grpSpPr>
          <a:xfrm>
            <a:off x="785813" y="2306464"/>
            <a:ext cx="10620375" cy="3136912"/>
            <a:chOff x="815975" y="2306464"/>
            <a:chExt cx="10620375" cy="3136912"/>
          </a:xfrm>
        </p:grpSpPr>
        <p:cxnSp>
          <p:nvCxnSpPr>
            <p:cNvPr id="33" name="Straight Connector 32">
              <a:extLst>
                <a:ext uri="{FF2B5EF4-FFF2-40B4-BE49-F238E27FC236}">
                  <a16:creationId xmlns:a16="http://schemas.microsoft.com/office/drawing/2014/main" id="{CEC0FAF6-8996-AF17-DE35-194CE9BD3395}"/>
                </a:ext>
              </a:extLst>
            </p:cNvPr>
            <p:cNvCxnSpPr>
              <a:cxnSpLocks/>
            </p:cNvCxnSpPr>
            <p:nvPr/>
          </p:nvCxnSpPr>
          <p:spPr>
            <a:xfrm>
              <a:off x="6995461" y="289191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2578AF-22FA-35F4-DB50-C2C5088D773F}"/>
                </a:ext>
              </a:extLst>
            </p:cNvPr>
            <p:cNvCxnSpPr>
              <a:cxnSpLocks/>
            </p:cNvCxnSpPr>
            <p:nvPr/>
          </p:nvCxnSpPr>
          <p:spPr>
            <a:xfrm flipH="1">
              <a:off x="815975" y="287787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C762C67-68F4-BDBE-9041-B29FC4FE8F5B}"/>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7C7533-9416-681F-0A73-06EBD12DD423}"/>
                </a:ext>
              </a:extLst>
            </p:cNvPr>
            <p:cNvCxnSpPr>
              <a:cxnSpLocks/>
            </p:cNvCxnSpPr>
            <p:nvPr/>
          </p:nvCxnSpPr>
          <p:spPr>
            <a:xfrm>
              <a:off x="6995461" y="432400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E8AFED-0EB7-4B6B-2164-5EAFDA4DC125}"/>
                </a:ext>
              </a:extLst>
            </p:cNvPr>
            <p:cNvCxnSpPr>
              <a:cxnSpLocks/>
            </p:cNvCxnSpPr>
            <p:nvPr/>
          </p:nvCxnSpPr>
          <p:spPr>
            <a:xfrm flipH="1">
              <a:off x="815975" y="430997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C3D9470-B9CD-DD51-F5FC-41D3670B2F63}"/>
                </a:ext>
              </a:extLst>
            </p:cNvPr>
            <p:cNvGrpSpPr/>
            <p:nvPr/>
          </p:nvGrpSpPr>
          <p:grpSpPr>
            <a:xfrm>
              <a:off x="4764868" y="2306464"/>
              <a:ext cx="2761819" cy="2629523"/>
              <a:chOff x="5517924" y="749427"/>
              <a:chExt cx="1691564" cy="1610535"/>
            </a:xfrm>
          </p:grpSpPr>
          <p:sp>
            <p:nvSpPr>
              <p:cNvPr id="49" name="Freeform 48">
                <a:extLst>
                  <a:ext uri="{FF2B5EF4-FFF2-40B4-BE49-F238E27FC236}">
                    <a16:creationId xmlns:a16="http://schemas.microsoft.com/office/drawing/2014/main" id="{F7600F85-5768-EC3B-83A4-2273DAE3E1A2}"/>
                  </a:ext>
                </a:extLst>
              </p:cNvPr>
              <p:cNvSpPr/>
              <p:nvPr/>
            </p:nvSpPr>
            <p:spPr>
              <a:xfrm>
                <a:off x="5868045" y="1869155"/>
                <a:ext cx="991322" cy="490807"/>
              </a:xfrm>
              <a:custGeom>
                <a:avLst/>
                <a:gdLst>
                  <a:gd name="connsiteX0" fmla="*/ 356403 w 991322"/>
                  <a:gd name="connsiteY0" fmla="*/ 0 h 490807"/>
                  <a:gd name="connsiteX1" fmla="*/ 0 w 991322"/>
                  <a:gd name="connsiteY1" fmla="*/ 490808 h 490807"/>
                  <a:gd name="connsiteX2" fmla="*/ 991323 w 991322"/>
                  <a:gd name="connsiteY2" fmla="*/ 490808 h 490807"/>
                  <a:gd name="connsiteX3" fmla="*/ 634920 w 991322"/>
                  <a:gd name="connsiteY3" fmla="*/ 0 h 490807"/>
                  <a:gd name="connsiteX4" fmla="*/ 356403 w 991322"/>
                  <a:gd name="connsiteY4" fmla="*/ 0 h 49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22" h="490807">
                    <a:moveTo>
                      <a:pt x="356403" y="0"/>
                    </a:moveTo>
                    <a:lnTo>
                      <a:pt x="0" y="490808"/>
                    </a:lnTo>
                    <a:lnTo>
                      <a:pt x="991323" y="490808"/>
                    </a:lnTo>
                    <a:lnTo>
                      <a:pt x="634920" y="0"/>
                    </a:lnTo>
                    <a:lnTo>
                      <a:pt x="356403"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0" name="Freeform 49">
                <a:extLst>
                  <a:ext uri="{FF2B5EF4-FFF2-40B4-BE49-F238E27FC236}">
                    <a16:creationId xmlns:a16="http://schemas.microsoft.com/office/drawing/2014/main" id="{CB3B4565-756A-94F4-6C47-8BD1BB42EB11}"/>
                  </a:ext>
                </a:extLst>
              </p:cNvPr>
              <p:cNvSpPr/>
              <p:nvPr/>
            </p:nvSpPr>
            <p:spPr>
              <a:xfrm>
                <a:off x="6546378" y="1385358"/>
                <a:ext cx="663110" cy="944387"/>
              </a:xfrm>
              <a:custGeom>
                <a:avLst/>
                <a:gdLst>
                  <a:gd name="connsiteX0" fmla="*/ 0 w 663110"/>
                  <a:gd name="connsiteY0" fmla="*/ 453661 h 944387"/>
                  <a:gd name="connsiteX1" fmla="*/ 356403 w 663110"/>
                  <a:gd name="connsiteY1" fmla="*/ 944388 h 944387"/>
                  <a:gd name="connsiteX2" fmla="*/ 663111 w 663110"/>
                  <a:gd name="connsiteY2" fmla="*/ 0 h 944387"/>
                  <a:gd name="connsiteX3" fmla="*/ 86503 w 663110"/>
                  <a:gd name="connsiteY3" fmla="*/ 187427 h 944387"/>
                  <a:gd name="connsiteX4" fmla="*/ 0 w 663110"/>
                  <a:gd name="connsiteY4" fmla="*/ 453661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0" y="453661"/>
                    </a:moveTo>
                    <a:lnTo>
                      <a:pt x="356403" y="944388"/>
                    </a:lnTo>
                    <a:lnTo>
                      <a:pt x="663111" y="0"/>
                    </a:lnTo>
                    <a:lnTo>
                      <a:pt x="86503" y="187427"/>
                    </a:lnTo>
                    <a:lnTo>
                      <a:pt x="0" y="453661"/>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B3F177A6-0E01-9C20-FBFC-9378F8DAC283}"/>
                  </a:ext>
                </a:extLst>
              </p:cNvPr>
              <p:cNvSpPr/>
              <p:nvPr/>
            </p:nvSpPr>
            <p:spPr>
              <a:xfrm>
                <a:off x="6390125" y="749427"/>
                <a:ext cx="804785" cy="772431"/>
              </a:xfrm>
              <a:custGeom>
                <a:avLst/>
                <a:gdLst>
                  <a:gd name="connsiteX0" fmla="*/ 228178 w 804785"/>
                  <a:gd name="connsiteY0" fmla="*/ 772432 h 772431"/>
                  <a:gd name="connsiteX1" fmla="*/ 804786 w 804785"/>
                  <a:gd name="connsiteY1" fmla="*/ 585005 h 772431"/>
                  <a:gd name="connsiteX2" fmla="*/ 0 w 804785"/>
                  <a:gd name="connsiteY2" fmla="*/ 0 h 772431"/>
                  <a:gd name="connsiteX3" fmla="*/ 0 w 804785"/>
                  <a:gd name="connsiteY3" fmla="*/ 606600 h 772431"/>
                  <a:gd name="connsiteX4" fmla="*/ 228178 w 804785"/>
                  <a:gd name="connsiteY4" fmla="*/ 772432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228178" y="772432"/>
                    </a:moveTo>
                    <a:lnTo>
                      <a:pt x="804786" y="585005"/>
                    </a:lnTo>
                    <a:lnTo>
                      <a:pt x="0" y="0"/>
                    </a:lnTo>
                    <a:lnTo>
                      <a:pt x="0" y="606600"/>
                    </a:lnTo>
                    <a:lnTo>
                      <a:pt x="228178" y="772432"/>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3063D270-6D87-F088-7B87-6968CCCB83D6}"/>
                  </a:ext>
                </a:extLst>
              </p:cNvPr>
              <p:cNvSpPr/>
              <p:nvPr/>
            </p:nvSpPr>
            <p:spPr>
              <a:xfrm>
                <a:off x="5517924" y="1385358"/>
                <a:ext cx="663110" cy="944387"/>
              </a:xfrm>
              <a:custGeom>
                <a:avLst/>
                <a:gdLst>
                  <a:gd name="connsiteX0" fmla="*/ 576608 w 663110"/>
                  <a:gd name="connsiteY0" fmla="*/ 187427 h 944387"/>
                  <a:gd name="connsiteX1" fmla="*/ 0 w 663110"/>
                  <a:gd name="connsiteY1" fmla="*/ 0 h 944387"/>
                  <a:gd name="connsiteX2" fmla="*/ 306708 w 663110"/>
                  <a:gd name="connsiteY2" fmla="*/ 944388 h 944387"/>
                  <a:gd name="connsiteX3" fmla="*/ 663111 w 663110"/>
                  <a:gd name="connsiteY3" fmla="*/ 453661 h 944387"/>
                  <a:gd name="connsiteX4" fmla="*/ 576608 w 663110"/>
                  <a:gd name="connsiteY4" fmla="*/ 187427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576608" y="187427"/>
                    </a:moveTo>
                    <a:lnTo>
                      <a:pt x="0" y="0"/>
                    </a:lnTo>
                    <a:lnTo>
                      <a:pt x="306708" y="944388"/>
                    </a:lnTo>
                    <a:lnTo>
                      <a:pt x="663111" y="453661"/>
                    </a:lnTo>
                    <a:lnTo>
                      <a:pt x="576608" y="18742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90D87BBE-299A-DB19-240B-B8DE5E20D388}"/>
                  </a:ext>
                </a:extLst>
              </p:cNvPr>
              <p:cNvSpPr/>
              <p:nvPr/>
            </p:nvSpPr>
            <p:spPr>
              <a:xfrm>
                <a:off x="5532502" y="749427"/>
                <a:ext cx="804785" cy="772431"/>
              </a:xfrm>
              <a:custGeom>
                <a:avLst/>
                <a:gdLst>
                  <a:gd name="connsiteX0" fmla="*/ 804786 w 804785"/>
                  <a:gd name="connsiteY0" fmla="*/ 606600 h 772431"/>
                  <a:gd name="connsiteX1" fmla="*/ 804786 w 804785"/>
                  <a:gd name="connsiteY1" fmla="*/ 0 h 772431"/>
                  <a:gd name="connsiteX2" fmla="*/ 0 w 804785"/>
                  <a:gd name="connsiteY2" fmla="*/ 585005 h 772431"/>
                  <a:gd name="connsiteX3" fmla="*/ 576608 w 804785"/>
                  <a:gd name="connsiteY3" fmla="*/ 772432 h 772431"/>
                  <a:gd name="connsiteX4" fmla="*/ 804786 w 804785"/>
                  <a:gd name="connsiteY4" fmla="*/ 606600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804786" y="606600"/>
                    </a:moveTo>
                    <a:lnTo>
                      <a:pt x="804786" y="0"/>
                    </a:lnTo>
                    <a:lnTo>
                      <a:pt x="0" y="585005"/>
                    </a:lnTo>
                    <a:lnTo>
                      <a:pt x="576608" y="772432"/>
                    </a:lnTo>
                    <a:lnTo>
                      <a:pt x="804786" y="60660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55" name="Text Placeholder 49">
            <a:extLst>
              <a:ext uri="{FF2B5EF4-FFF2-40B4-BE49-F238E27FC236}">
                <a16:creationId xmlns:a16="http://schemas.microsoft.com/office/drawing/2014/main" id="{065EAEF4-DD08-DC06-4CC6-70E3A855AF9E}"/>
              </a:ext>
            </a:extLst>
          </p:cNvPr>
          <p:cNvSpPr>
            <a:spLocks noGrp="1"/>
          </p:cNvSpPr>
          <p:nvPr>
            <p:ph type="body" sz="quarter" idx="23" hasCustomPrompt="1"/>
          </p:nvPr>
        </p:nvSpPr>
        <p:spPr>
          <a:xfrm>
            <a:off x="4267200" y="5524543"/>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57" name="Text Placeholder 49">
            <a:extLst>
              <a:ext uri="{FF2B5EF4-FFF2-40B4-BE49-F238E27FC236}">
                <a16:creationId xmlns:a16="http://schemas.microsoft.com/office/drawing/2014/main" id="{D7B2150D-3C24-DF90-F494-72C8594F2027}"/>
              </a:ext>
            </a:extLst>
          </p:cNvPr>
          <p:cNvSpPr>
            <a:spLocks noGrp="1"/>
          </p:cNvSpPr>
          <p:nvPr>
            <p:ph type="body" sz="quarter" idx="25" hasCustomPrompt="1"/>
          </p:nvPr>
        </p:nvSpPr>
        <p:spPr>
          <a:xfrm>
            <a:off x="914400" y="2595382"/>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59" name="Text Placeholder 49">
            <a:extLst>
              <a:ext uri="{FF2B5EF4-FFF2-40B4-BE49-F238E27FC236}">
                <a16:creationId xmlns:a16="http://schemas.microsoft.com/office/drawing/2014/main" id="{E0192D6A-04A8-297B-1B08-F66247B573CD}"/>
              </a:ext>
            </a:extLst>
          </p:cNvPr>
          <p:cNvSpPr>
            <a:spLocks noGrp="1"/>
          </p:cNvSpPr>
          <p:nvPr>
            <p:ph type="body" sz="quarter" idx="27" hasCustomPrompt="1"/>
          </p:nvPr>
        </p:nvSpPr>
        <p:spPr>
          <a:xfrm>
            <a:off x="914400" y="4051738"/>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1" name="Text Placeholder 49">
            <a:extLst>
              <a:ext uri="{FF2B5EF4-FFF2-40B4-BE49-F238E27FC236}">
                <a16:creationId xmlns:a16="http://schemas.microsoft.com/office/drawing/2014/main" id="{4EC3D775-4734-E994-CAEC-41BE91C51517}"/>
              </a:ext>
            </a:extLst>
          </p:cNvPr>
          <p:cNvSpPr>
            <a:spLocks noGrp="1"/>
          </p:cNvSpPr>
          <p:nvPr>
            <p:ph type="body" sz="quarter" idx="29" hasCustomPrompt="1"/>
          </p:nvPr>
        </p:nvSpPr>
        <p:spPr>
          <a:xfrm>
            <a:off x="7696200" y="2595382"/>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3" name="Text Placeholder 49">
            <a:extLst>
              <a:ext uri="{FF2B5EF4-FFF2-40B4-BE49-F238E27FC236}">
                <a16:creationId xmlns:a16="http://schemas.microsoft.com/office/drawing/2014/main" id="{D2168063-C5AE-D59C-DE7C-17B224056CDD}"/>
              </a:ext>
            </a:extLst>
          </p:cNvPr>
          <p:cNvSpPr>
            <a:spLocks noGrp="1"/>
          </p:cNvSpPr>
          <p:nvPr>
            <p:ph type="body" sz="quarter" idx="31" hasCustomPrompt="1"/>
          </p:nvPr>
        </p:nvSpPr>
        <p:spPr>
          <a:xfrm>
            <a:off x="7696200" y="4051738"/>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3" name="Content Placeholder 17">
            <a:extLst>
              <a:ext uri="{FF2B5EF4-FFF2-40B4-BE49-F238E27FC236}">
                <a16:creationId xmlns:a16="http://schemas.microsoft.com/office/drawing/2014/main" id="{0F3C5750-999E-8492-E767-548AC74AC1C4}"/>
              </a:ext>
            </a:extLst>
          </p:cNvPr>
          <p:cNvSpPr>
            <a:spLocks noGrp="1"/>
          </p:cNvSpPr>
          <p:nvPr>
            <p:ph sz="quarter" idx="63"/>
          </p:nvPr>
        </p:nvSpPr>
        <p:spPr>
          <a:xfrm>
            <a:off x="9144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075E05A-D203-024D-A2A2-A35D946715BA}"/>
              </a:ext>
            </a:extLst>
          </p:cNvPr>
          <p:cNvSpPr>
            <a:spLocks noGrp="1"/>
          </p:cNvSpPr>
          <p:nvPr>
            <p:ph sz="quarter" idx="65"/>
          </p:nvPr>
        </p:nvSpPr>
        <p:spPr>
          <a:xfrm>
            <a:off x="76962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0AAA2600-1C1B-C69E-B3BA-B89A0ADAEBE4}"/>
              </a:ext>
            </a:extLst>
          </p:cNvPr>
          <p:cNvSpPr>
            <a:spLocks noGrp="1"/>
          </p:cNvSpPr>
          <p:nvPr>
            <p:ph sz="quarter" idx="66"/>
          </p:nvPr>
        </p:nvSpPr>
        <p:spPr>
          <a:xfrm>
            <a:off x="9144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F00730-FCDD-B79A-94E7-BD4AFBDB145F}"/>
              </a:ext>
            </a:extLst>
          </p:cNvPr>
          <p:cNvSpPr>
            <a:spLocks noGrp="1"/>
          </p:cNvSpPr>
          <p:nvPr>
            <p:ph sz="quarter" idx="67"/>
          </p:nvPr>
        </p:nvSpPr>
        <p:spPr>
          <a:xfrm>
            <a:off x="76962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946AC224-FDB3-4048-3D0F-EB1A4A4DF9DC}"/>
              </a:ext>
            </a:extLst>
          </p:cNvPr>
          <p:cNvSpPr>
            <a:spLocks noGrp="1"/>
          </p:cNvSpPr>
          <p:nvPr>
            <p:ph sz="quarter" idx="68"/>
          </p:nvPr>
        </p:nvSpPr>
        <p:spPr>
          <a:xfrm>
            <a:off x="4267200" y="58674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75730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ix point hex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Six points - hex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529A6C24-BAAB-0684-EBE2-6759201829BB}"/>
              </a:ext>
            </a:extLst>
          </p:cNvPr>
          <p:cNvGrpSpPr/>
          <p:nvPr/>
        </p:nvGrpSpPr>
        <p:grpSpPr>
          <a:xfrm>
            <a:off x="815975" y="2337351"/>
            <a:ext cx="10620375" cy="3331825"/>
            <a:chOff x="815975" y="2032551"/>
            <a:chExt cx="10620375" cy="3331825"/>
          </a:xfrm>
        </p:grpSpPr>
        <p:cxnSp>
          <p:nvCxnSpPr>
            <p:cNvPr id="56" name="Straight Connector 55">
              <a:extLst>
                <a:ext uri="{FF2B5EF4-FFF2-40B4-BE49-F238E27FC236}">
                  <a16:creationId xmlns:a16="http://schemas.microsoft.com/office/drawing/2014/main" id="{84549077-8C63-7ADD-8836-74348AB7C9B1}"/>
                </a:ext>
              </a:extLst>
            </p:cNvPr>
            <p:cNvCxnSpPr>
              <a:cxnSpLocks/>
            </p:cNvCxnSpPr>
            <p:nvPr/>
          </p:nvCxnSpPr>
          <p:spPr>
            <a:xfrm flipV="1">
              <a:off x="6125454" y="2032551"/>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0B41AAA-CBBE-6DFA-984F-71E63893EFC9}"/>
                </a:ext>
              </a:extLst>
            </p:cNvPr>
            <p:cNvCxnSpPr>
              <a:cxnSpLocks/>
            </p:cNvCxnSpPr>
            <p:nvPr/>
          </p:nvCxnSpPr>
          <p:spPr>
            <a:xfrm>
              <a:off x="6995461" y="297749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A28389-8E31-2964-B966-7D40D456A575}"/>
                </a:ext>
              </a:extLst>
            </p:cNvPr>
            <p:cNvCxnSpPr>
              <a:cxnSpLocks/>
            </p:cNvCxnSpPr>
            <p:nvPr/>
          </p:nvCxnSpPr>
          <p:spPr>
            <a:xfrm flipH="1">
              <a:off x="815975" y="296346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CA30902-AB6E-3782-F9D4-4F41087E663B}"/>
                </a:ext>
              </a:extLst>
            </p:cNvPr>
            <p:cNvCxnSpPr>
              <a:cxnSpLocks/>
            </p:cNvCxnSpPr>
            <p:nvPr/>
          </p:nvCxnSpPr>
          <p:spPr>
            <a:xfrm>
              <a:off x="6145778" y="4268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6C31BE-013C-8689-C9DB-6BDA3EE6E339}"/>
                </a:ext>
              </a:extLst>
            </p:cNvPr>
            <p:cNvCxnSpPr>
              <a:cxnSpLocks/>
            </p:cNvCxnSpPr>
            <p:nvPr/>
          </p:nvCxnSpPr>
          <p:spPr>
            <a:xfrm>
              <a:off x="6995461" y="44095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BB17F0-0023-5B1E-E111-1BD43FF4F82A}"/>
                </a:ext>
              </a:extLst>
            </p:cNvPr>
            <p:cNvCxnSpPr>
              <a:cxnSpLocks/>
            </p:cNvCxnSpPr>
            <p:nvPr/>
          </p:nvCxnSpPr>
          <p:spPr>
            <a:xfrm flipH="1">
              <a:off x="815975" y="43955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5C5DA5BD-5C15-9FA7-6A21-DE4BCDEEBCC7}"/>
                </a:ext>
              </a:extLst>
            </p:cNvPr>
            <p:cNvGrpSpPr/>
            <p:nvPr/>
          </p:nvGrpSpPr>
          <p:grpSpPr>
            <a:xfrm>
              <a:off x="4561708" y="2277806"/>
              <a:ext cx="3168140" cy="2782036"/>
              <a:chOff x="7397879" y="730250"/>
              <a:chExt cx="1866261" cy="1638818"/>
            </a:xfrm>
          </p:grpSpPr>
          <p:sp>
            <p:nvSpPr>
              <p:cNvPr id="50" name="Freeform 49">
                <a:extLst>
                  <a:ext uri="{FF2B5EF4-FFF2-40B4-BE49-F238E27FC236}">
                    <a16:creationId xmlns:a16="http://schemas.microsoft.com/office/drawing/2014/main" id="{BF7E2AB7-E273-7D11-FF1E-686D88BB8DA2}"/>
                  </a:ext>
                </a:extLst>
              </p:cNvPr>
              <p:cNvSpPr/>
              <p:nvPr/>
            </p:nvSpPr>
            <p:spPr>
              <a:xfrm>
                <a:off x="8502365" y="752167"/>
                <a:ext cx="753882" cy="765743"/>
              </a:xfrm>
              <a:custGeom>
                <a:avLst/>
                <a:gdLst>
                  <a:gd name="connsiteX0" fmla="*/ 127258 w 753882"/>
                  <a:gd name="connsiteY0" fmla="*/ 765744 h 765743"/>
                  <a:gd name="connsiteX1" fmla="*/ 753882 w 753882"/>
                  <a:gd name="connsiteY1" fmla="*/ 764213 h 765743"/>
                  <a:gd name="connsiteX2" fmla="*/ 312909 w 753882"/>
                  <a:gd name="connsiteY2" fmla="*/ 0 h 765743"/>
                  <a:gd name="connsiteX3" fmla="*/ 0 w 753882"/>
                  <a:gd name="connsiteY3" fmla="*/ 545199 h 765743"/>
                  <a:gd name="connsiteX4" fmla="*/ 127258 w 753882"/>
                  <a:gd name="connsiteY4" fmla="*/ 765744 h 76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882" h="765743">
                    <a:moveTo>
                      <a:pt x="127258" y="765744"/>
                    </a:moveTo>
                    <a:lnTo>
                      <a:pt x="753882" y="764213"/>
                    </a:lnTo>
                    <a:lnTo>
                      <a:pt x="312909" y="0"/>
                    </a:lnTo>
                    <a:lnTo>
                      <a:pt x="0" y="545199"/>
                    </a:lnTo>
                    <a:lnTo>
                      <a:pt x="127258" y="765744"/>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DB611C49-D140-F25F-F43F-56E0012052A1}"/>
                  </a:ext>
                </a:extLst>
              </p:cNvPr>
              <p:cNvSpPr/>
              <p:nvPr/>
            </p:nvSpPr>
            <p:spPr>
              <a:xfrm>
                <a:off x="7400617" y="756679"/>
                <a:ext cx="755573" cy="764212"/>
              </a:xfrm>
              <a:custGeom>
                <a:avLst/>
                <a:gdLst>
                  <a:gd name="connsiteX0" fmla="*/ 755574 w 755573"/>
                  <a:gd name="connsiteY0" fmla="*/ 542137 h 764212"/>
                  <a:gd name="connsiteX1" fmla="*/ 440973 w 755573"/>
                  <a:gd name="connsiteY1" fmla="*/ 0 h 764212"/>
                  <a:gd name="connsiteX2" fmla="*/ 0 w 755573"/>
                  <a:gd name="connsiteY2" fmla="*/ 764213 h 764212"/>
                  <a:gd name="connsiteX3" fmla="*/ 628316 w 755573"/>
                  <a:gd name="connsiteY3" fmla="*/ 762682 h 764212"/>
                  <a:gd name="connsiteX4" fmla="*/ 755574 w 755573"/>
                  <a:gd name="connsiteY4" fmla="*/ 542137 h 764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573" h="764212">
                    <a:moveTo>
                      <a:pt x="755574" y="542137"/>
                    </a:moveTo>
                    <a:lnTo>
                      <a:pt x="440973" y="0"/>
                    </a:lnTo>
                    <a:lnTo>
                      <a:pt x="0" y="764213"/>
                    </a:lnTo>
                    <a:lnTo>
                      <a:pt x="628316" y="762682"/>
                    </a:lnTo>
                    <a:lnTo>
                      <a:pt x="755574" y="54213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9A3FD2F2-AC0C-F3EA-5956-6E969BC4963B}"/>
                  </a:ext>
                </a:extLst>
              </p:cNvPr>
              <p:cNvSpPr/>
              <p:nvPr/>
            </p:nvSpPr>
            <p:spPr>
              <a:xfrm>
                <a:off x="7887338" y="1825401"/>
                <a:ext cx="890000" cy="543667"/>
              </a:xfrm>
              <a:custGeom>
                <a:avLst/>
                <a:gdLst>
                  <a:gd name="connsiteX0" fmla="*/ 312024 w 890000"/>
                  <a:gd name="connsiteY0" fmla="*/ 0 h 543667"/>
                  <a:gd name="connsiteX1" fmla="*/ 0 w 890000"/>
                  <a:gd name="connsiteY1" fmla="*/ 543668 h 543667"/>
                  <a:gd name="connsiteX2" fmla="*/ 890000 w 890000"/>
                  <a:gd name="connsiteY2" fmla="*/ 543668 h 543667"/>
                  <a:gd name="connsiteX3" fmla="*/ 574513 w 890000"/>
                  <a:gd name="connsiteY3" fmla="*/ 0 h 543667"/>
                  <a:gd name="connsiteX4" fmla="*/ 312024 w 890000"/>
                  <a:gd name="connsiteY4" fmla="*/ 0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00" h="543667">
                    <a:moveTo>
                      <a:pt x="312024" y="0"/>
                    </a:moveTo>
                    <a:lnTo>
                      <a:pt x="0" y="543668"/>
                    </a:lnTo>
                    <a:lnTo>
                      <a:pt x="890000" y="543668"/>
                    </a:lnTo>
                    <a:lnTo>
                      <a:pt x="574513" y="0"/>
                    </a:lnTo>
                    <a:lnTo>
                      <a:pt x="312024" y="0"/>
                    </a:lnTo>
                    <a:close/>
                  </a:path>
                </a:pathLst>
              </a:custGeom>
              <a:solidFill>
                <a:schemeClr val="accent5"/>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71D90DE7-F2BF-D3B6-8ABA-753BB64C7217}"/>
                  </a:ext>
                </a:extLst>
              </p:cNvPr>
              <p:cNvSpPr/>
              <p:nvPr/>
            </p:nvSpPr>
            <p:spPr>
              <a:xfrm>
                <a:off x="7887419" y="730250"/>
                <a:ext cx="879449" cy="543667"/>
              </a:xfrm>
              <a:custGeom>
                <a:avLst/>
                <a:gdLst>
                  <a:gd name="connsiteX0" fmla="*/ 567426 w 879449"/>
                  <a:gd name="connsiteY0" fmla="*/ 543668 h 543667"/>
                  <a:gd name="connsiteX1" fmla="*/ 879449 w 879449"/>
                  <a:gd name="connsiteY1" fmla="*/ 0 h 543667"/>
                  <a:gd name="connsiteX2" fmla="*/ 0 w 879449"/>
                  <a:gd name="connsiteY2" fmla="*/ 0 h 543667"/>
                  <a:gd name="connsiteX3" fmla="*/ 315487 w 879449"/>
                  <a:gd name="connsiteY3" fmla="*/ 543668 h 543667"/>
                  <a:gd name="connsiteX4" fmla="*/ 567426 w 879449"/>
                  <a:gd name="connsiteY4" fmla="*/ 543668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449" h="543667">
                    <a:moveTo>
                      <a:pt x="567426" y="543668"/>
                    </a:moveTo>
                    <a:lnTo>
                      <a:pt x="879449" y="0"/>
                    </a:lnTo>
                    <a:lnTo>
                      <a:pt x="0" y="0"/>
                    </a:lnTo>
                    <a:lnTo>
                      <a:pt x="315487" y="543668"/>
                    </a:lnTo>
                    <a:lnTo>
                      <a:pt x="567426" y="543668"/>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4" name="Freeform 53">
                <a:extLst>
                  <a:ext uri="{FF2B5EF4-FFF2-40B4-BE49-F238E27FC236}">
                    <a16:creationId xmlns:a16="http://schemas.microsoft.com/office/drawing/2014/main" id="{5416BCBB-81E0-E746-F180-1105A68A77D8}"/>
                  </a:ext>
                </a:extLst>
              </p:cNvPr>
              <p:cNvSpPr/>
              <p:nvPr/>
            </p:nvSpPr>
            <p:spPr>
              <a:xfrm>
                <a:off x="7397879" y="1572302"/>
                <a:ext cx="756540" cy="770256"/>
              </a:xfrm>
              <a:custGeom>
                <a:avLst/>
                <a:gdLst>
                  <a:gd name="connsiteX0" fmla="*/ 626625 w 756540"/>
                  <a:gd name="connsiteY0" fmla="*/ 0 h 770256"/>
                  <a:gd name="connsiteX1" fmla="*/ 0 w 756540"/>
                  <a:gd name="connsiteY1" fmla="*/ 1531 h 770256"/>
                  <a:gd name="connsiteX2" fmla="*/ 443711 w 756540"/>
                  <a:gd name="connsiteY2" fmla="*/ 770256 h 770256"/>
                  <a:gd name="connsiteX3" fmla="*/ 756540 w 756540"/>
                  <a:gd name="connsiteY3" fmla="*/ 225138 h 770256"/>
                  <a:gd name="connsiteX4" fmla="*/ 626625 w 756540"/>
                  <a:gd name="connsiteY4" fmla="*/ 0 h 77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540" h="770256">
                    <a:moveTo>
                      <a:pt x="626625" y="0"/>
                    </a:moveTo>
                    <a:lnTo>
                      <a:pt x="0" y="1531"/>
                    </a:lnTo>
                    <a:lnTo>
                      <a:pt x="443711" y="770256"/>
                    </a:lnTo>
                    <a:lnTo>
                      <a:pt x="756540" y="225138"/>
                    </a:lnTo>
                    <a:lnTo>
                      <a:pt x="626625" y="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5" name="Freeform 54">
                <a:extLst>
                  <a:ext uri="{FF2B5EF4-FFF2-40B4-BE49-F238E27FC236}">
                    <a16:creationId xmlns:a16="http://schemas.microsoft.com/office/drawing/2014/main" id="{EF22FEBA-171F-5F35-FF8B-AEA93595A3A0}"/>
                  </a:ext>
                </a:extLst>
              </p:cNvPr>
              <p:cNvSpPr/>
              <p:nvPr/>
            </p:nvSpPr>
            <p:spPr>
              <a:xfrm>
                <a:off x="8505828" y="1569240"/>
                <a:ext cx="758312" cy="768805"/>
              </a:xfrm>
              <a:custGeom>
                <a:avLst/>
                <a:gdLst>
                  <a:gd name="connsiteX0" fmla="*/ 0 w 758312"/>
                  <a:gd name="connsiteY0" fmla="*/ 226669 h 768805"/>
                  <a:gd name="connsiteX1" fmla="*/ 314682 w 758312"/>
                  <a:gd name="connsiteY1" fmla="*/ 768806 h 768805"/>
                  <a:gd name="connsiteX2" fmla="*/ 758312 w 758312"/>
                  <a:gd name="connsiteY2" fmla="*/ 0 h 768805"/>
                  <a:gd name="connsiteX3" fmla="*/ 129916 w 758312"/>
                  <a:gd name="connsiteY3" fmla="*/ 1531 h 768805"/>
                  <a:gd name="connsiteX4" fmla="*/ 0 w 758312"/>
                  <a:gd name="connsiteY4" fmla="*/ 226669 h 768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12" h="768805">
                    <a:moveTo>
                      <a:pt x="0" y="226669"/>
                    </a:moveTo>
                    <a:lnTo>
                      <a:pt x="314682" y="768806"/>
                    </a:lnTo>
                    <a:lnTo>
                      <a:pt x="758312" y="0"/>
                    </a:lnTo>
                    <a:lnTo>
                      <a:pt x="129916" y="1531"/>
                    </a:lnTo>
                    <a:lnTo>
                      <a:pt x="0" y="226669"/>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60" name="Text Placeholder 49">
            <a:extLst>
              <a:ext uri="{FF2B5EF4-FFF2-40B4-BE49-F238E27FC236}">
                <a16:creationId xmlns:a16="http://schemas.microsoft.com/office/drawing/2014/main" id="{1A3EB3BA-2E32-CE01-73B6-7B1747104B14}"/>
              </a:ext>
            </a:extLst>
          </p:cNvPr>
          <p:cNvSpPr>
            <a:spLocks noGrp="1"/>
          </p:cNvSpPr>
          <p:nvPr>
            <p:ph type="body" sz="quarter" idx="25" hasCustomPrompt="1"/>
          </p:nvPr>
        </p:nvSpPr>
        <p:spPr>
          <a:xfrm>
            <a:off x="914400" y="2992363"/>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2" name="Text Placeholder 49">
            <a:extLst>
              <a:ext uri="{FF2B5EF4-FFF2-40B4-BE49-F238E27FC236}">
                <a16:creationId xmlns:a16="http://schemas.microsoft.com/office/drawing/2014/main" id="{A67F4953-ED25-FC75-A20A-7F3BC4396EF0}"/>
              </a:ext>
            </a:extLst>
          </p:cNvPr>
          <p:cNvSpPr>
            <a:spLocks noGrp="1"/>
          </p:cNvSpPr>
          <p:nvPr>
            <p:ph type="body" sz="quarter" idx="27" hasCustomPrompt="1"/>
          </p:nvPr>
        </p:nvSpPr>
        <p:spPr>
          <a:xfrm>
            <a:off x="914400" y="4448719"/>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64" name="Text Placeholder 49">
            <a:extLst>
              <a:ext uri="{FF2B5EF4-FFF2-40B4-BE49-F238E27FC236}">
                <a16:creationId xmlns:a16="http://schemas.microsoft.com/office/drawing/2014/main" id="{00C17830-FBA9-2FD8-515E-EEAB08573018}"/>
              </a:ext>
            </a:extLst>
          </p:cNvPr>
          <p:cNvSpPr>
            <a:spLocks noGrp="1"/>
          </p:cNvSpPr>
          <p:nvPr>
            <p:ph type="body" sz="quarter" idx="29" hasCustomPrompt="1"/>
          </p:nvPr>
        </p:nvSpPr>
        <p:spPr>
          <a:xfrm>
            <a:off x="7696200" y="2992363"/>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6" name="Text Placeholder 49">
            <a:extLst>
              <a:ext uri="{FF2B5EF4-FFF2-40B4-BE49-F238E27FC236}">
                <a16:creationId xmlns:a16="http://schemas.microsoft.com/office/drawing/2014/main" id="{C224497E-4393-BB1D-F792-E204F622C57B}"/>
              </a:ext>
            </a:extLst>
          </p:cNvPr>
          <p:cNvSpPr>
            <a:spLocks noGrp="1"/>
          </p:cNvSpPr>
          <p:nvPr>
            <p:ph type="body" sz="quarter" idx="31" hasCustomPrompt="1"/>
          </p:nvPr>
        </p:nvSpPr>
        <p:spPr>
          <a:xfrm>
            <a:off x="7696200" y="4448719"/>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68" name="Text Placeholder 49">
            <a:extLst>
              <a:ext uri="{FF2B5EF4-FFF2-40B4-BE49-F238E27FC236}">
                <a16:creationId xmlns:a16="http://schemas.microsoft.com/office/drawing/2014/main" id="{53EE0B44-7239-F56A-C82D-9B26C7A3DD48}"/>
              </a:ext>
            </a:extLst>
          </p:cNvPr>
          <p:cNvSpPr>
            <a:spLocks noGrp="1"/>
          </p:cNvSpPr>
          <p:nvPr>
            <p:ph type="body" sz="quarter" idx="33" hasCustomPrompt="1"/>
          </p:nvPr>
        </p:nvSpPr>
        <p:spPr>
          <a:xfrm>
            <a:off x="4297362" y="5773793"/>
            <a:ext cx="3657600" cy="282497"/>
          </a:xfrm>
        </p:spPr>
        <p:txBody>
          <a:bodyPr>
            <a:normAutofit/>
          </a:bodyPr>
          <a:lstStyle>
            <a:lvl1pPr marL="0" indent="0" algn="ctr">
              <a:buNone/>
              <a:defRPr sz="1400" b="1">
                <a:solidFill>
                  <a:schemeClr val="accent4">
                    <a:lumMod val="40000"/>
                    <a:lumOff val="60000"/>
                  </a:schemeClr>
                </a:solidFill>
              </a:defRPr>
            </a:lvl1pPr>
          </a:lstStyle>
          <a:p>
            <a:pPr lvl="0"/>
            <a:r>
              <a:rPr lang="en-US"/>
              <a:t>Lorem ipsum dolor</a:t>
            </a:r>
          </a:p>
        </p:txBody>
      </p:sp>
      <p:sp>
        <p:nvSpPr>
          <p:cNvPr id="70" name="Text Placeholder 49">
            <a:extLst>
              <a:ext uri="{FF2B5EF4-FFF2-40B4-BE49-F238E27FC236}">
                <a16:creationId xmlns:a16="http://schemas.microsoft.com/office/drawing/2014/main" id="{65E30090-D797-F8A4-3DAA-BF62BEC39ECA}"/>
              </a:ext>
            </a:extLst>
          </p:cNvPr>
          <p:cNvSpPr>
            <a:spLocks noGrp="1"/>
          </p:cNvSpPr>
          <p:nvPr>
            <p:ph type="body" sz="quarter" idx="35" hasCustomPrompt="1"/>
          </p:nvPr>
        </p:nvSpPr>
        <p:spPr>
          <a:xfrm>
            <a:off x="4297362" y="1676400"/>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3" name="Content Placeholder 17">
            <a:extLst>
              <a:ext uri="{FF2B5EF4-FFF2-40B4-BE49-F238E27FC236}">
                <a16:creationId xmlns:a16="http://schemas.microsoft.com/office/drawing/2014/main" id="{8018D6FB-84B8-6656-1958-EC93B6BB6A81}"/>
              </a:ext>
            </a:extLst>
          </p:cNvPr>
          <p:cNvSpPr>
            <a:spLocks noGrp="1"/>
          </p:cNvSpPr>
          <p:nvPr>
            <p:ph sz="quarter" idx="63"/>
          </p:nvPr>
        </p:nvSpPr>
        <p:spPr>
          <a:xfrm>
            <a:off x="9144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39F294F-4697-EA60-326C-0313625DD9E4}"/>
              </a:ext>
            </a:extLst>
          </p:cNvPr>
          <p:cNvSpPr>
            <a:spLocks noGrp="1"/>
          </p:cNvSpPr>
          <p:nvPr>
            <p:ph sz="quarter" idx="65"/>
          </p:nvPr>
        </p:nvSpPr>
        <p:spPr>
          <a:xfrm>
            <a:off x="76962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E4EF4A07-04A9-4C41-85C0-9AAEA2AA9F79}"/>
              </a:ext>
            </a:extLst>
          </p:cNvPr>
          <p:cNvSpPr>
            <a:spLocks noGrp="1"/>
          </p:cNvSpPr>
          <p:nvPr>
            <p:ph sz="quarter" idx="66"/>
          </p:nvPr>
        </p:nvSpPr>
        <p:spPr>
          <a:xfrm>
            <a:off x="9144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8C45EF-EC43-18A8-EFCC-A3D16F4BD3BC}"/>
              </a:ext>
            </a:extLst>
          </p:cNvPr>
          <p:cNvSpPr>
            <a:spLocks noGrp="1"/>
          </p:cNvSpPr>
          <p:nvPr>
            <p:ph sz="quarter" idx="67"/>
          </p:nvPr>
        </p:nvSpPr>
        <p:spPr>
          <a:xfrm>
            <a:off x="76962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BE020CF3-9BAB-B221-CD07-5F51CBC44D0D}"/>
              </a:ext>
            </a:extLst>
          </p:cNvPr>
          <p:cNvSpPr>
            <a:spLocks noGrp="1"/>
          </p:cNvSpPr>
          <p:nvPr>
            <p:ph sz="quarter" idx="68"/>
          </p:nvPr>
        </p:nvSpPr>
        <p:spPr>
          <a:xfrm>
            <a:off x="4297362" y="19812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9" name="Content Placeholder 17">
            <a:extLst>
              <a:ext uri="{FF2B5EF4-FFF2-40B4-BE49-F238E27FC236}">
                <a16:creationId xmlns:a16="http://schemas.microsoft.com/office/drawing/2014/main" id="{65A92143-8E2C-FEB0-63C4-184A9BF6D99D}"/>
              </a:ext>
            </a:extLst>
          </p:cNvPr>
          <p:cNvSpPr>
            <a:spLocks noGrp="1"/>
          </p:cNvSpPr>
          <p:nvPr>
            <p:ph sz="quarter" idx="69"/>
          </p:nvPr>
        </p:nvSpPr>
        <p:spPr>
          <a:xfrm>
            <a:off x="4297362" y="60960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3336507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Thank you layout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839025" y="1391950"/>
            <a:ext cx="10393300" cy="1015663"/>
          </a:xfrm>
          <a:prstGeom prst="rect">
            <a:avLst/>
          </a:prstGeom>
        </p:spPr>
        <p:txBody>
          <a:bodyPr wrap="square" anchor="ctr">
            <a:spAutoFit/>
          </a:bodyPr>
          <a:lstStyle>
            <a:lvl1pPr marL="0" indent="0">
              <a:buNone/>
              <a:defRPr sz="6600" b="0" cap="none" baseline="0">
                <a:solidFill>
                  <a:schemeClr val="tx2"/>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68442" y="650876"/>
            <a:ext cx="1232678" cy="518322"/>
          </a:xfrm>
          <a:prstGeom prst="rect">
            <a:avLst/>
          </a:prstGeom>
        </p:spPr>
      </p:pic>
      <p:sp>
        <p:nvSpPr>
          <p:cNvPr id="5" name="Text Placeholder 4">
            <a:extLst>
              <a:ext uri="{FF2B5EF4-FFF2-40B4-BE49-F238E27FC236}">
                <a16:creationId xmlns:a16="http://schemas.microsoft.com/office/drawing/2014/main" id="{3EEB8C43-C848-DE90-1566-2D3E4C5123AB}"/>
              </a:ext>
            </a:extLst>
          </p:cNvPr>
          <p:cNvSpPr>
            <a:spLocks noGrp="1"/>
          </p:cNvSpPr>
          <p:nvPr>
            <p:ph type="body" sz="quarter" idx="11" hasCustomPrompt="1"/>
          </p:nvPr>
        </p:nvSpPr>
        <p:spPr>
          <a:xfrm>
            <a:off x="932797" y="2842932"/>
            <a:ext cx="8065706" cy="355854"/>
          </a:xfrm>
        </p:spPr>
        <p:txBody>
          <a:bodyPr anchor="ctr"/>
          <a:lstStyle>
            <a:lvl1pPr marL="0" indent="0">
              <a:buNone/>
              <a:defRPr b="1">
                <a:solidFill>
                  <a:schemeClr val="bg1"/>
                </a:solidFill>
              </a:defRPr>
            </a:lvl1pPr>
          </a:lstStyle>
          <a:p>
            <a:pPr lvl="0"/>
            <a:r>
              <a:rPr lang="en-US"/>
              <a:t>Name</a:t>
            </a:r>
          </a:p>
        </p:txBody>
      </p:sp>
      <p:sp>
        <p:nvSpPr>
          <p:cNvPr id="6" name="Text Placeholder 4">
            <a:extLst>
              <a:ext uri="{FF2B5EF4-FFF2-40B4-BE49-F238E27FC236}">
                <a16:creationId xmlns:a16="http://schemas.microsoft.com/office/drawing/2014/main" id="{8041476A-8FF9-4034-8FB0-F3D7A6A135EC}"/>
              </a:ext>
            </a:extLst>
          </p:cNvPr>
          <p:cNvSpPr>
            <a:spLocks noGrp="1"/>
          </p:cNvSpPr>
          <p:nvPr>
            <p:ph type="body" sz="quarter" idx="12" hasCustomPrompt="1"/>
          </p:nvPr>
        </p:nvSpPr>
        <p:spPr>
          <a:xfrm>
            <a:off x="920605" y="3315372"/>
            <a:ext cx="8065706" cy="355854"/>
          </a:xfrm>
        </p:spPr>
        <p:txBody>
          <a:bodyPr anchor="ctr"/>
          <a:lstStyle>
            <a:lvl1pPr marL="0" indent="0">
              <a:buNone/>
              <a:defRPr>
                <a:solidFill>
                  <a:schemeClr val="bg1"/>
                </a:solidFill>
              </a:defRPr>
            </a:lvl1pPr>
          </a:lstStyle>
          <a:p>
            <a:pPr lvl="0"/>
            <a:r>
              <a:rPr lang="en-US"/>
              <a:t>Title</a:t>
            </a:r>
          </a:p>
        </p:txBody>
      </p:sp>
      <p:sp>
        <p:nvSpPr>
          <p:cNvPr id="8" name="Text Placeholder 4">
            <a:extLst>
              <a:ext uri="{FF2B5EF4-FFF2-40B4-BE49-F238E27FC236}">
                <a16:creationId xmlns:a16="http://schemas.microsoft.com/office/drawing/2014/main" id="{C15B972D-114C-6199-6A8D-0BF0E48C2C11}"/>
              </a:ext>
            </a:extLst>
          </p:cNvPr>
          <p:cNvSpPr>
            <a:spLocks noGrp="1"/>
          </p:cNvSpPr>
          <p:nvPr>
            <p:ph type="body" sz="quarter" idx="13" hasCustomPrompt="1"/>
          </p:nvPr>
        </p:nvSpPr>
        <p:spPr>
          <a:xfrm>
            <a:off x="908413" y="3742092"/>
            <a:ext cx="8065706" cy="736854"/>
          </a:xfrm>
        </p:spPr>
        <p:txBody>
          <a:bodyPr anchor="ctr"/>
          <a:lstStyle>
            <a:lvl1pPr marL="0" indent="0">
              <a:buNone/>
              <a:defRPr>
                <a:solidFill>
                  <a:schemeClr val="bg1"/>
                </a:solidFill>
              </a:defRPr>
            </a:lvl1pPr>
          </a:lstStyle>
          <a:p>
            <a:pPr lvl="0"/>
            <a:r>
              <a:rPr lang="en-US"/>
              <a:t>Address Line 1</a:t>
            </a:r>
          </a:p>
          <a:p>
            <a:pPr lvl="0"/>
            <a:r>
              <a:rPr lang="en-US"/>
              <a:t>Address Line 2</a:t>
            </a:r>
          </a:p>
        </p:txBody>
      </p:sp>
      <p:sp>
        <p:nvSpPr>
          <p:cNvPr id="10" name="Text Placeholder 4">
            <a:extLst>
              <a:ext uri="{FF2B5EF4-FFF2-40B4-BE49-F238E27FC236}">
                <a16:creationId xmlns:a16="http://schemas.microsoft.com/office/drawing/2014/main" id="{4E3DDED4-B3C0-E201-4CAB-7178200F3015}"/>
              </a:ext>
            </a:extLst>
          </p:cNvPr>
          <p:cNvSpPr>
            <a:spLocks noGrp="1"/>
          </p:cNvSpPr>
          <p:nvPr>
            <p:ph type="body" sz="quarter" idx="14" hasCustomPrompt="1"/>
          </p:nvPr>
        </p:nvSpPr>
        <p:spPr>
          <a:xfrm>
            <a:off x="902317" y="4558956"/>
            <a:ext cx="8065706" cy="355854"/>
          </a:xfrm>
        </p:spPr>
        <p:txBody>
          <a:bodyPr anchor="ctr"/>
          <a:lstStyle>
            <a:lvl1pPr marL="0" indent="0">
              <a:buNone/>
              <a:defRPr>
                <a:solidFill>
                  <a:schemeClr val="bg1"/>
                </a:solidFill>
              </a:defRPr>
            </a:lvl1pPr>
          </a:lstStyle>
          <a:p>
            <a:pPr lvl="0"/>
            <a:r>
              <a:rPr lang="en-US"/>
              <a:t>Cell</a:t>
            </a:r>
          </a:p>
        </p:txBody>
      </p:sp>
      <p:sp>
        <p:nvSpPr>
          <p:cNvPr id="11" name="Text Placeholder 4">
            <a:extLst>
              <a:ext uri="{FF2B5EF4-FFF2-40B4-BE49-F238E27FC236}">
                <a16:creationId xmlns:a16="http://schemas.microsoft.com/office/drawing/2014/main" id="{A1A10785-2503-6F3A-998A-965A0E2EC2C4}"/>
              </a:ext>
            </a:extLst>
          </p:cNvPr>
          <p:cNvSpPr>
            <a:spLocks noGrp="1"/>
          </p:cNvSpPr>
          <p:nvPr>
            <p:ph type="body" sz="quarter" idx="15" hasCustomPrompt="1"/>
          </p:nvPr>
        </p:nvSpPr>
        <p:spPr>
          <a:xfrm>
            <a:off x="890125" y="5031396"/>
            <a:ext cx="8065706" cy="355854"/>
          </a:xfrm>
        </p:spPr>
        <p:txBody>
          <a:bodyPr anchor="ctr"/>
          <a:lstStyle>
            <a:lvl1pPr marL="0" indent="0">
              <a:buNone/>
              <a:defRPr>
                <a:solidFill>
                  <a:schemeClr val="bg1"/>
                </a:solidFill>
              </a:defRPr>
            </a:lvl1pPr>
          </a:lstStyle>
          <a:p>
            <a:pPr lvl="0"/>
            <a:r>
              <a:rPr lang="en-US"/>
              <a:t>Email</a:t>
            </a:r>
          </a:p>
        </p:txBody>
      </p:sp>
      <p:pic>
        <p:nvPicPr>
          <p:cNvPr id="9" name="Graphic 8">
            <a:extLst>
              <a:ext uri="{FF2B5EF4-FFF2-40B4-BE49-F238E27FC236}">
                <a16:creationId xmlns:a16="http://schemas.microsoft.com/office/drawing/2014/main" id="{4777379C-2BE8-9CB4-109E-C35E6670B9C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49" y="18981"/>
            <a:ext cx="12188351" cy="6839019"/>
          </a:xfrm>
          <a:prstGeom prst="rect">
            <a:avLst/>
          </a:prstGeom>
        </p:spPr>
      </p:pic>
    </p:spTree>
    <p:extLst>
      <p:ext uri="{BB962C8B-B14F-4D97-AF65-F5344CB8AC3E}">
        <p14:creationId xmlns:p14="http://schemas.microsoft.com/office/powerpoint/2010/main" val="944568329"/>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hank you layout 2">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1605069170"/>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1_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a:t>
            </a:r>
            <a:r>
              <a:rPr lang="en-US" sz="800" err="1">
                <a:solidFill>
                  <a:schemeClr val="bg1"/>
                </a:solidFill>
                <a:latin typeface="Arial" panose="020B0604020202020204" pitchFamily="34" charset="0"/>
                <a:cs typeface="Arial" panose="020B0604020202020204" pitchFamily="34" charset="0"/>
              </a:rPr>
              <a:t>rsmus.com</a:t>
            </a:r>
            <a:r>
              <a:rPr lang="en-US" sz="800">
                <a:solidFill>
                  <a:schemeClr val="bg1"/>
                </a:solidFill>
                <a:latin typeface="Arial" panose="020B0604020202020204" pitchFamily="34" charset="0"/>
                <a:cs typeface="Arial" panose="020B0604020202020204" pitchFamily="34" charset="0"/>
              </a:rPr>
              <a:t>/</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4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4" name="Graphic 3">
            <a:extLst>
              <a:ext uri="{FF2B5EF4-FFF2-40B4-BE49-F238E27FC236}">
                <a16:creationId xmlns:a16="http://schemas.microsoft.com/office/drawing/2014/main" id="{CBA31D15-6615-B25D-66EC-476A1ED3F4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960" y="4343400"/>
            <a:ext cx="2264219" cy="273593"/>
          </a:xfrm>
          <a:prstGeom prst="rect">
            <a:avLst/>
          </a:prstGeom>
        </p:spPr>
      </p:pic>
    </p:spTree>
    <p:extLst>
      <p:ext uri="{BB962C8B-B14F-4D97-AF65-F5344CB8AC3E}">
        <p14:creationId xmlns:p14="http://schemas.microsoft.com/office/powerpoint/2010/main" val="2355201943"/>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matchingName="Agenda, 3 sections">
  <p:cSld name="Agenda, 3 sections">
    <p:spTree>
      <p:nvGrpSpPr>
        <p:cNvPr id="1" name="Shape 2343"/>
        <p:cNvGrpSpPr/>
        <p:nvPr/>
      </p:nvGrpSpPr>
      <p:grpSpPr>
        <a:xfrm>
          <a:off x="0" y="0"/>
          <a:ext cx="0" cy="0"/>
          <a:chOff x="0" y="0"/>
          <a:chExt cx="0" cy="0"/>
        </a:xfrm>
      </p:grpSpPr>
      <p:sp>
        <p:nvSpPr>
          <p:cNvPr id="2344" name="Google Shape;2344;p222"/>
          <p:cNvSpPr txBox="1">
            <a:spLocks noGrp="1"/>
          </p:cNvSpPr>
          <p:nvPr>
            <p:ph type="title"/>
          </p:nvPr>
        </p:nvSpPr>
        <p:spPr>
          <a:xfrm>
            <a:off x="677473" y="3260815"/>
            <a:ext cx="4550400" cy="5008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grpSp>
        <p:nvGrpSpPr>
          <p:cNvPr id="2345" name="Google Shape;2345;p222"/>
          <p:cNvGrpSpPr/>
          <p:nvPr/>
        </p:nvGrpSpPr>
        <p:grpSpPr>
          <a:xfrm>
            <a:off x="5426367" y="1994898"/>
            <a:ext cx="952499" cy="2863540"/>
            <a:chOff x="5426367" y="1960607"/>
            <a:chExt cx="952499" cy="2863540"/>
          </a:xfrm>
        </p:grpSpPr>
        <p:grpSp>
          <p:nvGrpSpPr>
            <p:cNvPr id="2346" name="Google Shape;2346;p222"/>
            <p:cNvGrpSpPr/>
            <p:nvPr/>
          </p:nvGrpSpPr>
          <p:grpSpPr>
            <a:xfrm>
              <a:off x="5434239" y="1960607"/>
              <a:ext cx="750192" cy="607594"/>
              <a:chOff x="5434239" y="1960607"/>
              <a:chExt cx="750192" cy="607594"/>
            </a:xfrm>
          </p:grpSpPr>
          <p:sp>
            <p:nvSpPr>
              <p:cNvPr id="2347" name="Google Shape;2347;p222"/>
              <p:cNvSpPr/>
              <p:nvPr/>
            </p:nvSpPr>
            <p:spPr>
              <a:xfrm>
                <a:off x="5434239" y="1960607"/>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7992" y="474220"/>
                      <a:pt x="231434" y="474220"/>
                    </a:cubicBezTo>
                    <a:cubicBezTo>
                      <a:pt x="314876" y="47422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48" name="Google Shape;2348;p222"/>
              <p:cNvSpPr/>
              <p:nvPr/>
            </p:nvSpPr>
            <p:spPr>
              <a:xfrm>
                <a:off x="5956146" y="1972306"/>
                <a:ext cx="228285" cy="595895"/>
              </a:xfrm>
              <a:custGeom>
                <a:avLst/>
                <a:gdLst/>
                <a:ahLst/>
                <a:cxnLst/>
                <a:rect l="l" t="t" r="r" b="b"/>
                <a:pathLst>
                  <a:path w="228285" h="595895" extrusionOk="0">
                    <a:moveTo>
                      <a:pt x="81081" y="130255"/>
                    </a:moveTo>
                    <a:lnTo>
                      <a:pt x="0" y="130255"/>
                    </a:lnTo>
                    <a:lnTo>
                      <a:pt x="0" y="0"/>
                    </a:lnTo>
                    <a:lnTo>
                      <a:pt x="228285" y="0"/>
                    </a:lnTo>
                    <a:lnTo>
                      <a:pt x="228285" y="595895"/>
                    </a:lnTo>
                    <a:lnTo>
                      <a:pt x="81081" y="595895"/>
                    </a:lnTo>
                    <a:lnTo>
                      <a:pt x="81081" y="130255"/>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49" name="Google Shape;2349;p222"/>
            <p:cNvGrpSpPr/>
            <p:nvPr/>
          </p:nvGrpSpPr>
          <p:grpSpPr>
            <a:xfrm>
              <a:off x="5430303" y="3085460"/>
              <a:ext cx="945414" cy="606035"/>
              <a:chOff x="5430303" y="3085460"/>
              <a:chExt cx="945414" cy="606035"/>
            </a:xfrm>
          </p:grpSpPr>
          <p:sp>
            <p:nvSpPr>
              <p:cNvPr id="2350" name="Google Shape;2350;p222"/>
              <p:cNvSpPr/>
              <p:nvPr/>
            </p:nvSpPr>
            <p:spPr>
              <a:xfrm>
                <a:off x="5430303" y="3086240"/>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60614" y="605255"/>
                      <a:pt x="0" y="478120"/>
                      <a:pt x="0" y="301848"/>
                    </a:cubicBezTo>
                    <a:cubicBezTo>
                      <a:pt x="0" y="127135"/>
                      <a:pt x="60614"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7004"/>
                      <a:pt x="324322" y="301848"/>
                    </a:cubicBezTo>
                    <a:cubicBezTo>
                      <a:pt x="324322" y="210591"/>
                      <a:pt x="314876"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1" name="Google Shape;2351;p222"/>
              <p:cNvSpPr/>
              <p:nvPr/>
            </p:nvSpPr>
            <p:spPr>
              <a:xfrm>
                <a:off x="5960869" y="3085460"/>
                <a:ext cx="414848" cy="599795"/>
              </a:xfrm>
              <a:custGeom>
                <a:avLst/>
                <a:gdLst/>
                <a:ahLst/>
                <a:cxnLst/>
                <a:rect l="l" t="t" r="r" b="b"/>
                <a:pathLst>
                  <a:path w="414848" h="599795" extrusionOk="0">
                    <a:moveTo>
                      <a:pt x="1574" y="496840"/>
                    </a:moveTo>
                    <a:cubicBezTo>
                      <a:pt x="129099" y="392324"/>
                      <a:pt x="265283" y="288588"/>
                      <a:pt x="265283" y="188752"/>
                    </a:cubicBezTo>
                    <a:cubicBezTo>
                      <a:pt x="265283" y="145854"/>
                      <a:pt x="245603" y="117775"/>
                      <a:pt x="203095" y="117775"/>
                    </a:cubicBezTo>
                    <a:cubicBezTo>
                      <a:pt x="161374" y="117775"/>
                      <a:pt x="136184" y="150534"/>
                      <a:pt x="136184" y="206691"/>
                    </a:cubicBezTo>
                    <a:lnTo>
                      <a:pt x="0" y="206691"/>
                    </a:lnTo>
                    <a:cubicBezTo>
                      <a:pt x="3936" y="62397"/>
                      <a:pt x="99186" y="0"/>
                      <a:pt x="208605" y="0"/>
                    </a:cubicBezTo>
                    <a:cubicBezTo>
                      <a:pt x="345576" y="0"/>
                      <a:pt x="406190" y="78777"/>
                      <a:pt x="406190" y="179393"/>
                    </a:cubicBezTo>
                    <a:cubicBezTo>
                      <a:pt x="406190" y="309647"/>
                      <a:pt x="288111" y="414163"/>
                      <a:pt x="192861" y="486700"/>
                    </a:cubicBezTo>
                    <a:lnTo>
                      <a:pt x="414849" y="486700"/>
                    </a:lnTo>
                    <a:lnTo>
                      <a:pt x="414849" y="599795"/>
                    </a:lnTo>
                    <a:lnTo>
                      <a:pt x="1574" y="599795"/>
                    </a:lnTo>
                    <a:lnTo>
                      <a:pt x="1574" y="496840"/>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52" name="Google Shape;2352;p222"/>
            <p:cNvGrpSpPr/>
            <p:nvPr/>
          </p:nvGrpSpPr>
          <p:grpSpPr>
            <a:xfrm>
              <a:off x="5426367" y="4209533"/>
              <a:ext cx="952499" cy="614614"/>
              <a:chOff x="5426367" y="4209533"/>
              <a:chExt cx="952499" cy="614614"/>
            </a:xfrm>
          </p:grpSpPr>
          <p:sp>
            <p:nvSpPr>
              <p:cNvPr id="2353" name="Google Shape;2353;p222"/>
              <p:cNvSpPr/>
              <p:nvPr/>
            </p:nvSpPr>
            <p:spPr>
              <a:xfrm>
                <a:off x="5426367" y="4211093"/>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4" name="Google Shape;2354;p222"/>
              <p:cNvSpPr/>
              <p:nvPr/>
            </p:nvSpPr>
            <p:spPr>
              <a:xfrm>
                <a:off x="5960869" y="4209533"/>
                <a:ext cx="417997" cy="614614"/>
              </a:xfrm>
              <a:custGeom>
                <a:avLst/>
                <a:gdLst/>
                <a:ahLst/>
                <a:cxnLst/>
                <a:rect l="l" t="t" r="r" b="b"/>
                <a:pathLst>
                  <a:path w="417997" h="614614" extrusionOk="0">
                    <a:moveTo>
                      <a:pt x="211754" y="0"/>
                    </a:moveTo>
                    <a:cubicBezTo>
                      <a:pt x="338492" y="0"/>
                      <a:pt x="406977" y="71757"/>
                      <a:pt x="406977" y="161453"/>
                    </a:cubicBezTo>
                    <a:cubicBezTo>
                      <a:pt x="406977" y="239450"/>
                      <a:pt x="357384" y="281568"/>
                      <a:pt x="316450" y="295608"/>
                    </a:cubicBezTo>
                    <a:lnTo>
                      <a:pt x="316450" y="298728"/>
                    </a:lnTo>
                    <a:cubicBezTo>
                      <a:pt x="376277" y="318227"/>
                      <a:pt x="417998" y="364245"/>
                      <a:pt x="417998" y="442242"/>
                    </a:cubicBezTo>
                    <a:cubicBezTo>
                      <a:pt x="417998" y="542858"/>
                      <a:pt x="345576" y="614615"/>
                      <a:pt x="219626" y="614615"/>
                    </a:cubicBezTo>
                    <a:cubicBezTo>
                      <a:pt x="94463" y="614615"/>
                      <a:pt x="3936" y="556117"/>
                      <a:pt x="0" y="421183"/>
                    </a:cubicBezTo>
                    <a:lnTo>
                      <a:pt x="136184" y="421183"/>
                    </a:lnTo>
                    <a:cubicBezTo>
                      <a:pt x="136971" y="467981"/>
                      <a:pt x="162161" y="498399"/>
                      <a:pt x="214116" y="498399"/>
                    </a:cubicBezTo>
                    <a:cubicBezTo>
                      <a:pt x="257411" y="498399"/>
                      <a:pt x="281814" y="470321"/>
                      <a:pt x="281814" y="431322"/>
                    </a:cubicBezTo>
                    <a:cubicBezTo>
                      <a:pt x="281814" y="378284"/>
                      <a:pt x="249539" y="357225"/>
                      <a:pt x="176331" y="357225"/>
                    </a:cubicBezTo>
                    <a:lnTo>
                      <a:pt x="150353" y="357225"/>
                    </a:lnTo>
                    <a:lnTo>
                      <a:pt x="150353" y="243350"/>
                    </a:lnTo>
                    <a:lnTo>
                      <a:pt x="176331" y="243350"/>
                    </a:lnTo>
                    <a:cubicBezTo>
                      <a:pt x="224349" y="243350"/>
                      <a:pt x="270006" y="231650"/>
                      <a:pt x="270006" y="177833"/>
                    </a:cubicBezTo>
                    <a:cubicBezTo>
                      <a:pt x="270006" y="138054"/>
                      <a:pt x="246390" y="116215"/>
                      <a:pt x="208605" y="116215"/>
                    </a:cubicBezTo>
                    <a:cubicBezTo>
                      <a:pt x="162948" y="116215"/>
                      <a:pt x="147205" y="148974"/>
                      <a:pt x="144056" y="181733"/>
                    </a:cubicBezTo>
                    <a:lnTo>
                      <a:pt x="7085" y="181733"/>
                    </a:lnTo>
                    <a:cubicBezTo>
                      <a:pt x="11808" y="63957"/>
                      <a:pt x="88952" y="0"/>
                      <a:pt x="211754" y="0"/>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sp>
        <p:nvSpPr>
          <p:cNvPr id="2355" name="Google Shape;2355;p222"/>
          <p:cNvSpPr/>
          <p:nvPr/>
        </p:nvSpPr>
        <p:spPr>
          <a:xfrm rot="-5400000">
            <a:off x="801433" y="2992200"/>
            <a:ext cx="76000" cy="409600"/>
          </a:xfrm>
          <a:prstGeom prst="roundRect">
            <a:avLst>
              <a:gd name="adj" fmla="val 50000"/>
            </a:avLst>
          </a:prstGeom>
          <a:gradFill>
            <a:gsLst>
              <a:gs pos="0">
                <a:schemeClr val="accent2"/>
              </a:gs>
              <a:gs pos="100000">
                <a:schemeClr val="accent1"/>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56" name="Google Shape;2356;p222"/>
          <p:cNvSpPr txBox="1">
            <a:spLocks noGrp="1"/>
          </p:cNvSpPr>
          <p:nvPr>
            <p:ph type="body" idx="1"/>
          </p:nvPr>
        </p:nvSpPr>
        <p:spPr>
          <a:xfrm>
            <a:off x="6656933" y="1890667"/>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7" name="Google Shape;2357;p222"/>
          <p:cNvSpPr txBox="1">
            <a:spLocks noGrp="1"/>
          </p:cNvSpPr>
          <p:nvPr>
            <p:ph type="body" idx="2"/>
          </p:nvPr>
        </p:nvSpPr>
        <p:spPr>
          <a:xfrm>
            <a:off x="6656933" y="3016788"/>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8" name="Google Shape;2358;p222"/>
          <p:cNvSpPr txBox="1">
            <a:spLocks noGrp="1"/>
          </p:cNvSpPr>
          <p:nvPr>
            <p:ph type="body" idx="3"/>
          </p:nvPr>
        </p:nvSpPr>
        <p:spPr>
          <a:xfrm>
            <a:off x="6656933" y="4142911"/>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4100717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Blank">
    <p:bg>
      <p:bgRef idx="1001">
        <a:schemeClr val="bg1"/>
      </p:bgRef>
    </p:bg>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889094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3_Create Layou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0"/>
          </p:nvPr>
        </p:nvSpPr>
        <p:spPr/>
        <p:txBody>
          <a:bodyPr/>
          <a:lstStyle/>
          <a:p>
            <a:fld id="{59982661-8095-4F36-B003-38F8D9469F79}" type="slidenum">
              <a:rPr lang="en-GB" smtClean="0"/>
              <a:t>‹#›</a:t>
            </a:fld>
            <a:endParaRPr lang="en-GB"/>
          </a:p>
        </p:txBody>
      </p:sp>
      <p:sp>
        <p:nvSpPr>
          <p:cNvPr id="26" name="Content Placeholder 1"/>
          <p:cNvSpPr>
            <a:spLocks noGrp="1"/>
          </p:cNvSpPr>
          <p:nvPr>
            <p:ph idx="31"/>
            <p:custDataLst>
              <p:tags r:id="rId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2"/>
          <p:cNvSpPr>
            <a:spLocks noGrp="1"/>
          </p:cNvSpPr>
          <p:nvPr>
            <p:ph idx="11"/>
            <p:custDataLst>
              <p:tags r:id="rId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idx="12"/>
            <p:custDataLst>
              <p:tags r:id="rId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p:cNvSpPr>
            <a:spLocks noGrp="1"/>
          </p:cNvSpPr>
          <p:nvPr>
            <p:ph idx="13"/>
            <p:custDataLst>
              <p:tags r:id="rId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5"/>
          <p:cNvSpPr>
            <a:spLocks noGrp="1"/>
          </p:cNvSpPr>
          <p:nvPr>
            <p:ph idx="14"/>
            <p:custDataLst>
              <p:tags r:id="rId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p:cNvSpPr>
            <a:spLocks noGrp="1"/>
          </p:cNvSpPr>
          <p:nvPr>
            <p:ph idx="15"/>
            <p:custDataLst>
              <p:tags r:id="rId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7"/>
          <p:cNvSpPr>
            <a:spLocks noGrp="1"/>
          </p:cNvSpPr>
          <p:nvPr>
            <p:ph idx="16"/>
            <p:custDataLst>
              <p:tags r:id="rId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8"/>
          <p:cNvSpPr>
            <a:spLocks noGrp="1"/>
          </p:cNvSpPr>
          <p:nvPr>
            <p:ph idx="17"/>
            <p:custDataLst>
              <p:tags r:id="rId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p:cNvSpPr>
            <a:spLocks noGrp="1"/>
          </p:cNvSpPr>
          <p:nvPr>
            <p:ph idx="18"/>
            <p:custDataLst>
              <p:tags r:id="rId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0"/>
          <p:cNvSpPr>
            <a:spLocks noGrp="1"/>
          </p:cNvSpPr>
          <p:nvPr>
            <p:ph idx="19"/>
            <p:custDataLst>
              <p:tags r:id="rId10"/>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1"/>
          <p:cNvSpPr>
            <a:spLocks noGrp="1"/>
          </p:cNvSpPr>
          <p:nvPr>
            <p:ph idx="20"/>
            <p:custDataLst>
              <p:tags r:id="rId1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12"/>
          <p:cNvSpPr>
            <a:spLocks noGrp="1"/>
          </p:cNvSpPr>
          <p:nvPr>
            <p:ph idx="21"/>
            <p:custDataLst>
              <p:tags r:id="rId1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3"/>
          <p:cNvSpPr>
            <a:spLocks noGrp="1"/>
          </p:cNvSpPr>
          <p:nvPr>
            <p:ph idx="22"/>
            <p:custDataLst>
              <p:tags r:id="rId1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4"/>
          <p:cNvSpPr>
            <a:spLocks noGrp="1"/>
          </p:cNvSpPr>
          <p:nvPr>
            <p:ph idx="23"/>
            <p:custDataLst>
              <p:tags r:id="rId1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5"/>
          <p:cNvSpPr>
            <a:spLocks noGrp="1"/>
          </p:cNvSpPr>
          <p:nvPr>
            <p:ph idx="24"/>
            <p:custDataLst>
              <p:tags r:id="rId1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6"/>
          <p:cNvSpPr>
            <a:spLocks noGrp="1"/>
          </p:cNvSpPr>
          <p:nvPr>
            <p:ph idx="25"/>
            <p:custDataLst>
              <p:tags r:id="rId1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7"/>
          <p:cNvSpPr>
            <a:spLocks noGrp="1"/>
          </p:cNvSpPr>
          <p:nvPr>
            <p:ph idx="26"/>
            <p:custDataLst>
              <p:tags r:id="rId1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8"/>
          <p:cNvSpPr>
            <a:spLocks noGrp="1"/>
          </p:cNvSpPr>
          <p:nvPr>
            <p:ph idx="27"/>
            <p:custDataLst>
              <p:tags r:id="rId1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9"/>
          <p:cNvSpPr>
            <a:spLocks noGrp="1"/>
          </p:cNvSpPr>
          <p:nvPr>
            <p:ph idx="28"/>
            <p:custDataLst>
              <p:tags r:id="rId1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p:cNvSpPr>
            <a:spLocks noGrp="1"/>
          </p:cNvSpPr>
          <p:nvPr>
            <p:ph idx="32"/>
            <p:custDataLst>
              <p:tags r:id="rId20"/>
            </p:custDataLst>
          </p:nvPr>
        </p:nvSpPr>
        <p:spPr>
          <a:xfrm>
            <a:off x="336063" y="1335600"/>
            <a:ext cx="11519879" cy="4838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5492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ack Disclaimer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rcRect/>
          <a:stretch/>
        </p:blipFill>
        <p:spPr>
          <a:xfrm>
            <a:off x="380" y="883"/>
            <a:ext cx="12191619" cy="6856446"/>
          </a:xfrm>
          <a:prstGeom prst="rect">
            <a:avLst/>
          </a:prstGeom>
        </p:spPr>
      </p:pic>
    </p:spTree>
    <p:extLst>
      <p:ext uri="{BB962C8B-B14F-4D97-AF65-F5344CB8AC3E}">
        <p14:creationId xmlns:p14="http://schemas.microsoft.com/office/powerpoint/2010/main" val="306623343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4" name="Rectangle 3">
            <a:extLst>
              <a:ext uri="{FF2B5EF4-FFF2-40B4-BE49-F238E27FC236}">
                <a16:creationId xmlns:a16="http://schemas.microsoft.com/office/drawing/2014/main" id="{52408627-7E4A-AE1F-9D3B-E2CFB1302B9D}"/>
              </a:ext>
            </a:extLst>
          </p:cNvPr>
          <p:cNvSpPr/>
          <p:nvPr userDrawn="1"/>
        </p:nvSpPr>
        <p:spPr>
          <a:xfrm>
            <a:off x="1" y="2"/>
            <a:ext cx="12192000" cy="114831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19"/>
          </a:p>
        </p:txBody>
      </p:sp>
      <p:pic>
        <p:nvPicPr>
          <p:cNvPr id="6" name="Picture 5">
            <a:extLst>
              <a:ext uri="{FF2B5EF4-FFF2-40B4-BE49-F238E27FC236}">
                <a16:creationId xmlns:a16="http://schemas.microsoft.com/office/drawing/2014/main" id="{A7BE00A2-4F44-C99F-80BF-49B79A8D4BA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145366" y="145676"/>
            <a:ext cx="953706" cy="400907"/>
          </a:xfrm>
          <a:prstGeom prst="rect">
            <a:avLst/>
          </a:prstGeom>
        </p:spPr>
      </p:pic>
      <p:pic>
        <p:nvPicPr>
          <p:cNvPr id="8" name="Picture 7">
            <a:extLst>
              <a:ext uri="{FF2B5EF4-FFF2-40B4-BE49-F238E27FC236}">
                <a16:creationId xmlns:a16="http://schemas.microsoft.com/office/drawing/2014/main" id="{2BCB36EC-6919-DDA7-DEF5-71FEB2AB23B4}"/>
              </a:ext>
            </a:extLst>
          </p:cNvPr>
          <p:cNvPicPr>
            <a:picLocks noChangeAspect="1"/>
          </p:cNvPicPr>
          <p:nvPr userDrawn="1"/>
        </p:nvPicPr>
        <p:blipFill>
          <a:blip r:embed="rId6"/>
          <a:srcRect t="18429" b="18429"/>
          <a:stretch/>
        </p:blipFill>
        <p:spPr>
          <a:xfrm>
            <a:off x="8227891" y="2"/>
            <a:ext cx="3964110" cy="1148314"/>
          </a:xfrm>
          <a:custGeom>
            <a:avLst/>
            <a:gdLst>
              <a:gd name="connsiteX0" fmla="*/ 1035847 w 5054240"/>
              <a:gd name="connsiteY0" fmla="*/ 1710657 h 2128225"/>
              <a:gd name="connsiteX1" fmla="*/ 1035847 w 5054240"/>
              <a:gd name="connsiteY1" fmla="*/ 1817977 h 2128225"/>
              <a:gd name="connsiteX2" fmla="*/ 1086228 w 5054240"/>
              <a:gd name="connsiteY2" fmla="*/ 1817977 h 2128225"/>
              <a:gd name="connsiteX3" fmla="*/ 1086228 w 5054240"/>
              <a:gd name="connsiteY3" fmla="*/ 1710657 h 2128225"/>
              <a:gd name="connsiteX4" fmla="*/ 407851 w 5054240"/>
              <a:gd name="connsiteY4" fmla="*/ 1710270 h 2128225"/>
              <a:gd name="connsiteX5" fmla="*/ 497431 w 5054240"/>
              <a:gd name="connsiteY5" fmla="*/ 1710270 h 2128225"/>
              <a:gd name="connsiteX6" fmla="*/ 497431 w 5054240"/>
              <a:gd name="connsiteY6" fmla="*/ 1817588 h 2128225"/>
              <a:gd name="connsiteX7" fmla="*/ 407851 w 5054240"/>
              <a:gd name="connsiteY7" fmla="*/ 1817588 h 2128225"/>
              <a:gd name="connsiteX8" fmla="*/ 1551304 w 5054240"/>
              <a:gd name="connsiteY8" fmla="*/ 1602717 h 2128225"/>
              <a:gd name="connsiteX9" fmla="*/ 1551304 w 5054240"/>
              <a:gd name="connsiteY9" fmla="*/ 1710037 h 2128225"/>
              <a:gd name="connsiteX10" fmla="*/ 1640885 w 5054240"/>
              <a:gd name="connsiteY10" fmla="*/ 1710037 h 2128225"/>
              <a:gd name="connsiteX11" fmla="*/ 1640885 w 5054240"/>
              <a:gd name="connsiteY11" fmla="*/ 1602717 h 2128225"/>
              <a:gd name="connsiteX12" fmla="*/ 1253272 w 5054240"/>
              <a:gd name="connsiteY12" fmla="*/ 1602717 h 2128225"/>
              <a:gd name="connsiteX13" fmla="*/ 1253357 w 5054240"/>
              <a:gd name="connsiteY13" fmla="*/ 1602794 h 2128225"/>
              <a:gd name="connsiteX14" fmla="*/ 1253144 w 5054240"/>
              <a:gd name="connsiteY14" fmla="*/ 1602988 h 2128225"/>
              <a:gd name="connsiteX15" fmla="*/ 1253102 w 5054240"/>
              <a:gd name="connsiteY15" fmla="*/ 1602988 h 2128225"/>
              <a:gd name="connsiteX16" fmla="*/ 1253102 w 5054240"/>
              <a:gd name="connsiteY16" fmla="*/ 1710657 h 2128225"/>
              <a:gd name="connsiteX17" fmla="*/ 1303100 w 5054240"/>
              <a:gd name="connsiteY17" fmla="*/ 1710657 h 2128225"/>
              <a:gd name="connsiteX18" fmla="*/ 1303100 w 5054240"/>
              <a:gd name="connsiteY18" fmla="*/ 1602717 h 2128225"/>
              <a:gd name="connsiteX19" fmla="*/ 2480990 w 5054240"/>
              <a:gd name="connsiteY19" fmla="*/ 1280526 h 2128225"/>
              <a:gd name="connsiteX20" fmla="*/ 2480990 w 5054240"/>
              <a:gd name="connsiteY20" fmla="*/ 1387845 h 2128225"/>
              <a:gd name="connsiteX21" fmla="*/ 2531371 w 5054240"/>
              <a:gd name="connsiteY21" fmla="*/ 1387845 h 2128225"/>
              <a:gd name="connsiteX22" fmla="*/ 2531371 w 5054240"/>
              <a:gd name="connsiteY22" fmla="*/ 1280526 h 2128225"/>
              <a:gd name="connsiteX23" fmla="*/ 1925144 w 5054240"/>
              <a:gd name="connsiteY23" fmla="*/ 1173439 h 2128225"/>
              <a:gd name="connsiteX24" fmla="*/ 2149072 w 5054240"/>
              <a:gd name="connsiteY24" fmla="*/ 1173439 h 2128225"/>
              <a:gd name="connsiteX25" fmla="*/ 2149072 w 5054240"/>
              <a:gd name="connsiteY25" fmla="*/ 1280758 h 2128225"/>
              <a:gd name="connsiteX26" fmla="*/ 1925144 w 5054240"/>
              <a:gd name="connsiteY26" fmla="*/ 1280758 h 2128225"/>
              <a:gd name="connsiteX27" fmla="*/ 1785182 w 5054240"/>
              <a:gd name="connsiteY27" fmla="*/ 1173439 h 2128225"/>
              <a:gd name="connsiteX28" fmla="*/ 1874763 w 5054240"/>
              <a:gd name="connsiteY28" fmla="*/ 1173439 h 2128225"/>
              <a:gd name="connsiteX29" fmla="*/ 1874763 w 5054240"/>
              <a:gd name="connsiteY29" fmla="*/ 1280758 h 2128225"/>
              <a:gd name="connsiteX30" fmla="*/ 1785182 w 5054240"/>
              <a:gd name="connsiteY30" fmla="*/ 1280758 h 2128225"/>
              <a:gd name="connsiteX31" fmla="*/ 3252434 w 5054240"/>
              <a:gd name="connsiteY31" fmla="*/ 1066081 h 2128225"/>
              <a:gd name="connsiteX32" fmla="*/ 3252434 w 5054240"/>
              <a:gd name="connsiteY32" fmla="*/ 1173400 h 2128225"/>
              <a:gd name="connsiteX33" fmla="*/ 3302814 w 5054240"/>
              <a:gd name="connsiteY33" fmla="*/ 1173400 h 2128225"/>
              <a:gd name="connsiteX34" fmla="*/ 3302814 w 5054240"/>
              <a:gd name="connsiteY34" fmla="*/ 1066081 h 2128225"/>
              <a:gd name="connsiteX35" fmla="*/ 3365057 w 5054240"/>
              <a:gd name="connsiteY35" fmla="*/ 958762 h 2128225"/>
              <a:gd name="connsiteX36" fmla="*/ 3365057 w 5054240"/>
              <a:gd name="connsiteY36" fmla="*/ 1066081 h 2128225"/>
              <a:gd name="connsiteX37" fmla="*/ 3454638 w 5054240"/>
              <a:gd name="connsiteY37" fmla="*/ 1066081 h 2128225"/>
              <a:gd name="connsiteX38" fmla="*/ 3454638 w 5054240"/>
              <a:gd name="connsiteY38" fmla="*/ 958762 h 2128225"/>
              <a:gd name="connsiteX39" fmla="*/ 4110141 w 5054240"/>
              <a:gd name="connsiteY39" fmla="*/ 745131 h 2128225"/>
              <a:gd name="connsiteX40" fmla="*/ 4110141 w 5054240"/>
              <a:gd name="connsiteY40" fmla="*/ 851442 h 2128225"/>
              <a:gd name="connsiteX41" fmla="*/ 4191814 w 5054240"/>
              <a:gd name="connsiteY41" fmla="*/ 851442 h 2128225"/>
              <a:gd name="connsiteX42" fmla="*/ 4191814 w 5054240"/>
              <a:gd name="connsiteY42" fmla="*/ 745131 h 2128225"/>
              <a:gd name="connsiteX43" fmla="*/ 3510673 w 5054240"/>
              <a:gd name="connsiteY43" fmla="*/ 637851 h 2128225"/>
              <a:gd name="connsiteX44" fmla="*/ 3600253 w 5054240"/>
              <a:gd name="connsiteY44" fmla="*/ 637851 h 2128225"/>
              <a:gd name="connsiteX45" fmla="*/ 3600253 w 5054240"/>
              <a:gd name="connsiteY45" fmla="*/ 745170 h 2128225"/>
              <a:gd name="connsiteX46" fmla="*/ 3510673 w 5054240"/>
              <a:gd name="connsiteY46" fmla="*/ 745170 h 2128225"/>
              <a:gd name="connsiteX47" fmla="*/ 3874563 w 5054240"/>
              <a:gd name="connsiteY47" fmla="*/ 637812 h 2128225"/>
              <a:gd name="connsiteX48" fmla="*/ 3874563 w 5054240"/>
              <a:gd name="connsiteY48" fmla="*/ 744122 h 2128225"/>
              <a:gd name="connsiteX49" fmla="*/ 3924944 w 5054240"/>
              <a:gd name="connsiteY49" fmla="*/ 744122 h 2128225"/>
              <a:gd name="connsiteX50" fmla="*/ 3924944 w 5054240"/>
              <a:gd name="connsiteY50" fmla="*/ 637812 h 2128225"/>
              <a:gd name="connsiteX51" fmla="*/ 4748596 w 5054240"/>
              <a:gd name="connsiteY51" fmla="*/ 315893 h 2128225"/>
              <a:gd name="connsiteX52" fmla="*/ 4748596 w 5054240"/>
              <a:gd name="connsiteY52" fmla="*/ 423174 h 2128225"/>
              <a:gd name="connsiteX53" fmla="*/ 4798978 w 5054240"/>
              <a:gd name="connsiteY53" fmla="*/ 423174 h 2128225"/>
              <a:gd name="connsiteX54" fmla="*/ 4798978 w 5054240"/>
              <a:gd name="connsiteY54" fmla="*/ 315893 h 2128225"/>
              <a:gd name="connsiteX55" fmla="*/ 4798382 w 5054240"/>
              <a:gd name="connsiteY55" fmla="*/ 101253 h 2128225"/>
              <a:gd name="connsiteX56" fmla="*/ 4846806 w 5054240"/>
              <a:gd name="connsiteY56" fmla="*/ 101253 h 2128225"/>
              <a:gd name="connsiteX57" fmla="*/ 4846806 w 5054240"/>
              <a:gd name="connsiteY57" fmla="*/ 208573 h 2128225"/>
              <a:gd name="connsiteX58" fmla="*/ 4938342 w 5054240"/>
              <a:gd name="connsiteY58" fmla="*/ 208573 h 2128225"/>
              <a:gd name="connsiteX59" fmla="*/ 4938342 w 5054240"/>
              <a:gd name="connsiteY59" fmla="*/ 315853 h 2128225"/>
              <a:gd name="connsiteX60" fmla="*/ 4988724 w 5054240"/>
              <a:gd name="connsiteY60" fmla="*/ 315853 h 2128225"/>
              <a:gd name="connsiteX61" fmla="*/ 4988724 w 5054240"/>
              <a:gd name="connsiteY61" fmla="*/ 208573 h 2128225"/>
              <a:gd name="connsiteX62" fmla="*/ 5054198 w 5054240"/>
              <a:gd name="connsiteY62" fmla="*/ 208573 h 2128225"/>
              <a:gd name="connsiteX63" fmla="*/ 5054198 w 5054240"/>
              <a:gd name="connsiteY63" fmla="*/ 2128225 h 2128225"/>
              <a:gd name="connsiteX64" fmla="*/ 0 w 5054240"/>
              <a:gd name="connsiteY64" fmla="*/ 2128225 h 2128225"/>
              <a:gd name="connsiteX65" fmla="*/ 0 w 5054240"/>
              <a:gd name="connsiteY65" fmla="*/ 1924598 h 2128225"/>
              <a:gd name="connsiteX66" fmla="*/ 238597 w 5054240"/>
              <a:gd name="connsiteY66" fmla="*/ 1924598 h 2128225"/>
              <a:gd name="connsiteX67" fmla="*/ 238597 w 5054240"/>
              <a:gd name="connsiteY67" fmla="*/ 1817588 h 2128225"/>
              <a:gd name="connsiteX68" fmla="*/ 407851 w 5054240"/>
              <a:gd name="connsiteY68" fmla="*/ 1817588 h 2128225"/>
              <a:gd name="connsiteX69" fmla="*/ 407851 w 5054240"/>
              <a:gd name="connsiteY69" fmla="*/ 1924714 h 2128225"/>
              <a:gd name="connsiteX70" fmla="*/ 547812 w 5054240"/>
              <a:gd name="connsiteY70" fmla="*/ 1924714 h 2128225"/>
              <a:gd name="connsiteX71" fmla="*/ 547812 w 5054240"/>
              <a:gd name="connsiteY71" fmla="*/ 1710230 h 2128225"/>
              <a:gd name="connsiteX72" fmla="*/ 819401 w 5054240"/>
              <a:gd name="connsiteY72" fmla="*/ 1710230 h 2128225"/>
              <a:gd name="connsiteX73" fmla="*/ 819401 w 5054240"/>
              <a:gd name="connsiteY73" fmla="*/ 1602678 h 2128225"/>
              <a:gd name="connsiteX74" fmla="*/ 1026451 w 5054240"/>
              <a:gd name="connsiteY74" fmla="*/ 1602678 h 2128225"/>
              <a:gd name="connsiteX75" fmla="*/ 1026451 w 5054240"/>
              <a:gd name="connsiteY75" fmla="*/ 1495358 h 2128225"/>
              <a:gd name="connsiteX76" fmla="*/ 1118922 w 5054240"/>
              <a:gd name="connsiteY76" fmla="*/ 1495358 h 2128225"/>
              <a:gd name="connsiteX77" fmla="*/ 1118922 w 5054240"/>
              <a:gd name="connsiteY77" fmla="*/ 1387806 h 2128225"/>
              <a:gd name="connsiteX78" fmla="*/ 1169303 w 5054240"/>
              <a:gd name="connsiteY78" fmla="*/ 1387806 h 2128225"/>
              <a:gd name="connsiteX79" fmla="*/ 1169303 w 5054240"/>
              <a:gd name="connsiteY79" fmla="*/ 1495358 h 2128225"/>
              <a:gd name="connsiteX80" fmla="*/ 1392722 w 5054240"/>
              <a:gd name="connsiteY80" fmla="*/ 1495358 h 2128225"/>
              <a:gd name="connsiteX81" fmla="*/ 1392722 w 5054240"/>
              <a:gd name="connsiteY81" fmla="*/ 1602678 h 2128225"/>
              <a:gd name="connsiteX82" fmla="*/ 1442720 w 5054240"/>
              <a:gd name="connsiteY82" fmla="*/ 1602678 h 2128225"/>
              <a:gd name="connsiteX83" fmla="*/ 1442720 w 5054240"/>
              <a:gd name="connsiteY83" fmla="*/ 1495358 h 2128225"/>
              <a:gd name="connsiteX84" fmla="*/ 1546670 w 5054240"/>
              <a:gd name="connsiteY84" fmla="*/ 1495358 h 2128225"/>
              <a:gd name="connsiteX85" fmla="*/ 1546670 w 5054240"/>
              <a:gd name="connsiteY85" fmla="*/ 1387806 h 2128225"/>
              <a:gd name="connsiteX86" fmla="*/ 1835691 w 5054240"/>
              <a:gd name="connsiteY86" fmla="*/ 1387806 h 2128225"/>
              <a:gd name="connsiteX87" fmla="*/ 1835691 w 5054240"/>
              <a:gd name="connsiteY87" fmla="*/ 1495358 h 2128225"/>
              <a:gd name="connsiteX88" fmla="*/ 2068803 w 5054240"/>
              <a:gd name="connsiteY88" fmla="*/ 1495358 h 2128225"/>
              <a:gd name="connsiteX89" fmla="*/ 2068803 w 5054240"/>
              <a:gd name="connsiteY89" fmla="*/ 1388039 h 2128225"/>
              <a:gd name="connsiteX90" fmla="*/ 2295623 w 5054240"/>
              <a:gd name="connsiteY90" fmla="*/ 1388039 h 2128225"/>
              <a:gd name="connsiteX91" fmla="*/ 2295623 w 5054240"/>
              <a:gd name="connsiteY91" fmla="*/ 1280720 h 2128225"/>
              <a:gd name="connsiteX92" fmla="*/ 2199538 w 5054240"/>
              <a:gd name="connsiteY92" fmla="*/ 1280720 h 2128225"/>
              <a:gd name="connsiteX93" fmla="*/ 2199538 w 5054240"/>
              <a:gd name="connsiteY93" fmla="*/ 1173400 h 2128225"/>
              <a:gd name="connsiteX94" fmla="*/ 2566999 w 5054240"/>
              <a:gd name="connsiteY94" fmla="*/ 1173400 h 2128225"/>
              <a:gd name="connsiteX95" fmla="*/ 2566999 w 5054240"/>
              <a:gd name="connsiteY95" fmla="*/ 1066081 h 2128225"/>
              <a:gd name="connsiteX96" fmla="*/ 2790928 w 5054240"/>
              <a:gd name="connsiteY96" fmla="*/ 1066081 h 2128225"/>
              <a:gd name="connsiteX97" fmla="*/ 2790928 w 5054240"/>
              <a:gd name="connsiteY97" fmla="*/ 958762 h 2128225"/>
              <a:gd name="connsiteX98" fmla="*/ 3015282 w 5054240"/>
              <a:gd name="connsiteY98" fmla="*/ 958762 h 2128225"/>
              <a:gd name="connsiteX99" fmla="*/ 3015282 w 5054240"/>
              <a:gd name="connsiteY99" fmla="*/ 1066081 h 2128225"/>
              <a:gd name="connsiteX100" fmla="*/ 3160388 w 5054240"/>
              <a:gd name="connsiteY100" fmla="*/ 1066081 h 2128225"/>
              <a:gd name="connsiteX101" fmla="*/ 3160388 w 5054240"/>
              <a:gd name="connsiteY101" fmla="*/ 851442 h 2128225"/>
              <a:gd name="connsiteX102" fmla="*/ 3249968 w 5054240"/>
              <a:gd name="connsiteY102" fmla="*/ 851442 h 2128225"/>
              <a:gd name="connsiteX103" fmla="*/ 3249968 w 5054240"/>
              <a:gd name="connsiteY103" fmla="*/ 958762 h 2128225"/>
              <a:gd name="connsiteX104" fmla="*/ 3300306 w 5054240"/>
              <a:gd name="connsiteY104" fmla="*/ 958762 h 2128225"/>
              <a:gd name="connsiteX105" fmla="*/ 3300306 w 5054240"/>
              <a:gd name="connsiteY105" fmla="*/ 851442 h 2128225"/>
              <a:gd name="connsiteX106" fmla="*/ 3524236 w 5054240"/>
              <a:gd name="connsiteY106" fmla="*/ 851442 h 2128225"/>
              <a:gd name="connsiteX107" fmla="*/ 3524236 w 5054240"/>
              <a:gd name="connsiteY107" fmla="*/ 958762 h 2128225"/>
              <a:gd name="connsiteX108" fmla="*/ 3574616 w 5054240"/>
              <a:gd name="connsiteY108" fmla="*/ 958762 h 2128225"/>
              <a:gd name="connsiteX109" fmla="*/ 3574616 w 5054240"/>
              <a:gd name="connsiteY109" fmla="*/ 851442 h 2128225"/>
              <a:gd name="connsiteX110" fmla="*/ 3707860 w 5054240"/>
              <a:gd name="connsiteY110" fmla="*/ 851442 h 2128225"/>
              <a:gd name="connsiteX111" fmla="*/ 3707860 w 5054240"/>
              <a:gd name="connsiteY111" fmla="*/ 745131 h 2128225"/>
              <a:gd name="connsiteX112" fmla="*/ 3650719 w 5054240"/>
              <a:gd name="connsiteY112" fmla="*/ 745131 h 2128225"/>
              <a:gd name="connsiteX113" fmla="*/ 3650719 w 5054240"/>
              <a:gd name="connsiteY113" fmla="*/ 637812 h 2128225"/>
              <a:gd name="connsiteX114" fmla="*/ 3765978 w 5054240"/>
              <a:gd name="connsiteY114" fmla="*/ 637812 h 2128225"/>
              <a:gd name="connsiteX115" fmla="*/ 3765978 w 5054240"/>
              <a:gd name="connsiteY115" fmla="*/ 530493 h 2128225"/>
              <a:gd name="connsiteX116" fmla="*/ 3816360 w 5054240"/>
              <a:gd name="connsiteY116" fmla="*/ 530493 h 2128225"/>
              <a:gd name="connsiteX117" fmla="*/ 3816360 w 5054240"/>
              <a:gd name="connsiteY117" fmla="*/ 637812 h 2128225"/>
              <a:gd name="connsiteX118" fmla="*/ 3874308 w 5054240"/>
              <a:gd name="connsiteY118" fmla="*/ 637812 h 2128225"/>
              <a:gd name="connsiteX119" fmla="*/ 3874308 w 5054240"/>
              <a:gd name="connsiteY119" fmla="*/ 530493 h 2128225"/>
              <a:gd name="connsiteX120" fmla="*/ 4098194 w 5054240"/>
              <a:gd name="connsiteY120" fmla="*/ 530493 h 2128225"/>
              <a:gd name="connsiteX121" fmla="*/ 4098194 w 5054240"/>
              <a:gd name="connsiteY121" fmla="*/ 637812 h 2128225"/>
              <a:gd name="connsiteX122" fmla="*/ 4281096 w 5054240"/>
              <a:gd name="connsiteY122" fmla="*/ 637812 h 2128225"/>
              <a:gd name="connsiteX123" fmla="*/ 4281096 w 5054240"/>
              <a:gd name="connsiteY123" fmla="*/ 530493 h 2128225"/>
              <a:gd name="connsiteX124" fmla="*/ 4191855 w 5054240"/>
              <a:gd name="connsiteY124" fmla="*/ 530493 h 2128225"/>
              <a:gd name="connsiteX125" fmla="*/ 4191855 w 5054240"/>
              <a:gd name="connsiteY125" fmla="*/ 423174 h 2128225"/>
              <a:gd name="connsiteX126" fmla="*/ 4524710 w 5054240"/>
              <a:gd name="connsiteY126" fmla="*/ 423174 h 2128225"/>
              <a:gd name="connsiteX127" fmla="*/ 4524710 w 5054240"/>
              <a:gd name="connsiteY127" fmla="*/ 315853 h 2128225"/>
              <a:gd name="connsiteX128" fmla="*/ 4714499 w 5054240"/>
              <a:gd name="connsiteY128" fmla="*/ 315853 h 2128225"/>
              <a:gd name="connsiteX129" fmla="*/ 4714499 w 5054240"/>
              <a:gd name="connsiteY129" fmla="*/ 208573 h 2128225"/>
              <a:gd name="connsiteX130" fmla="*/ 4798382 w 5054240"/>
              <a:gd name="connsiteY130" fmla="*/ 208573 h 2128225"/>
              <a:gd name="connsiteX131" fmla="*/ 4988724 w 5054240"/>
              <a:gd name="connsiteY131" fmla="*/ 0 h 2128225"/>
              <a:gd name="connsiteX132" fmla="*/ 5054240 w 5054240"/>
              <a:gd name="connsiteY132" fmla="*/ 0 h 2128225"/>
              <a:gd name="connsiteX133" fmla="*/ 5054240 w 5054240"/>
              <a:gd name="connsiteY133" fmla="*/ 101253 h 2128225"/>
              <a:gd name="connsiteX134" fmla="*/ 4988724 w 5054240"/>
              <a:gd name="connsiteY134" fmla="*/ 101253 h 212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5054240" h="2128225">
                <a:moveTo>
                  <a:pt x="1035847" y="1710657"/>
                </a:moveTo>
                <a:lnTo>
                  <a:pt x="1035847" y="1817977"/>
                </a:lnTo>
                <a:lnTo>
                  <a:pt x="1086228" y="1817977"/>
                </a:lnTo>
                <a:lnTo>
                  <a:pt x="1086228" y="1710657"/>
                </a:lnTo>
                <a:close/>
                <a:moveTo>
                  <a:pt x="407851" y="1710270"/>
                </a:moveTo>
                <a:lnTo>
                  <a:pt x="497431" y="1710270"/>
                </a:lnTo>
                <a:lnTo>
                  <a:pt x="497431" y="1817588"/>
                </a:lnTo>
                <a:lnTo>
                  <a:pt x="407851" y="1817588"/>
                </a:lnTo>
                <a:close/>
                <a:moveTo>
                  <a:pt x="1551304" y="1602717"/>
                </a:moveTo>
                <a:lnTo>
                  <a:pt x="1551304" y="1710037"/>
                </a:lnTo>
                <a:lnTo>
                  <a:pt x="1640885" y="1710037"/>
                </a:lnTo>
                <a:lnTo>
                  <a:pt x="1640885" y="1602717"/>
                </a:lnTo>
                <a:close/>
                <a:moveTo>
                  <a:pt x="1253272" y="1602717"/>
                </a:moveTo>
                <a:lnTo>
                  <a:pt x="1253357" y="1602794"/>
                </a:lnTo>
                <a:lnTo>
                  <a:pt x="1253144" y="1602988"/>
                </a:lnTo>
                <a:lnTo>
                  <a:pt x="1253102" y="1602988"/>
                </a:lnTo>
                <a:lnTo>
                  <a:pt x="1253102" y="1710657"/>
                </a:lnTo>
                <a:lnTo>
                  <a:pt x="1303100" y="1710657"/>
                </a:lnTo>
                <a:lnTo>
                  <a:pt x="1303100" y="1602717"/>
                </a:lnTo>
                <a:close/>
                <a:moveTo>
                  <a:pt x="2480990" y="1280526"/>
                </a:moveTo>
                <a:lnTo>
                  <a:pt x="2480990" y="1387845"/>
                </a:lnTo>
                <a:lnTo>
                  <a:pt x="2531371" y="1387845"/>
                </a:lnTo>
                <a:lnTo>
                  <a:pt x="2531371" y="1280526"/>
                </a:lnTo>
                <a:close/>
                <a:moveTo>
                  <a:pt x="1925144" y="1173439"/>
                </a:moveTo>
                <a:lnTo>
                  <a:pt x="2149072" y="1173439"/>
                </a:lnTo>
                <a:lnTo>
                  <a:pt x="2149072" y="1280758"/>
                </a:lnTo>
                <a:lnTo>
                  <a:pt x="1925144" y="1280758"/>
                </a:lnTo>
                <a:close/>
                <a:moveTo>
                  <a:pt x="1785182" y="1173439"/>
                </a:moveTo>
                <a:lnTo>
                  <a:pt x="1874763" y="1173439"/>
                </a:lnTo>
                <a:lnTo>
                  <a:pt x="1874763" y="1280758"/>
                </a:lnTo>
                <a:lnTo>
                  <a:pt x="1785182" y="1280758"/>
                </a:lnTo>
                <a:close/>
                <a:moveTo>
                  <a:pt x="3252434" y="1066081"/>
                </a:moveTo>
                <a:lnTo>
                  <a:pt x="3252434" y="1173400"/>
                </a:lnTo>
                <a:lnTo>
                  <a:pt x="3302814" y="1173400"/>
                </a:lnTo>
                <a:lnTo>
                  <a:pt x="3302814" y="1066081"/>
                </a:lnTo>
                <a:close/>
                <a:moveTo>
                  <a:pt x="3365057" y="958762"/>
                </a:moveTo>
                <a:lnTo>
                  <a:pt x="3365057" y="1066081"/>
                </a:lnTo>
                <a:lnTo>
                  <a:pt x="3454638" y="1066081"/>
                </a:lnTo>
                <a:lnTo>
                  <a:pt x="3454638" y="958762"/>
                </a:lnTo>
                <a:close/>
                <a:moveTo>
                  <a:pt x="4110141" y="745131"/>
                </a:moveTo>
                <a:lnTo>
                  <a:pt x="4110141" y="851442"/>
                </a:lnTo>
                <a:lnTo>
                  <a:pt x="4191814" y="851442"/>
                </a:lnTo>
                <a:lnTo>
                  <a:pt x="4191814" y="745131"/>
                </a:lnTo>
                <a:close/>
                <a:moveTo>
                  <a:pt x="3510673" y="637851"/>
                </a:moveTo>
                <a:lnTo>
                  <a:pt x="3600253" y="637851"/>
                </a:lnTo>
                <a:lnTo>
                  <a:pt x="3600253" y="745170"/>
                </a:lnTo>
                <a:lnTo>
                  <a:pt x="3510673" y="745170"/>
                </a:lnTo>
                <a:close/>
                <a:moveTo>
                  <a:pt x="3874563" y="637812"/>
                </a:moveTo>
                <a:lnTo>
                  <a:pt x="3874563" y="744122"/>
                </a:lnTo>
                <a:lnTo>
                  <a:pt x="3924944" y="744122"/>
                </a:lnTo>
                <a:lnTo>
                  <a:pt x="3924944" y="637812"/>
                </a:lnTo>
                <a:close/>
                <a:moveTo>
                  <a:pt x="4748596" y="315893"/>
                </a:moveTo>
                <a:lnTo>
                  <a:pt x="4748596" y="423174"/>
                </a:lnTo>
                <a:lnTo>
                  <a:pt x="4798978" y="423174"/>
                </a:lnTo>
                <a:lnTo>
                  <a:pt x="4798978" y="315893"/>
                </a:lnTo>
                <a:close/>
                <a:moveTo>
                  <a:pt x="4798382" y="101253"/>
                </a:moveTo>
                <a:lnTo>
                  <a:pt x="4846806" y="101253"/>
                </a:lnTo>
                <a:lnTo>
                  <a:pt x="4846806" y="208573"/>
                </a:lnTo>
                <a:lnTo>
                  <a:pt x="4938342" y="208573"/>
                </a:lnTo>
                <a:lnTo>
                  <a:pt x="4938342" y="315853"/>
                </a:lnTo>
                <a:lnTo>
                  <a:pt x="4988724" y="315853"/>
                </a:lnTo>
                <a:lnTo>
                  <a:pt x="4988724" y="208573"/>
                </a:lnTo>
                <a:lnTo>
                  <a:pt x="5054198" y="208573"/>
                </a:lnTo>
                <a:lnTo>
                  <a:pt x="5054198" y="2128225"/>
                </a:lnTo>
                <a:lnTo>
                  <a:pt x="0" y="2128225"/>
                </a:lnTo>
                <a:lnTo>
                  <a:pt x="0" y="1924598"/>
                </a:lnTo>
                <a:lnTo>
                  <a:pt x="238597" y="1924598"/>
                </a:lnTo>
                <a:lnTo>
                  <a:pt x="238597" y="1817588"/>
                </a:lnTo>
                <a:lnTo>
                  <a:pt x="407851" y="1817588"/>
                </a:lnTo>
                <a:lnTo>
                  <a:pt x="407851" y="1924714"/>
                </a:lnTo>
                <a:lnTo>
                  <a:pt x="547812" y="1924714"/>
                </a:lnTo>
                <a:lnTo>
                  <a:pt x="547812" y="1710230"/>
                </a:lnTo>
                <a:lnTo>
                  <a:pt x="819401" y="1710230"/>
                </a:lnTo>
                <a:lnTo>
                  <a:pt x="819401" y="1602678"/>
                </a:lnTo>
                <a:lnTo>
                  <a:pt x="1026451" y="1602678"/>
                </a:lnTo>
                <a:lnTo>
                  <a:pt x="1026451" y="1495358"/>
                </a:lnTo>
                <a:lnTo>
                  <a:pt x="1118922" y="1495358"/>
                </a:lnTo>
                <a:lnTo>
                  <a:pt x="1118922" y="1387806"/>
                </a:lnTo>
                <a:lnTo>
                  <a:pt x="1169303" y="1387806"/>
                </a:lnTo>
                <a:lnTo>
                  <a:pt x="1169303" y="1495358"/>
                </a:lnTo>
                <a:lnTo>
                  <a:pt x="1392722" y="1495358"/>
                </a:lnTo>
                <a:lnTo>
                  <a:pt x="1392722" y="1602678"/>
                </a:lnTo>
                <a:lnTo>
                  <a:pt x="1442720" y="1602678"/>
                </a:lnTo>
                <a:lnTo>
                  <a:pt x="1442720" y="1495358"/>
                </a:lnTo>
                <a:lnTo>
                  <a:pt x="1546670" y="1495358"/>
                </a:lnTo>
                <a:lnTo>
                  <a:pt x="1546670" y="1387806"/>
                </a:lnTo>
                <a:lnTo>
                  <a:pt x="1835691" y="1387806"/>
                </a:lnTo>
                <a:lnTo>
                  <a:pt x="1835691" y="1495358"/>
                </a:lnTo>
                <a:lnTo>
                  <a:pt x="2068803" y="1495358"/>
                </a:lnTo>
                <a:lnTo>
                  <a:pt x="2068803" y="1388039"/>
                </a:lnTo>
                <a:lnTo>
                  <a:pt x="2295623" y="1388039"/>
                </a:lnTo>
                <a:lnTo>
                  <a:pt x="2295623" y="1280720"/>
                </a:lnTo>
                <a:lnTo>
                  <a:pt x="2199538" y="1280720"/>
                </a:lnTo>
                <a:lnTo>
                  <a:pt x="2199538" y="1173400"/>
                </a:lnTo>
                <a:lnTo>
                  <a:pt x="2566999" y="1173400"/>
                </a:lnTo>
                <a:lnTo>
                  <a:pt x="2566999" y="1066081"/>
                </a:lnTo>
                <a:lnTo>
                  <a:pt x="2790928" y="1066081"/>
                </a:lnTo>
                <a:lnTo>
                  <a:pt x="2790928" y="958762"/>
                </a:lnTo>
                <a:lnTo>
                  <a:pt x="3015282" y="958762"/>
                </a:lnTo>
                <a:lnTo>
                  <a:pt x="3015282" y="1066081"/>
                </a:lnTo>
                <a:lnTo>
                  <a:pt x="3160388" y="1066081"/>
                </a:lnTo>
                <a:lnTo>
                  <a:pt x="3160388" y="851442"/>
                </a:lnTo>
                <a:lnTo>
                  <a:pt x="3249968" y="851442"/>
                </a:lnTo>
                <a:lnTo>
                  <a:pt x="3249968" y="958762"/>
                </a:lnTo>
                <a:lnTo>
                  <a:pt x="3300306" y="958762"/>
                </a:lnTo>
                <a:lnTo>
                  <a:pt x="3300306" y="851442"/>
                </a:lnTo>
                <a:lnTo>
                  <a:pt x="3524236" y="851442"/>
                </a:lnTo>
                <a:lnTo>
                  <a:pt x="3524236" y="958762"/>
                </a:lnTo>
                <a:lnTo>
                  <a:pt x="3574616" y="958762"/>
                </a:lnTo>
                <a:lnTo>
                  <a:pt x="3574616" y="851442"/>
                </a:lnTo>
                <a:lnTo>
                  <a:pt x="3707860" y="851442"/>
                </a:lnTo>
                <a:lnTo>
                  <a:pt x="3707860" y="745131"/>
                </a:lnTo>
                <a:lnTo>
                  <a:pt x="3650719" y="745131"/>
                </a:lnTo>
                <a:lnTo>
                  <a:pt x="3650719" y="637812"/>
                </a:lnTo>
                <a:lnTo>
                  <a:pt x="3765978" y="637812"/>
                </a:lnTo>
                <a:lnTo>
                  <a:pt x="3765978" y="530493"/>
                </a:lnTo>
                <a:lnTo>
                  <a:pt x="3816360" y="530493"/>
                </a:lnTo>
                <a:lnTo>
                  <a:pt x="3816360" y="637812"/>
                </a:lnTo>
                <a:lnTo>
                  <a:pt x="3874308" y="637812"/>
                </a:lnTo>
                <a:lnTo>
                  <a:pt x="3874308" y="530493"/>
                </a:lnTo>
                <a:lnTo>
                  <a:pt x="4098194" y="530493"/>
                </a:lnTo>
                <a:lnTo>
                  <a:pt x="4098194" y="637812"/>
                </a:lnTo>
                <a:lnTo>
                  <a:pt x="4281096" y="637812"/>
                </a:lnTo>
                <a:lnTo>
                  <a:pt x="4281096" y="530493"/>
                </a:lnTo>
                <a:lnTo>
                  <a:pt x="4191855" y="530493"/>
                </a:lnTo>
                <a:lnTo>
                  <a:pt x="4191855" y="423174"/>
                </a:lnTo>
                <a:lnTo>
                  <a:pt x="4524710" y="423174"/>
                </a:lnTo>
                <a:lnTo>
                  <a:pt x="4524710" y="315853"/>
                </a:lnTo>
                <a:lnTo>
                  <a:pt x="4714499" y="315853"/>
                </a:lnTo>
                <a:lnTo>
                  <a:pt x="4714499" y="208573"/>
                </a:lnTo>
                <a:lnTo>
                  <a:pt x="4798382" y="208573"/>
                </a:lnTo>
                <a:close/>
                <a:moveTo>
                  <a:pt x="4988724" y="0"/>
                </a:moveTo>
                <a:lnTo>
                  <a:pt x="5054240" y="0"/>
                </a:lnTo>
                <a:lnTo>
                  <a:pt x="5054240" y="101253"/>
                </a:lnTo>
                <a:lnTo>
                  <a:pt x="4988724" y="101253"/>
                </a:lnTo>
                <a:close/>
              </a:path>
            </a:pathLst>
          </a:custGeom>
        </p:spPr>
      </p:pic>
      <p:sp>
        <p:nvSpPr>
          <p:cNvPr id="2" name="Title 2">
            <a:extLst>
              <a:ext uri="{FF2B5EF4-FFF2-40B4-BE49-F238E27FC236}">
                <a16:creationId xmlns:a16="http://schemas.microsoft.com/office/drawing/2014/main" id="{A359BC39-9F0F-F78E-7370-539E6E562D6E}"/>
              </a:ext>
            </a:extLst>
          </p:cNvPr>
          <p:cNvSpPr txBox="1">
            <a:spLocks/>
          </p:cNvSpPr>
          <p:nvPr userDrawn="1">
            <p:custDataLst>
              <p:tags r:id="rId1"/>
            </p:custDataLst>
          </p:nvPr>
        </p:nvSpPr>
        <p:spPr>
          <a:xfrm>
            <a:off x="335407" y="400812"/>
            <a:ext cx="8261924"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noProof="0">
              <a:ln>
                <a:noFill/>
              </a:ln>
              <a:solidFill>
                <a:srgbClr val="63666A"/>
              </a:solidFill>
              <a:effectLst/>
              <a:uLnTx/>
              <a:uFillTx/>
              <a:latin typeface="Arial"/>
              <a:ea typeface="+mj-ea"/>
              <a:cs typeface="+mj-cs"/>
            </a:endParaRPr>
          </a:p>
        </p:txBody>
      </p:sp>
    </p:spTree>
    <p:extLst>
      <p:ext uri="{BB962C8B-B14F-4D97-AF65-F5344CB8AC3E}">
        <p14:creationId xmlns:p14="http://schemas.microsoft.com/office/powerpoint/2010/main" val="3465041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70560" y="1633728"/>
            <a:ext cx="8778240" cy="4335272"/>
          </a:xfrm>
        </p:spPr>
        <p:txBody>
          <a:bodyPr lIns="0" tIns="0" rIns="0" bIns="0">
            <a:normAutofit/>
          </a:bodyPr>
          <a:lstStyle>
            <a:lvl1pPr marL="230712" indent="-230712">
              <a:lnSpc>
                <a:spcPct val="90000"/>
              </a:lnSpc>
              <a:spcBef>
                <a:spcPts val="1600"/>
              </a:spcBef>
              <a:spcAft>
                <a:spcPts val="0"/>
              </a:spcAft>
              <a:buClr>
                <a:schemeClr val="tx1"/>
              </a:buClr>
              <a:buFont typeface="Arial" panose="020B0604020202020204" pitchFamily="34" charset="0"/>
              <a:buChar char="•"/>
              <a:defRPr sz="2667" b="0" baseline="0">
                <a:solidFill>
                  <a:schemeClr val="tx1"/>
                </a:solidFill>
              </a:defRPr>
            </a:lvl1pPr>
            <a:lvl2pPr marL="531271" indent="-154513">
              <a:lnSpc>
                <a:spcPct val="90000"/>
              </a:lnSpc>
              <a:spcBef>
                <a:spcPts val="800"/>
              </a:spcBef>
              <a:spcAft>
                <a:spcPts val="0"/>
              </a:spcAft>
              <a:buClr>
                <a:schemeClr val="accent1"/>
              </a:buClr>
              <a:buFont typeface="Arial" panose="020B0604020202020204" pitchFamily="34" charset="0"/>
              <a:buChar char="-"/>
              <a:tabLst/>
              <a:defRPr sz="2133" baseline="0">
                <a:solidFill>
                  <a:schemeClr val="accent1"/>
                </a:solidFill>
              </a:defRPr>
            </a:lvl2pPr>
            <a:lvl3pPr marL="766214" indent="-152396">
              <a:lnSpc>
                <a:spcPct val="100000"/>
              </a:lnSpc>
              <a:spcBef>
                <a:spcPts val="800"/>
              </a:spcBef>
              <a:buClr>
                <a:schemeClr val="accent1"/>
              </a:buClr>
              <a:buFont typeface="Arial" panose="020B0604020202020204" pitchFamily="34" charset="0"/>
              <a:buChar char="-"/>
              <a:defRPr sz="1867">
                <a:solidFill>
                  <a:schemeClr val="accent1"/>
                </a:solidFill>
              </a:defRPr>
            </a:lvl3pPr>
            <a:lvl5pPr>
              <a:defRPr/>
            </a:lvl5pPr>
          </a:lstStyle>
          <a:p>
            <a:pPr>
              <a:buClr>
                <a:schemeClr val="tx1"/>
              </a:buClr>
            </a:pPr>
            <a:r>
              <a:rPr lang="en-US"/>
              <a:t>First Level</a:t>
            </a:r>
          </a:p>
          <a:p>
            <a:pPr lvl="1">
              <a:buClr>
                <a:schemeClr val="tx1"/>
              </a:buClr>
            </a:pPr>
            <a:r>
              <a:rPr lang="en-US"/>
              <a:t>Second Level</a:t>
            </a:r>
          </a:p>
          <a:p>
            <a:pPr lvl="2">
              <a:buClr>
                <a:schemeClr val="tx1"/>
              </a:buClr>
            </a:pPr>
            <a:r>
              <a:rPr lang="en-US"/>
              <a:t>Third Level</a:t>
            </a:r>
          </a:p>
        </p:txBody>
      </p:sp>
      <p:sp>
        <p:nvSpPr>
          <p:cNvPr id="10" name="Title 1"/>
          <p:cNvSpPr>
            <a:spLocks noGrp="1"/>
          </p:cNvSpPr>
          <p:nvPr>
            <p:ph type="title" hasCustomPrompt="1"/>
          </p:nvPr>
        </p:nvSpPr>
        <p:spPr>
          <a:xfrm>
            <a:off x="670560" y="381000"/>
            <a:ext cx="10911840" cy="844296"/>
          </a:xfrm>
        </p:spPr>
        <p:txBody>
          <a:bodyPr anchor="b" anchorCtr="0"/>
          <a:lstStyle>
            <a:lvl1pPr>
              <a:defRPr/>
            </a:lvl1pPr>
          </a:lstStyle>
          <a:p>
            <a:br>
              <a:rPr lang="en-US"/>
            </a:br>
            <a:r>
              <a:rPr lang="en-US"/>
              <a:t>Click to edit Master title style</a:t>
            </a:r>
          </a:p>
        </p:txBody>
      </p:sp>
    </p:spTree>
    <p:extLst>
      <p:ext uri="{BB962C8B-B14F-4D97-AF65-F5344CB8AC3E}">
        <p14:creationId xmlns:p14="http://schemas.microsoft.com/office/powerpoint/2010/main" val="3943765326"/>
      </p:ext>
    </p:extLst>
  </p:cSld>
  <p:clrMapOvr>
    <a:masterClrMapping/>
  </p:clrMapOvr>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_Title, subtitle and content layout">
    <p:bg>
      <p:bgPr>
        <a:solidFill>
          <a:schemeClr val="tx1"/>
        </a:solidFill>
        <a:effectLst/>
      </p:bgPr>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0">
                <a:solidFill>
                  <a:schemeClr val="bg1"/>
                </a:solidFill>
              </a:defRPr>
            </a:lvl1pPr>
          </a:lstStyle>
          <a:p>
            <a:pPr lvl="0"/>
            <a:r>
              <a:rPr lang="en-US"/>
              <a:t>Click to add subheading</a:t>
            </a:r>
            <a:endParaRPr lang="en-GB"/>
          </a:p>
        </p:txBody>
      </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600" y="2487726"/>
            <a:ext cx="7788608" cy="437027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grpSp>
        <p:nvGrpSpPr>
          <p:cNvPr id="8" name="Group 7">
            <a:extLst>
              <a:ext uri="{FF2B5EF4-FFF2-40B4-BE49-F238E27FC236}">
                <a16:creationId xmlns:a16="http://schemas.microsoft.com/office/drawing/2014/main" id="{2782FBF0-9D9E-19AE-DC30-0796829725EF}"/>
              </a:ext>
            </a:extLst>
          </p:cNvPr>
          <p:cNvGrpSpPr/>
          <p:nvPr userDrawn="1"/>
        </p:nvGrpSpPr>
        <p:grpSpPr>
          <a:xfrm>
            <a:off x="10863102" y="309052"/>
            <a:ext cx="911847" cy="382707"/>
            <a:chOff x="7459170" y="481236"/>
            <a:chExt cx="2697427" cy="1132124"/>
          </a:xfrm>
          <a:solidFill>
            <a:schemeClr val="bg1"/>
          </a:solidFill>
        </p:grpSpPr>
        <p:sp>
          <p:nvSpPr>
            <p:cNvPr id="9" name="Freeform 8">
              <a:extLst>
                <a:ext uri="{FF2B5EF4-FFF2-40B4-BE49-F238E27FC236}">
                  <a16:creationId xmlns:a16="http://schemas.microsoft.com/office/drawing/2014/main" id="{42864910-4C7A-3D4E-48CD-D85DC4AD32A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D69A189-E4A4-09BC-625A-758110B855A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BDE20C1-01CD-0CE9-490C-A9CF25F6EB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4EEA97-1562-463A-B42C-64C9073EE06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E66572C-F5C9-C297-A47F-DDF2919DAF5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4611A91-BFB8-7814-3464-E6309F7AED7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D9681DA-ADD0-918D-C879-984AD193B14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102361343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r>
              <a:rPr lang="en-GB"/>
              <a:t>January 2024</a:t>
            </a:r>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0" name="Title Placeholder 13">
            <a:extLst>
              <a:ext uri="{FF2B5EF4-FFF2-40B4-BE49-F238E27FC236}">
                <a16:creationId xmlns:a16="http://schemas.microsoft.com/office/drawing/2014/main" id="{FEDC99D9-7D20-7A02-6B05-F38CE8BA333B}"/>
              </a:ext>
            </a:extLst>
          </p:cNvPr>
          <p:cNvSpPr>
            <a:spLocks noGrp="1"/>
          </p:cNvSpPr>
          <p:nvPr>
            <p:ph type="title"/>
          </p:nvPr>
        </p:nvSpPr>
        <p:spPr>
          <a:xfrm>
            <a:off x="245607" y="120481"/>
            <a:ext cx="10620375" cy="553998"/>
          </a:xfrm>
          <a:prstGeom prst="rect">
            <a:avLst/>
          </a:prstGeom>
        </p:spPr>
        <p:txBody>
          <a:bodyPr vert="horz" wrap="square" lIns="0" tIns="0" rIns="0" bIns="0" rtlCol="0" anchor="t" anchorCtr="0">
            <a:spAutoFit/>
          </a:bodyPr>
          <a:lstStyle/>
          <a:p>
            <a:r>
              <a:rPr lang="en-US"/>
              <a:t>Click to add heading</a:t>
            </a:r>
            <a:endParaRPr lang="en-GB"/>
          </a:p>
        </p:txBody>
      </p:sp>
    </p:spTree>
    <p:extLst>
      <p:ext uri="{BB962C8B-B14F-4D97-AF65-F5344CB8AC3E}">
        <p14:creationId xmlns:p14="http://schemas.microsoft.com/office/powerpoint/2010/main" val="3744147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subtitle and content layout">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8694993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exture-01">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00E2FCD-8CD8-00FD-C558-D19EF5E99D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454" y="133351"/>
            <a:ext cx="11915209" cy="6579552"/>
          </a:xfrm>
          <a:prstGeom prst="rect">
            <a:avLst/>
          </a:prstGeom>
        </p:spPr>
      </p:pic>
      <p:pic>
        <p:nvPicPr>
          <p:cNvPr id="3" name="Picture 2">
            <a:extLst>
              <a:ext uri="{FF2B5EF4-FFF2-40B4-BE49-F238E27FC236}">
                <a16:creationId xmlns:a16="http://schemas.microsoft.com/office/drawing/2014/main" id="{47F70AAE-A14D-86B4-18B7-4837A234728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44079" y="6534150"/>
            <a:ext cx="1539367" cy="120512"/>
          </a:xfrm>
          <a:prstGeom prst="rect">
            <a:avLst/>
          </a:prstGeom>
        </p:spPr>
      </p:pic>
      <p:sp>
        <p:nvSpPr>
          <p:cNvPr id="4" name="Footer Placeholder 3">
            <a:extLst>
              <a:ext uri="{FF2B5EF4-FFF2-40B4-BE49-F238E27FC236}">
                <a16:creationId xmlns:a16="http://schemas.microsoft.com/office/drawing/2014/main" id="{21AED7B6-E930-4B73-845F-99262175EA18}"/>
              </a:ext>
            </a:extLst>
          </p:cNvPr>
          <p:cNvSpPr>
            <a:spLocks noGrp="1"/>
          </p:cNvSpPr>
          <p:nvPr>
            <p:ph type="ftr" sz="quarter" idx="11"/>
          </p:nvPr>
        </p:nvSpPr>
        <p:spPr/>
        <p:txBody>
          <a:bodyPr/>
          <a:lstStyle>
            <a:lvl1pPr>
              <a:defRPr>
                <a:solidFill>
                  <a:srgbClr val="81B2C3"/>
                </a:solidFill>
              </a:defRPr>
            </a:lvl1pPr>
          </a:lstStyle>
          <a:p>
            <a:r>
              <a:rPr lang="en-US"/>
              <a:t>Copyright © 2025, Oracle and/or its affiliates</a:t>
            </a:r>
          </a:p>
        </p:txBody>
      </p:sp>
      <p:sp>
        <p:nvSpPr>
          <p:cNvPr id="5" name="Slide Number Placeholder 4">
            <a:extLst>
              <a:ext uri="{FF2B5EF4-FFF2-40B4-BE49-F238E27FC236}">
                <a16:creationId xmlns:a16="http://schemas.microsoft.com/office/drawing/2014/main" id="{83691DFD-B788-4684-96F9-4DD21020B309}"/>
              </a:ext>
            </a:extLst>
          </p:cNvPr>
          <p:cNvSpPr>
            <a:spLocks noGrp="1"/>
          </p:cNvSpPr>
          <p:nvPr>
            <p:ph type="sldNum" sz="quarter" idx="12"/>
          </p:nvPr>
        </p:nvSpPr>
        <p:spPr/>
        <p:txBody>
          <a:bodyPr/>
          <a:lstStyle>
            <a:lvl1pPr>
              <a:defRPr>
                <a:solidFill>
                  <a:srgbClr val="81B2C3"/>
                </a:solidFill>
              </a:defRPr>
            </a:lvl1pPr>
          </a:lstStyle>
          <a:p>
            <a:fld id="{345D60D9-5372-5F40-9443-0F9AE5BDC3C8}" type="slidenum">
              <a:rPr lang="en-US" smtClean="0"/>
              <a:pPr/>
              <a:t>‹#›</a:t>
            </a:fld>
            <a:endParaRPr lang="en-US"/>
          </a:p>
        </p:txBody>
      </p:sp>
    </p:spTree>
    <p:extLst>
      <p:ext uri="{BB962C8B-B14F-4D97-AF65-F5344CB8AC3E}">
        <p14:creationId xmlns:p14="http://schemas.microsoft.com/office/powerpoint/2010/main" val="218098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793630"/>
            <a:ext cx="10845800" cy="5412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508000" y="620606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Tree>
    <p:extLst>
      <p:ext uri="{BB962C8B-B14F-4D97-AF65-F5344CB8AC3E}">
        <p14:creationId xmlns:p14="http://schemas.microsoft.com/office/powerpoint/2010/main" val="290750075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grpSp>
        <p:nvGrpSpPr>
          <p:cNvPr id="4" name="Group 3"/>
          <p:cNvGrpSpPr/>
          <p:nvPr userDrawn="1"/>
        </p:nvGrpSpPr>
        <p:grpSpPr>
          <a:xfrm>
            <a:off x="603136" y="648306"/>
            <a:ext cx="2303185" cy="45719"/>
            <a:chOff x="586073" y="1056890"/>
            <a:chExt cx="2303185" cy="63781"/>
          </a:xfrm>
        </p:grpSpPr>
        <p:sp>
          <p:nvSpPr>
            <p:cNvPr id="5" name="Rounded Rectangle 4"/>
            <p:cNvSpPr/>
            <p:nvPr/>
          </p:nvSpPr>
          <p:spPr>
            <a:xfrm>
              <a:off x="586073" y="1056890"/>
              <a:ext cx="443834" cy="63781"/>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1048916" y="1056891"/>
              <a:ext cx="661896" cy="6377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1729821" y="1056893"/>
              <a:ext cx="1159437" cy="6377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932325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BBFAE-89EF-4B81-B6D0-BC4B6E92AE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7651F3-3104-4DD8-9DD7-6E53B11708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254781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3"/>
        <p:cNvGrpSpPr/>
        <p:nvPr/>
      </p:nvGrpSpPr>
      <p:grpSpPr>
        <a:xfrm>
          <a:off x="0" y="0"/>
          <a:ext cx="0" cy="0"/>
          <a:chOff x="0" y="0"/>
          <a:chExt cx="0" cy="0"/>
        </a:xfrm>
      </p:grpSpPr>
      <p:sp>
        <p:nvSpPr>
          <p:cNvPr id="74" name="Google Shape;74;p16"/>
          <p:cNvSpPr txBox="1">
            <a:spLocks noGrp="1"/>
          </p:cNvSpPr>
          <p:nvPr>
            <p:ph type="title"/>
          </p:nvPr>
        </p:nvSpPr>
        <p:spPr>
          <a:xfrm>
            <a:off x="677473" y="714169"/>
            <a:ext cx="10837200" cy="4836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75" name="Google Shape;75;p16"/>
          <p:cNvSpPr txBox="1">
            <a:spLocks noGrp="1"/>
          </p:cNvSpPr>
          <p:nvPr>
            <p:ph type="sldNum" idx="12"/>
          </p:nvPr>
        </p:nvSpPr>
        <p:spPr>
          <a:xfrm>
            <a:off x="8771327" y="6402411"/>
            <a:ext cx="2743200" cy="206000"/>
          </a:xfrm>
          <a:prstGeom prst="rect">
            <a:avLst/>
          </a:prstGeom>
          <a:noFill/>
          <a:ln>
            <a:noFill/>
          </a:ln>
        </p:spPr>
        <p:txBody>
          <a:bodyPr spcFirstLastPara="1" wrap="square" lIns="68575" tIns="34275" rIns="68575" bIns="34275"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03538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Title Only no master shape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D5A0623-60BC-4F88-81B3-4F980123049B}"/>
              </a:ext>
            </a:extLst>
          </p:cNvPr>
          <p:cNvGrpSpPr/>
          <p:nvPr/>
        </p:nvGrpSpPr>
        <p:grpSpPr>
          <a:xfrm>
            <a:off x="-711143" y="-654488"/>
            <a:ext cx="13489789" cy="6905917"/>
            <a:chOff x="-533357" y="-490866"/>
            <a:chExt cx="10117342" cy="5179438"/>
          </a:xfrm>
        </p:grpSpPr>
        <p:cxnSp>
          <p:nvCxnSpPr>
            <p:cNvPr id="4" name="Straight Connector 3">
              <a:extLst>
                <a:ext uri="{FF2B5EF4-FFF2-40B4-BE49-F238E27FC236}">
                  <a16:creationId xmlns:a16="http://schemas.microsoft.com/office/drawing/2014/main" id="{01AC6BAD-CAE8-4C4B-AC80-E13065FFEC4E}"/>
                </a:ext>
              </a:extLst>
            </p:cNvPr>
            <p:cNvCxnSpPr/>
            <p:nvPr/>
          </p:nvCxnSpPr>
          <p:spPr>
            <a:xfrm>
              <a:off x="323850" y="-490866"/>
              <a:ext cx="0" cy="2863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BC414B-7C69-45C3-B7B3-AED0FC1AE674}"/>
                </a:ext>
              </a:extLst>
            </p:cNvPr>
            <p:cNvSpPr txBox="1"/>
            <p:nvPr/>
          </p:nvSpPr>
          <p:spPr>
            <a:xfrm>
              <a:off x="398643" y="-431627"/>
              <a:ext cx="473568" cy="167845"/>
            </a:xfrm>
            <a:prstGeom prst="rect">
              <a:avLst/>
            </a:prstGeom>
            <a:noFill/>
          </p:spPr>
          <p:txBody>
            <a:bodyPr wrap="none" lIns="0" tIns="0" rIns="0" bIns="0" rtlCol="0">
              <a:noAutofit/>
            </a:bodyPr>
            <a:lstStyle/>
            <a:p>
              <a:r>
                <a:rPr lang="en-US" sz="1467"/>
                <a:t>11.80</a:t>
              </a:r>
            </a:p>
            <a:p>
              <a:endParaRPr lang="en-US" sz="1467"/>
            </a:p>
          </p:txBody>
        </p:sp>
        <p:cxnSp>
          <p:nvCxnSpPr>
            <p:cNvPr id="6" name="Straight Connector 5">
              <a:extLst>
                <a:ext uri="{FF2B5EF4-FFF2-40B4-BE49-F238E27FC236}">
                  <a16:creationId xmlns:a16="http://schemas.microsoft.com/office/drawing/2014/main" id="{9687FBDB-66F8-4C32-BA7D-A391312962E7}"/>
                </a:ext>
              </a:extLst>
            </p:cNvPr>
            <p:cNvCxnSpPr/>
            <p:nvPr/>
          </p:nvCxnSpPr>
          <p:spPr>
            <a:xfrm rot="5400000">
              <a:off x="-353394" y="778360"/>
              <a:ext cx="0" cy="35992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6A8C85D-794A-49DF-86DA-C333E6438E22}"/>
                </a:ext>
              </a:extLst>
            </p:cNvPr>
            <p:cNvSpPr txBox="1"/>
            <p:nvPr/>
          </p:nvSpPr>
          <p:spPr>
            <a:xfrm>
              <a:off x="-533356" y="758929"/>
              <a:ext cx="359926" cy="134040"/>
            </a:xfrm>
            <a:prstGeom prst="rect">
              <a:avLst/>
            </a:prstGeom>
            <a:noFill/>
          </p:spPr>
          <p:txBody>
            <a:bodyPr wrap="none" lIns="0" tIns="0" rIns="0" bIns="0" rtlCol="0">
              <a:noAutofit/>
            </a:bodyPr>
            <a:lstStyle/>
            <a:p>
              <a:r>
                <a:rPr lang="en-US" sz="1467"/>
                <a:t>4.50</a:t>
              </a:r>
            </a:p>
            <a:p>
              <a:endParaRPr lang="en-US" sz="1467"/>
            </a:p>
          </p:txBody>
        </p:sp>
        <p:cxnSp>
          <p:nvCxnSpPr>
            <p:cNvPr id="8" name="Straight Connector 7">
              <a:extLst>
                <a:ext uri="{FF2B5EF4-FFF2-40B4-BE49-F238E27FC236}">
                  <a16:creationId xmlns:a16="http://schemas.microsoft.com/office/drawing/2014/main" id="{53B9F8AE-8065-4597-A54B-C7719CD0F76E}"/>
                </a:ext>
              </a:extLst>
            </p:cNvPr>
            <p:cNvCxnSpPr/>
            <p:nvPr/>
          </p:nvCxnSpPr>
          <p:spPr>
            <a:xfrm rot="5400000">
              <a:off x="-353394" y="4303288"/>
              <a:ext cx="0" cy="35992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CD1E091-0C7C-436F-A560-2D8CF803AEEE}"/>
                </a:ext>
              </a:extLst>
            </p:cNvPr>
            <p:cNvSpPr txBox="1"/>
            <p:nvPr/>
          </p:nvSpPr>
          <p:spPr>
            <a:xfrm>
              <a:off x="-533357" y="4500504"/>
              <a:ext cx="359926" cy="188068"/>
            </a:xfrm>
            <a:prstGeom prst="rect">
              <a:avLst/>
            </a:prstGeom>
            <a:noFill/>
          </p:spPr>
          <p:txBody>
            <a:bodyPr wrap="none" lIns="0" tIns="0" rIns="0" bIns="0" rtlCol="0">
              <a:noAutofit/>
            </a:bodyPr>
            <a:lstStyle/>
            <a:p>
              <a:r>
                <a:rPr lang="en-US" sz="1467"/>
                <a:t>5.30</a:t>
              </a:r>
            </a:p>
          </p:txBody>
        </p:sp>
        <p:cxnSp>
          <p:nvCxnSpPr>
            <p:cNvPr id="10" name="Straight Connector 9">
              <a:extLst>
                <a:ext uri="{FF2B5EF4-FFF2-40B4-BE49-F238E27FC236}">
                  <a16:creationId xmlns:a16="http://schemas.microsoft.com/office/drawing/2014/main" id="{A26E0A9B-1645-4460-81B9-5765EB992FA2}"/>
                </a:ext>
              </a:extLst>
            </p:cNvPr>
            <p:cNvCxnSpPr/>
            <p:nvPr/>
          </p:nvCxnSpPr>
          <p:spPr>
            <a:xfrm>
              <a:off x="8974776" y="-457283"/>
              <a:ext cx="0" cy="2863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7DACE08-B42A-41E8-ACB1-0ECBBBFB6C36}"/>
                </a:ext>
              </a:extLst>
            </p:cNvPr>
            <p:cNvSpPr txBox="1"/>
            <p:nvPr/>
          </p:nvSpPr>
          <p:spPr>
            <a:xfrm>
              <a:off x="9110417" y="-398045"/>
              <a:ext cx="473568" cy="167845"/>
            </a:xfrm>
            <a:prstGeom prst="rect">
              <a:avLst/>
            </a:prstGeom>
            <a:noFill/>
          </p:spPr>
          <p:txBody>
            <a:bodyPr wrap="none" lIns="0" tIns="0" rIns="0" bIns="0" rtlCol="0">
              <a:noAutofit/>
            </a:bodyPr>
            <a:lstStyle/>
            <a:p>
              <a:r>
                <a:rPr lang="en-US" sz="1467"/>
                <a:t>12.20</a:t>
              </a:r>
            </a:p>
            <a:p>
              <a:endParaRPr lang="en-US" sz="1467"/>
            </a:p>
          </p:txBody>
        </p:sp>
      </p:gr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491505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2 Logo">
  <p:cSld name="2 Logo">
    <p:spTree>
      <p:nvGrpSpPr>
        <p:cNvPr id="1" name="Shape 1292"/>
        <p:cNvGrpSpPr/>
        <p:nvPr/>
      </p:nvGrpSpPr>
      <p:grpSpPr>
        <a:xfrm>
          <a:off x="0" y="0"/>
          <a:ext cx="0" cy="0"/>
          <a:chOff x="0" y="0"/>
          <a:chExt cx="0" cy="0"/>
        </a:xfrm>
      </p:grpSpPr>
      <p:pic>
        <p:nvPicPr>
          <p:cNvPr id="1293" name="Google Shape;1293;p76"/>
          <p:cNvPicPr preferRelativeResize="0"/>
          <p:nvPr/>
        </p:nvPicPr>
        <p:blipFill rotWithShape="1">
          <a:blip r:embed="rId2">
            <a:alphaModFix/>
          </a:blip>
          <a:srcRect/>
          <a:stretch/>
        </p:blipFill>
        <p:spPr>
          <a:xfrm>
            <a:off x="11033333" y="565460"/>
            <a:ext cx="635735" cy="445095"/>
          </a:xfrm>
          <a:prstGeom prst="rect">
            <a:avLst/>
          </a:prstGeom>
          <a:noFill/>
          <a:ln>
            <a:noFill/>
          </a:ln>
        </p:spPr>
      </p:pic>
    </p:spTree>
    <p:extLst>
      <p:ext uri="{BB962C8B-B14F-4D97-AF65-F5344CB8AC3E}">
        <p14:creationId xmlns:p14="http://schemas.microsoft.com/office/powerpoint/2010/main" val="12412551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matchingName="Basic - two line">
  <p:cSld name="Basic - two line">
    <p:spTree>
      <p:nvGrpSpPr>
        <p:cNvPr id="1" name="Shape 3964"/>
        <p:cNvGrpSpPr/>
        <p:nvPr/>
      </p:nvGrpSpPr>
      <p:grpSpPr>
        <a:xfrm>
          <a:off x="0" y="0"/>
          <a:ext cx="0" cy="0"/>
          <a:chOff x="0" y="0"/>
          <a:chExt cx="0" cy="0"/>
        </a:xfrm>
      </p:grpSpPr>
      <p:pic>
        <p:nvPicPr>
          <p:cNvPr id="3965" name="Google Shape;3965;p277" descr="Salesforce logoGoogle Shape;13;p3"/>
          <p:cNvPicPr preferRelativeResize="0"/>
          <p:nvPr/>
        </p:nvPicPr>
        <p:blipFill rotWithShape="1">
          <a:blip r:embed="rId2">
            <a:alphaModFix/>
          </a:blip>
          <a:srcRect/>
          <a:stretch/>
        </p:blipFill>
        <p:spPr>
          <a:xfrm>
            <a:off x="11033333" y="565459"/>
            <a:ext cx="635735" cy="445096"/>
          </a:xfrm>
          <a:prstGeom prst="rect">
            <a:avLst/>
          </a:prstGeom>
          <a:noFill/>
          <a:ln>
            <a:noFill/>
          </a:ln>
        </p:spPr>
      </p:pic>
      <p:sp>
        <p:nvSpPr>
          <p:cNvPr id="3966" name="Google Shape;3966;p277"/>
          <p:cNvSpPr txBox="1">
            <a:spLocks noGrp="1"/>
          </p:cNvSpPr>
          <p:nvPr>
            <p:ph type="body" idx="1"/>
          </p:nvPr>
        </p:nvSpPr>
        <p:spPr>
          <a:xfrm>
            <a:off x="547366" y="6365912"/>
            <a:ext cx="11040000" cy="165600"/>
          </a:xfrm>
          <a:prstGeom prst="rect">
            <a:avLst/>
          </a:prstGeom>
          <a:noFill/>
          <a:ln>
            <a:noFill/>
          </a:ln>
        </p:spPr>
        <p:txBody>
          <a:bodyPr spcFirstLastPara="1" wrap="square" lIns="0" tIns="0" rIns="0" bIns="0" anchor="b" anchorCtr="0">
            <a:noAutofit/>
          </a:bodyPr>
          <a:lstStyle>
            <a:lvl1pPr marL="304815" lvl="0" indent="-152408" algn="l">
              <a:lnSpc>
                <a:spcPct val="115000"/>
              </a:lnSpc>
              <a:spcBef>
                <a:spcPts val="0"/>
              </a:spcBef>
              <a:spcAft>
                <a:spcPts val="0"/>
              </a:spcAft>
              <a:buClr>
                <a:srgbClr val="444444"/>
              </a:buClr>
              <a:buSzPts val="1400"/>
              <a:buFont typeface="Salesforce Sans"/>
              <a:buNone/>
              <a:defRPr sz="933">
                <a:solidFill>
                  <a:srgbClr val="444444"/>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7" name="Google Shape;3967;p277"/>
          <p:cNvSpPr txBox="1">
            <a:spLocks noGrp="1"/>
          </p:cNvSpPr>
          <p:nvPr>
            <p:ph type="body" idx="2"/>
          </p:nvPr>
        </p:nvSpPr>
        <p:spPr>
          <a:xfrm>
            <a:off x="547369" y="579119"/>
            <a:ext cx="10095200" cy="1042400"/>
          </a:xfrm>
          <a:prstGeom prst="rect">
            <a:avLst/>
          </a:prstGeom>
          <a:noFill/>
          <a:ln>
            <a:noFill/>
          </a:ln>
        </p:spPr>
        <p:txBody>
          <a:bodyPr spcFirstLastPara="1" wrap="square" lIns="0" tIns="0" rIns="0" bIns="0" anchor="t" anchorCtr="0">
            <a:noAutofit/>
          </a:bodyPr>
          <a:lstStyle>
            <a:lvl1pPr marL="304815" lvl="0" indent="-279414" algn="l">
              <a:lnSpc>
                <a:spcPct val="100000"/>
              </a:lnSpc>
              <a:spcBef>
                <a:spcPts val="533"/>
              </a:spcBef>
              <a:spcAft>
                <a:spcPts val="0"/>
              </a:spcAft>
              <a:buSzPts val="3000"/>
              <a:buChar char="●"/>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8" name="Google Shape;3968;p277"/>
          <p:cNvSpPr txBox="1">
            <a:spLocks noGrp="1"/>
          </p:cNvSpPr>
          <p:nvPr>
            <p:ph type="body" idx="3"/>
          </p:nvPr>
        </p:nvSpPr>
        <p:spPr>
          <a:xfrm>
            <a:off x="547369" y="1676400"/>
            <a:ext cx="10095200" cy="597600"/>
          </a:xfrm>
          <a:prstGeom prst="rect">
            <a:avLst/>
          </a:prstGeom>
          <a:noFill/>
          <a:ln>
            <a:noFill/>
          </a:ln>
        </p:spPr>
        <p:txBody>
          <a:bodyPr spcFirstLastPara="1" wrap="square" lIns="0" tIns="0" rIns="0" bIns="0" anchor="t" anchorCtr="0">
            <a:noAutofit/>
          </a:bodyPr>
          <a:lstStyle>
            <a:lvl1pPr marL="304815" lvl="0" indent="-152408" algn="l">
              <a:lnSpc>
                <a:spcPct val="90000"/>
              </a:lnSpc>
              <a:spcBef>
                <a:spcPts val="0"/>
              </a:spcBef>
              <a:spcAft>
                <a:spcPts val="0"/>
              </a:spcAft>
              <a:buClr>
                <a:srgbClr val="032D60"/>
              </a:buClr>
              <a:buSzPts val="3600"/>
              <a:buFont typeface="Salesforce Sans"/>
              <a:buNone/>
              <a:defRPr sz="2400">
                <a:solidFill>
                  <a:srgbClr val="032D60"/>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9" name="Google Shape;3969;p277"/>
          <p:cNvSpPr txBox="1">
            <a:spLocks noGrp="1"/>
          </p:cNvSpPr>
          <p:nvPr>
            <p:ph type="sldNum" idx="12"/>
          </p:nvPr>
        </p:nvSpPr>
        <p:spPr>
          <a:xfrm>
            <a:off x="5892799" y="6126500"/>
            <a:ext cx="2844800" cy="460000"/>
          </a:xfrm>
          <a:prstGeom prst="rect">
            <a:avLst/>
          </a:prstGeom>
          <a:noFill/>
          <a:ln>
            <a:noFill/>
          </a:ln>
        </p:spPr>
        <p:txBody>
          <a:bodyPr spcFirstLastPara="1" wrap="square" lIns="182850" tIns="182850" rIns="182850" bIns="182850" anchor="ctr" anchorCtr="0">
            <a:normAutofit/>
          </a:bodyPr>
          <a:lstStyle>
            <a:lvl1pPr marL="0" lvl="0"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1pPr>
            <a:lvl2pPr marL="0" lvl="1"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2pPr>
            <a:lvl3pPr marL="0" lvl="2"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3pPr>
            <a:lvl4pPr marL="0" lvl="3"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4pPr>
            <a:lvl5pPr marL="0" lvl="4"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5pPr>
            <a:lvl6pPr marL="0" lvl="5"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6pPr>
            <a:lvl7pPr marL="0" lvl="6"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7pPr>
            <a:lvl8pPr marL="0" lvl="7"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8pPr>
            <a:lvl9pPr marL="0" lvl="8"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9pPr>
          </a:lstStyle>
          <a:p>
            <a:fld id="{00000000-1234-1234-1234-123412341234}" type="slidenum">
              <a:rPr lang="en" smtClean="0"/>
              <a:pPr/>
              <a:t>‹#›</a:t>
            </a:fld>
            <a:endParaRPr lang="en">
              <a:solidFill>
                <a:schemeClr val="dk2"/>
              </a:solidFill>
              <a:latin typeface="Arial"/>
              <a:ea typeface="Arial"/>
              <a:cs typeface="Arial"/>
              <a:sym typeface="Arial"/>
            </a:endParaRPr>
          </a:p>
        </p:txBody>
      </p:sp>
    </p:spTree>
    <p:extLst>
      <p:ext uri="{BB962C8B-B14F-4D97-AF65-F5344CB8AC3E}">
        <p14:creationId xmlns:p14="http://schemas.microsoft.com/office/powerpoint/2010/main" val="14108717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37 Product feature 1">
  <p:cSld name="37 Product feature 1">
    <p:bg>
      <p:bgPr>
        <a:solidFill>
          <a:schemeClr val="accent5"/>
        </a:solidFill>
        <a:effectLst/>
      </p:bgPr>
    </p:bg>
    <p:spTree>
      <p:nvGrpSpPr>
        <p:cNvPr id="1" name="Shape 4401"/>
        <p:cNvGrpSpPr/>
        <p:nvPr/>
      </p:nvGrpSpPr>
      <p:grpSpPr>
        <a:xfrm>
          <a:off x="0" y="0"/>
          <a:ext cx="0" cy="0"/>
          <a:chOff x="0" y="0"/>
          <a:chExt cx="0" cy="0"/>
        </a:xfrm>
      </p:grpSpPr>
      <p:pic>
        <p:nvPicPr>
          <p:cNvPr id="4402" name="Google Shape;4402;p320"/>
          <p:cNvPicPr preferRelativeResize="0"/>
          <p:nvPr/>
        </p:nvPicPr>
        <p:blipFill rotWithShape="1">
          <a:blip r:embed="rId2">
            <a:alphaModFix amt="38000"/>
          </a:blip>
          <a:srcRect l="894" t="10837" r="42467" b="30071"/>
          <a:stretch/>
        </p:blipFill>
        <p:spPr>
          <a:xfrm rot="10800000" flipH="1">
            <a:off x="9361771" y="-45033"/>
            <a:ext cx="3236721" cy="2336147"/>
          </a:xfrm>
          <a:prstGeom prst="rect">
            <a:avLst/>
          </a:prstGeom>
          <a:noFill/>
          <a:ln>
            <a:noFill/>
          </a:ln>
        </p:spPr>
      </p:pic>
      <p:pic>
        <p:nvPicPr>
          <p:cNvPr id="4403" name="Google Shape;4403;p320"/>
          <p:cNvPicPr preferRelativeResize="0"/>
          <p:nvPr/>
        </p:nvPicPr>
        <p:blipFill rotWithShape="1">
          <a:blip r:embed="rId3">
            <a:alphaModFix/>
          </a:blip>
          <a:srcRect t="10944" r="11426"/>
          <a:stretch/>
        </p:blipFill>
        <p:spPr>
          <a:xfrm flipH="1">
            <a:off x="1629" y="107376"/>
            <a:ext cx="6496522" cy="5469049"/>
          </a:xfrm>
          <a:prstGeom prst="rect">
            <a:avLst/>
          </a:prstGeom>
          <a:noFill/>
          <a:ln>
            <a:noFill/>
          </a:ln>
        </p:spPr>
      </p:pic>
      <p:grpSp>
        <p:nvGrpSpPr>
          <p:cNvPr id="4404" name="Google Shape;4404;p320"/>
          <p:cNvGrpSpPr/>
          <p:nvPr/>
        </p:nvGrpSpPr>
        <p:grpSpPr>
          <a:xfrm flipH="1">
            <a:off x="-205" y="5794637"/>
            <a:ext cx="3697085" cy="1064200"/>
            <a:chOff x="8490945" y="5794637"/>
            <a:chExt cx="3696100" cy="1064200"/>
          </a:xfrm>
        </p:grpSpPr>
        <p:pic>
          <p:nvPicPr>
            <p:cNvPr id="4405" name="Google Shape;4405;p320" title="alt=&quot;&quot;"/>
            <p:cNvPicPr preferRelativeResize="0"/>
            <p:nvPr/>
          </p:nvPicPr>
          <p:blipFill rotWithShape="1">
            <a:blip r:embed="rId4">
              <a:alphaModFix/>
            </a:blip>
            <a:srcRect b="9428"/>
            <a:stretch/>
          </p:blipFill>
          <p:spPr>
            <a:xfrm rot="5">
              <a:off x="8490945" y="5999329"/>
              <a:ext cx="2927399" cy="858670"/>
            </a:xfrm>
            <a:prstGeom prst="rect">
              <a:avLst/>
            </a:prstGeom>
            <a:noFill/>
            <a:ln>
              <a:noFill/>
            </a:ln>
          </p:spPr>
        </p:pic>
        <p:pic>
          <p:nvPicPr>
            <p:cNvPr id="4406" name="Google Shape;4406;p320" title="alt=&quot;&quot;"/>
            <p:cNvPicPr preferRelativeResize="0"/>
            <p:nvPr/>
          </p:nvPicPr>
          <p:blipFill rotWithShape="1">
            <a:blip r:embed="rId5">
              <a:alphaModFix/>
            </a:blip>
            <a:srcRect l="19156" t="21979" r="31986" b="38630"/>
            <a:stretch/>
          </p:blipFill>
          <p:spPr>
            <a:xfrm>
              <a:off x="10330873" y="5794637"/>
              <a:ext cx="1856172" cy="1064200"/>
            </a:xfrm>
            <a:prstGeom prst="rect">
              <a:avLst/>
            </a:prstGeom>
            <a:noFill/>
            <a:ln>
              <a:noFill/>
            </a:ln>
          </p:spPr>
        </p:pic>
      </p:grpSp>
      <p:pic>
        <p:nvPicPr>
          <p:cNvPr id="4407" name="Google Shape;4407;p320"/>
          <p:cNvPicPr preferRelativeResize="0"/>
          <p:nvPr/>
        </p:nvPicPr>
        <p:blipFill rotWithShape="1">
          <a:blip r:embed="rId6">
            <a:alphaModFix/>
          </a:blip>
          <a:srcRect r="9966"/>
          <a:stretch/>
        </p:blipFill>
        <p:spPr>
          <a:xfrm>
            <a:off x="11022809" y="5971339"/>
            <a:ext cx="1182147" cy="890026"/>
          </a:xfrm>
          <a:prstGeom prst="rect">
            <a:avLst/>
          </a:prstGeom>
          <a:noFill/>
          <a:ln>
            <a:noFill/>
          </a:ln>
        </p:spPr>
      </p:pic>
      <p:pic>
        <p:nvPicPr>
          <p:cNvPr id="4408" name="Google Shape;4408;p320" descr="pasted-image.pdf"/>
          <p:cNvPicPr preferRelativeResize="0"/>
          <p:nvPr/>
        </p:nvPicPr>
        <p:blipFill rotWithShape="1">
          <a:blip r:embed="rId7">
            <a:alphaModFix/>
          </a:blip>
          <a:srcRect/>
          <a:stretch/>
        </p:blipFill>
        <p:spPr>
          <a:xfrm>
            <a:off x="11033333" y="565460"/>
            <a:ext cx="635735" cy="445095"/>
          </a:xfrm>
          <a:prstGeom prst="rect">
            <a:avLst/>
          </a:prstGeom>
          <a:noFill/>
          <a:ln>
            <a:noFill/>
          </a:ln>
        </p:spPr>
      </p:pic>
      <p:sp>
        <p:nvSpPr>
          <p:cNvPr id="4409" name="Google Shape;4409;p320"/>
          <p:cNvSpPr txBox="1">
            <a:spLocks noGrp="1"/>
          </p:cNvSpPr>
          <p:nvPr>
            <p:ph type="title"/>
          </p:nvPr>
        </p:nvSpPr>
        <p:spPr>
          <a:xfrm>
            <a:off x="579117" y="1926336"/>
            <a:ext cx="5116000" cy="2617600"/>
          </a:xfrm>
          <a:prstGeom prst="rect">
            <a:avLst/>
          </a:prstGeom>
        </p:spPr>
        <p:txBody>
          <a:bodyPr spcFirstLastPara="1" wrap="square" lIns="0" tIns="0" rIns="0" bIns="0" anchor="b" anchorCtr="0">
            <a:noAutofit/>
          </a:bodyPr>
          <a:lstStyle>
            <a:lvl1pPr lvl="0">
              <a:lnSpc>
                <a:spcPct val="90000"/>
              </a:lnSpc>
              <a:spcBef>
                <a:spcPts val="0"/>
              </a:spcBef>
              <a:spcAft>
                <a:spcPts val="0"/>
              </a:spcAft>
              <a:buSzPts val="7200"/>
              <a:buNone/>
              <a:defRPr sz="4800"/>
            </a:lvl1pPr>
            <a:lvl2pPr lvl="1">
              <a:spcBef>
                <a:spcPts val="0"/>
              </a:spcBef>
              <a:spcAft>
                <a:spcPts val="0"/>
              </a:spcAft>
              <a:buSzPts val="5600"/>
              <a:buNone/>
              <a:defRPr/>
            </a:lvl2pPr>
            <a:lvl3pPr lvl="2">
              <a:spcBef>
                <a:spcPts val="0"/>
              </a:spcBef>
              <a:spcAft>
                <a:spcPts val="0"/>
              </a:spcAft>
              <a:buSzPts val="5600"/>
              <a:buNone/>
              <a:defRPr/>
            </a:lvl3pPr>
            <a:lvl4pPr lvl="3">
              <a:spcBef>
                <a:spcPts val="0"/>
              </a:spcBef>
              <a:spcAft>
                <a:spcPts val="0"/>
              </a:spcAft>
              <a:buSzPts val="5600"/>
              <a:buNone/>
              <a:defRPr/>
            </a:lvl4pPr>
            <a:lvl5pPr lvl="4">
              <a:spcBef>
                <a:spcPts val="0"/>
              </a:spcBef>
              <a:spcAft>
                <a:spcPts val="0"/>
              </a:spcAft>
              <a:buSzPts val="5600"/>
              <a:buNone/>
              <a:defRPr/>
            </a:lvl5pPr>
            <a:lvl6pPr lvl="5">
              <a:spcBef>
                <a:spcPts val="0"/>
              </a:spcBef>
              <a:spcAft>
                <a:spcPts val="0"/>
              </a:spcAft>
              <a:buSzPts val="5600"/>
              <a:buNone/>
              <a:defRPr/>
            </a:lvl6pPr>
            <a:lvl7pPr lvl="6">
              <a:spcBef>
                <a:spcPts val="0"/>
              </a:spcBef>
              <a:spcAft>
                <a:spcPts val="0"/>
              </a:spcAft>
              <a:buSzPts val="5600"/>
              <a:buNone/>
              <a:defRPr/>
            </a:lvl7pPr>
            <a:lvl8pPr lvl="7">
              <a:spcBef>
                <a:spcPts val="0"/>
              </a:spcBef>
              <a:spcAft>
                <a:spcPts val="0"/>
              </a:spcAft>
              <a:buSzPts val="5600"/>
              <a:buNone/>
              <a:defRPr/>
            </a:lvl8pPr>
            <a:lvl9pPr lvl="8">
              <a:spcBef>
                <a:spcPts val="0"/>
              </a:spcBef>
              <a:spcAft>
                <a:spcPts val="0"/>
              </a:spcAft>
              <a:buSzPts val="5600"/>
              <a:buNone/>
              <a:defRPr/>
            </a:lvl9pPr>
          </a:lstStyle>
          <a:p>
            <a:endParaRPr/>
          </a:p>
        </p:txBody>
      </p:sp>
    </p:spTree>
    <p:extLst>
      <p:ext uri="{BB962C8B-B14F-4D97-AF65-F5344CB8AC3E}">
        <p14:creationId xmlns:p14="http://schemas.microsoft.com/office/powerpoint/2010/main" val="37595036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nd content layout 2">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13816"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1DDFA5C8-65C4-F016-C39A-2B72D60E0770}"/>
              </a:ext>
            </a:extLst>
          </p:cNvPr>
          <p:cNvSpPr>
            <a:spLocks noGrp="1"/>
          </p:cNvSpPr>
          <p:nvPr>
            <p:ph type="sldNum" sz="quarter" idx="11"/>
          </p:nvPr>
        </p:nvSpPr>
        <p:spPr/>
        <p:txBody>
          <a:bodyPr/>
          <a:lstStyle>
            <a:lvl1pPr>
              <a:defRPr>
                <a:solidFill>
                  <a:schemeClr val="bg2"/>
                </a:solidFill>
              </a:defRPr>
            </a:lvl1pPr>
          </a:lstStyle>
          <a:p>
            <a:fld id="{9E74224C-F5B0-D04D-98A9-64EC68DC7E07}" type="slidenum">
              <a:rPr lang="en-US" smtClean="0"/>
              <a:pPr/>
              <a:t>‹#›</a:t>
            </a:fld>
            <a:endParaRPr lang="en-US"/>
          </a:p>
        </p:txBody>
      </p:sp>
    </p:spTree>
    <p:extLst>
      <p:ext uri="{BB962C8B-B14F-4D97-AF65-F5344CB8AC3E}">
        <p14:creationId xmlns:p14="http://schemas.microsoft.com/office/powerpoint/2010/main" val="23096609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198172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1_Title and content layout 1">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2A51CCD9-EE1C-6E4E-3062-32FDB9DF76D6}"/>
              </a:ext>
            </a:extLst>
          </p:cNvPr>
          <p:cNvSpPr>
            <a:spLocks noGrp="1"/>
          </p:cNvSpPr>
          <p:nvPr>
            <p:ph type="sldNum" sz="quarter" idx="11"/>
          </p:nvPr>
        </p:nvSpPr>
        <p:spPr/>
        <p:txBody>
          <a:bodyPr/>
          <a:lstStyle/>
          <a:p>
            <a:fld id="{9E74224C-F5B0-D04D-98A9-64EC68DC7E07}" type="slidenum">
              <a:rPr lang="en-US" smtClean="0"/>
              <a:pPr/>
              <a:t>‹#›</a:t>
            </a:fld>
            <a:endParaRPr lang="en-US"/>
          </a:p>
        </p:txBody>
      </p:sp>
      <p:sp>
        <p:nvSpPr>
          <p:cNvPr id="2" name="Rectangle 1">
            <a:extLst>
              <a:ext uri="{FF2B5EF4-FFF2-40B4-BE49-F238E27FC236}">
                <a16:creationId xmlns:a16="http://schemas.microsoft.com/office/drawing/2014/main" id="{2434A8C4-0EF4-2B48-0CFC-1F2EFFB0DABC}"/>
              </a:ext>
            </a:extLst>
          </p:cNvPr>
          <p:cNvSpPr/>
          <p:nvPr userDrawn="1"/>
        </p:nvSpPr>
        <p:spPr>
          <a:xfrm>
            <a:off x="6663267" y="4191000"/>
            <a:ext cx="5528733" cy="2667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Tree>
    <p:extLst>
      <p:ext uri="{BB962C8B-B14F-4D97-AF65-F5344CB8AC3E}">
        <p14:creationId xmlns:p14="http://schemas.microsoft.com/office/powerpoint/2010/main" val="2813109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subtitle layout no brick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888B8D"/>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grpSp>
    </p:spTree>
    <p:extLst>
      <p:ext uri="{BB962C8B-B14F-4D97-AF65-F5344CB8AC3E}">
        <p14:creationId xmlns:p14="http://schemas.microsoft.com/office/powerpoint/2010/main" val="1121804068"/>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hree point triang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4A4E4F81-F86D-CD02-2171-579792C7EC2B}"/>
              </a:ext>
            </a:extLst>
          </p:cNvPr>
          <p:cNvGrpSpPr/>
          <p:nvPr userDrawn="1"/>
        </p:nvGrpSpPr>
        <p:grpSpPr>
          <a:xfrm>
            <a:off x="815975"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endParaRPr lang="en-US"/>
              </a:p>
            </p:txBody>
          </p:sp>
        </p:grpSp>
      </p:grpSp>
      <p:sp>
        <p:nvSpPr>
          <p:cNvPr id="28" name="Text Placeholder 49">
            <a:extLst>
              <a:ext uri="{FF2B5EF4-FFF2-40B4-BE49-F238E27FC236}">
                <a16:creationId xmlns:a16="http://schemas.microsoft.com/office/drawing/2014/main" id="{5FC72C66-FCCA-1483-EC99-713AC8B15A7D}"/>
              </a:ext>
            </a:extLst>
          </p:cNvPr>
          <p:cNvSpPr>
            <a:spLocks noGrp="1"/>
          </p:cNvSpPr>
          <p:nvPr>
            <p:ph type="body" sz="quarter" idx="16" hasCustomPrompt="1"/>
          </p:nvPr>
        </p:nvSpPr>
        <p:spPr>
          <a:xfrm>
            <a:off x="7712433" y="3191585"/>
            <a:ext cx="3483481"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728483" y="2831683"/>
            <a:ext cx="3461755" cy="324044"/>
          </a:xfrm>
        </p:spPr>
        <p:txBody>
          <a:bodyPr>
            <a:normAutofit/>
          </a:bodyPr>
          <a:lstStyle>
            <a:lvl1pPr algn="r">
              <a:defRPr sz="1600" b="1">
                <a:solidFill>
                  <a:schemeClr val="tx1"/>
                </a:solidFill>
              </a:defRPr>
            </a:lvl1pPr>
          </a:lstStyle>
          <a:p>
            <a:pPr lvl="0"/>
            <a:r>
              <a:rPr lang="en-US"/>
              <a:t>Lorem ipsum dolor</a:t>
            </a:r>
          </a:p>
        </p:txBody>
      </p:sp>
      <p:sp>
        <p:nvSpPr>
          <p:cNvPr id="30" name="Text Placeholder 49">
            <a:extLst>
              <a:ext uri="{FF2B5EF4-FFF2-40B4-BE49-F238E27FC236}">
                <a16:creationId xmlns:a16="http://schemas.microsoft.com/office/drawing/2014/main" id="{444760C2-A78A-C2A0-9F75-9D105F5BD15F}"/>
              </a:ext>
            </a:extLst>
          </p:cNvPr>
          <p:cNvSpPr>
            <a:spLocks noGrp="1"/>
          </p:cNvSpPr>
          <p:nvPr>
            <p:ph type="body" sz="quarter" idx="18" hasCustomPrompt="1"/>
          </p:nvPr>
        </p:nvSpPr>
        <p:spPr>
          <a:xfrm>
            <a:off x="980036" y="3191585"/>
            <a:ext cx="3744364"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6086" y="2831683"/>
            <a:ext cx="3721010" cy="324044"/>
          </a:xfrm>
        </p:spPr>
        <p:txBody>
          <a:bodyPr>
            <a:normAutofit/>
          </a:bodyPr>
          <a:lstStyle>
            <a:lvl1pPr>
              <a:defRPr sz="1600" b="1">
                <a:solidFill>
                  <a:schemeClr val="tx1"/>
                </a:solidFill>
              </a:defRPr>
            </a:lvl1pPr>
          </a:lstStyle>
          <a:p>
            <a:pPr lvl="0"/>
            <a:r>
              <a:rPr lang="en-US"/>
              <a:t>Lorem ipsum dolor</a:t>
            </a:r>
          </a:p>
        </p:txBody>
      </p:sp>
      <p:sp>
        <p:nvSpPr>
          <p:cNvPr id="32" name="Text Placeholder 49">
            <a:extLst>
              <a:ext uri="{FF2B5EF4-FFF2-40B4-BE49-F238E27FC236}">
                <a16:creationId xmlns:a16="http://schemas.microsoft.com/office/drawing/2014/main" id="{B5261580-97E4-50AF-6C07-FE08EF6676C8}"/>
              </a:ext>
            </a:extLst>
          </p:cNvPr>
          <p:cNvSpPr>
            <a:spLocks noGrp="1"/>
          </p:cNvSpPr>
          <p:nvPr>
            <p:ph type="body" sz="quarter" idx="20" hasCustomPrompt="1"/>
          </p:nvPr>
        </p:nvSpPr>
        <p:spPr>
          <a:xfrm>
            <a:off x="4082984" y="5998702"/>
            <a:ext cx="4125585"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103826" y="5638800"/>
            <a:ext cx="4099853" cy="324044"/>
          </a:xfrm>
        </p:spPr>
        <p:txBody>
          <a:bodyPr>
            <a:normAutofit/>
          </a:bodyPr>
          <a:lstStyle>
            <a:lvl1pPr algn="ctr">
              <a:defRPr sz="1600" b="1">
                <a:solidFill>
                  <a:schemeClr val="tx1"/>
                </a:solidFill>
              </a:defRPr>
            </a:lvl1pPr>
          </a:lstStyle>
          <a:p>
            <a:pPr lvl="0"/>
            <a:r>
              <a:rPr lang="en-US"/>
              <a:t>Lorem ipsum dolor</a:t>
            </a:r>
          </a:p>
        </p:txBody>
      </p:sp>
    </p:spTree>
    <p:extLst>
      <p:ext uri="{BB962C8B-B14F-4D97-AF65-F5344CB8AC3E}">
        <p14:creationId xmlns:p14="http://schemas.microsoft.com/office/powerpoint/2010/main" val="108607190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50621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0" y="6858000"/>
            <a:ext cx="8875059" cy="15389"/>
          </a:xfrm>
          <a:prstGeom prst="rect">
            <a:avLst/>
          </a:prstGeom>
        </p:spPr>
        <p:txBody>
          <a:bodyPr/>
          <a:lstStyle>
            <a:lvl1pPr>
              <a:defRPr sz="100">
                <a:solidFill>
                  <a:srgbClr val="738EA5"/>
                </a:solidFill>
                <a:latin typeface="Calibri" pitchFamily="34" charset="0"/>
                <a:cs typeface="Calibri" pitchFamily="34" charset="0"/>
              </a:defRPr>
            </a:lvl1pPr>
          </a:lstStyle>
          <a:p>
            <a:r>
              <a:rPr lang="en-US"/>
              <a:t>Click to edit Master title style</a:t>
            </a:r>
          </a:p>
        </p:txBody>
      </p:sp>
    </p:spTree>
    <p:extLst>
      <p:ext uri="{BB962C8B-B14F-4D97-AF65-F5344CB8AC3E}">
        <p14:creationId xmlns:p14="http://schemas.microsoft.com/office/powerpoint/2010/main" val="3927521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5995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4 - 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DD540-9945-3A1A-04CA-2706BE6EEF82}"/>
              </a:ext>
            </a:extLst>
          </p:cNvPr>
          <p:cNvSpPr>
            <a:spLocks noGrp="1"/>
          </p:cNvSpPr>
          <p:nvPr>
            <p:ph type="title" hasCustomPrompt="1"/>
          </p:nvPr>
        </p:nvSpPr>
        <p:spPr>
          <a:xfrm>
            <a:off x="308521" y="352986"/>
            <a:ext cx="11562353" cy="380232"/>
          </a:xfrm>
          <a:prstGeom prst="rect">
            <a:avLst/>
          </a:prstGeom>
        </p:spPr>
        <p:txBody>
          <a:bodyPr lIns="0" tIns="0" rIns="0" bIns="0">
            <a:spAutoFit/>
          </a:bodyPr>
          <a:lstStyle>
            <a:lvl1pPr>
              <a:defRPr sz="2471" b="0">
                <a:latin typeface="+mj-lt"/>
              </a:defRPr>
            </a:lvl1pPr>
          </a:lstStyle>
          <a:p>
            <a:r>
              <a:rPr lang="en-GB"/>
              <a:t>Headline set in Calibri Light 28pt; please use ‘Sentence case’</a:t>
            </a:r>
            <a:endParaRPr lang="en-US"/>
          </a:p>
        </p:txBody>
      </p:sp>
      <p:sp>
        <p:nvSpPr>
          <p:cNvPr id="8" name="Text Placeholder 7">
            <a:extLst>
              <a:ext uri="{FF2B5EF4-FFF2-40B4-BE49-F238E27FC236}">
                <a16:creationId xmlns:a16="http://schemas.microsoft.com/office/drawing/2014/main" id="{C06C39D4-2AB0-330B-F6C8-336562D76C48}"/>
              </a:ext>
            </a:extLst>
          </p:cNvPr>
          <p:cNvSpPr>
            <a:spLocks noGrp="1"/>
          </p:cNvSpPr>
          <p:nvPr>
            <p:ph type="body" sz="quarter" idx="12" hasCustomPrompt="1"/>
          </p:nvPr>
        </p:nvSpPr>
        <p:spPr>
          <a:xfrm>
            <a:off x="308521" y="750895"/>
            <a:ext cx="11562353" cy="206504"/>
          </a:xfrm>
        </p:spPr>
        <p:txBody>
          <a:bodyPr anchor="ctr">
            <a:spAutoFit/>
          </a:bodyPr>
          <a:lstStyle>
            <a:lvl1pPr>
              <a:lnSpc>
                <a:spcPts val="1588"/>
              </a:lnSpc>
              <a:spcAft>
                <a:spcPts val="0"/>
              </a:spcAft>
              <a:defRPr sz="1588">
                <a:latin typeface="+mj-lt"/>
              </a:defRPr>
            </a:lvl1pPr>
          </a:lstStyle>
          <a:p>
            <a:pPr lvl="0"/>
            <a:r>
              <a:rPr lang="en-GB"/>
              <a:t>Subheading set in Calibri Light 18pt; please use ‘Sentence case’</a:t>
            </a:r>
            <a:endParaRPr lang="en-US"/>
          </a:p>
        </p:txBody>
      </p:sp>
    </p:spTree>
    <p:extLst>
      <p:ext uri="{BB962C8B-B14F-4D97-AF65-F5344CB8AC3E}">
        <p14:creationId xmlns:p14="http://schemas.microsoft.com/office/powerpoint/2010/main" val="83600243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E61AC88-24D2-C626-F173-6701AD633AB3}"/>
              </a:ext>
            </a:extLst>
          </p:cNvPr>
          <p:cNvGrpSpPr/>
          <p:nvPr userDrawn="1"/>
        </p:nvGrpSpPr>
        <p:grpSpPr>
          <a:xfrm>
            <a:off x="10363200" y="381000"/>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52295" y="1909713"/>
            <a:ext cx="2264219" cy="273593"/>
          </a:xfrm>
          <a:prstGeom prst="rect">
            <a:avLst/>
          </a:prstGeom>
        </p:spPr>
      </p:pic>
    </p:spTree>
    <p:extLst>
      <p:ext uri="{BB962C8B-B14F-4D97-AF65-F5344CB8AC3E}">
        <p14:creationId xmlns:p14="http://schemas.microsoft.com/office/powerpoint/2010/main" val="20231868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297824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itle, subtitle and content layout">
    <p:bg>
      <p:bgPr>
        <a:solidFill>
          <a:schemeClr val="tx1"/>
        </a:solidFill>
        <a:effectLst/>
      </p:bgPr>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0">
                <a:solidFill>
                  <a:schemeClr val="bg1"/>
                </a:solidFill>
              </a:defRPr>
            </a:lvl1pPr>
          </a:lstStyle>
          <a:p>
            <a:pPr lvl="0"/>
            <a:r>
              <a:rPr lang="en-US"/>
              <a:t>Click to add subheading</a:t>
            </a:r>
            <a:endParaRPr lang="en-GB"/>
          </a:p>
        </p:txBody>
      </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600" y="2487726"/>
            <a:ext cx="7788608" cy="437027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grpSp>
        <p:nvGrpSpPr>
          <p:cNvPr id="8" name="Group 7">
            <a:extLst>
              <a:ext uri="{FF2B5EF4-FFF2-40B4-BE49-F238E27FC236}">
                <a16:creationId xmlns:a16="http://schemas.microsoft.com/office/drawing/2014/main" id="{2782FBF0-9D9E-19AE-DC30-0796829725EF}"/>
              </a:ext>
            </a:extLst>
          </p:cNvPr>
          <p:cNvGrpSpPr/>
          <p:nvPr userDrawn="1"/>
        </p:nvGrpSpPr>
        <p:grpSpPr>
          <a:xfrm>
            <a:off x="10863102" y="309052"/>
            <a:ext cx="911847" cy="382707"/>
            <a:chOff x="7459170" y="481236"/>
            <a:chExt cx="2697427" cy="1132124"/>
          </a:xfrm>
          <a:solidFill>
            <a:schemeClr val="bg1"/>
          </a:solidFill>
        </p:grpSpPr>
        <p:sp>
          <p:nvSpPr>
            <p:cNvPr id="9" name="Freeform 8">
              <a:extLst>
                <a:ext uri="{FF2B5EF4-FFF2-40B4-BE49-F238E27FC236}">
                  <a16:creationId xmlns:a16="http://schemas.microsoft.com/office/drawing/2014/main" id="{42864910-4C7A-3D4E-48CD-D85DC4AD32A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D69A189-E4A4-09BC-625A-758110B855A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BDE20C1-01CD-0CE9-490C-A9CF25F6EB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4EEA97-1562-463A-B42C-64C9073EE06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E66572C-F5C9-C297-A47F-DDF2919DAF5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4611A91-BFB8-7814-3464-E6309F7AED7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D9681DA-ADD0-918D-C879-984AD193B14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210010277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_Title, subtitle and content layout">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8F58556-4B3C-4D42-11E5-5CE9566BB3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600" y="2487726"/>
            <a:ext cx="7788608" cy="4370274"/>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1676400"/>
            <a:ext cx="10620376" cy="4308474"/>
          </a:xfrm>
          <a:prstGeom prst="rect">
            <a:avLst/>
          </a:prstGeom>
        </p:spPr>
        <p:txBody>
          <a:bodyPr vert="horz" lIns="0" tIns="0" rIns="0" bIns="0" rtlCol="0">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1">
                <a:solidFill>
                  <a:schemeClr val="bg1"/>
                </a:solidFill>
              </a:defRPr>
            </a:lvl1pPr>
          </a:lstStyle>
          <a:p>
            <a:pPr lvl="0"/>
            <a:r>
              <a:rPr lang="en-US"/>
              <a:t>Click to add subheading</a:t>
            </a:r>
            <a:endParaRPr lang="en-GB"/>
          </a:p>
        </p:txBody>
      </p:sp>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grpSp>
        <p:nvGrpSpPr>
          <p:cNvPr id="8" name="Group 7">
            <a:extLst>
              <a:ext uri="{FF2B5EF4-FFF2-40B4-BE49-F238E27FC236}">
                <a16:creationId xmlns:a16="http://schemas.microsoft.com/office/drawing/2014/main" id="{2782FBF0-9D9E-19AE-DC30-0796829725EF}"/>
              </a:ext>
            </a:extLst>
          </p:cNvPr>
          <p:cNvGrpSpPr/>
          <p:nvPr userDrawn="1"/>
        </p:nvGrpSpPr>
        <p:grpSpPr>
          <a:xfrm>
            <a:off x="10863102" y="309052"/>
            <a:ext cx="911847" cy="382707"/>
            <a:chOff x="7459170" y="481236"/>
            <a:chExt cx="2697427" cy="1132124"/>
          </a:xfrm>
          <a:solidFill>
            <a:schemeClr val="bg1"/>
          </a:solidFill>
        </p:grpSpPr>
        <p:sp>
          <p:nvSpPr>
            <p:cNvPr id="9" name="Freeform 8">
              <a:extLst>
                <a:ext uri="{FF2B5EF4-FFF2-40B4-BE49-F238E27FC236}">
                  <a16:creationId xmlns:a16="http://schemas.microsoft.com/office/drawing/2014/main" id="{42864910-4C7A-3D4E-48CD-D85DC4AD32A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D69A189-E4A4-09BC-625A-758110B855A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BDE20C1-01CD-0CE9-490C-A9CF25F6EB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4EEA97-1562-463A-B42C-64C9073EE06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E66572C-F5C9-C297-A47F-DDF2919DAF5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4611A91-BFB8-7814-3464-E6309F7AED7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D9681DA-ADD0-918D-C879-984AD193B14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7563437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itle, subtitle and content layou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1676400"/>
            <a:ext cx="10620376" cy="4308474"/>
          </a:xfrm>
          <a:prstGeom prst="rect">
            <a:avLst/>
          </a:prstGeom>
        </p:spPr>
        <p:txBody>
          <a:bodyPr vert="horz" lIns="0" tIns="0" rIns="0" bIns="0" rtlCol="0">
            <a:norm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0">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302967695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Title, subtitle and content layout">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F852FB6-7A7E-B7EF-D1BF-EB8BF60888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600" y="2487726"/>
            <a:ext cx="7788608" cy="4370274"/>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990600"/>
            <a:ext cx="10620376" cy="5105400"/>
          </a:xfrm>
          <a:prstGeom prst="rect">
            <a:avLst/>
          </a:prstGeom>
        </p:spPr>
        <p:txBody>
          <a:bodyPr vert="horz" lIns="0" tIns="0" rIns="0" bIns="0" rtlCol="0">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grpSp>
        <p:nvGrpSpPr>
          <p:cNvPr id="8" name="Group 7">
            <a:extLst>
              <a:ext uri="{FF2B5EF4-FFF2-40B4-BE49-F238E27FC236}">
                <a16:creationId xmlns:a16="http://schemas.microsoft.com/office/drawing/2014/main" id="{2782FBF0-9D9E-19AE-DC30-0796829725EF}"/>
              </a:ext>
            </a:extLst>
          </p:cNvPr>
          <p:cNvGrpSpPr/>
          <p:nvPr userDrawn="1"/>
        </p:nvGrpSpPr>
        <p:grpSpPr>
          <a:xfrm>
            <a:off x="10863102" y="309052"/>
            <a:ext cx="911847" cy="382707"/>
            <a:chOff x="7459170" y="481236"/>
            <a:chExt cx="2697427" cy="1132124"/>
          </a:xfrm>
          <a:solidFill>
            <a:schemeClr val="bg1"/>
          </a:solidFill>
        </p:grpSpPr>
        <p:sp>
          <p:nvSpPr>
            <p:cNvPr id="9" name="Freeform 8">
              <a:extLst>
                <a:ext uri="{FF2B5EF4-FFF2-40B4-BE49-F238E27FC236}">
                  <a16:creationId xmlns:a16="http://schemas.microsoft.com/office/drawing/2014/main" id="{42864910-4C7A-3D4E-48CD-D85DC4AD32A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D69A189-E4A4-09BC-625A-758110B855A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BDE20C1-01CD-0CE9-490C-A9CF25F6EB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4EEA97-1562-463A-B42C-64C9073EE06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E66572C-F5C9-C297-A47F-DDF2919DAF5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4611A91-BFB8-7814-3464-E6309F7AED7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D9681DA-ADD0-918D-C879-984AD193B14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537469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Thank you layout 1">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
        <p:nvSpPr>
          <p:cNvPr id="2" name="Title Placeholder 13">
            <a:extLst>
              <a:ext uri="{FF2B5EF4-FFF2-40B4-BE49-F238E27FC236}">
                <a16:creationId xmlns:a16="http://schemas.microsoft.com/office/drawing/2014/main" id="{843162E0-850D-1F95-8971-0EF33222B2E4}"/>
              </a:ext>
            </a:extLst>
          </p:cNvPr>
          <p:cNvSpPr>
            <a:spLocks noGrp="1"/>
          </p:cNvSpPr>
          <p:nvPr>
            <p:ph type="title" hasCustomPrompt="1"/>
          </p:nvPr>
        </p:nvSpPr>
        <p:spPr>
          <a:xfrm>
            <a:off x="990600" y="892199"/>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15" name="Text Placeholder 39">
            <a:extLst>
              <a:ext uri="{FF2B5EF4-FFF2-40B4-BE49-F238E27FC236}">
                <a16:creationId xmlns:a16="http://schemas.microsoft.com/office/drawing/2014/main" id="{8CC41CAC-56D6-392A-5D26-87E5FB3834DF}"/>
              </a:ext>
            </a:extLst>
          </p:cNvPr>
          <p:cNvSpPr>
            <a:spLocks noGrp="1"/>
          </p:cNvSpPr>
          <p:nvPr>
            <p:ph type="body" sz="quarter" idx="10" hasCustomPrompt="1"/>
          </p:nvPr>
        </p:nvSpPr>
        <p:spPr>
          <a:xfrm>
            <a:off x="986726" y="1743416"/>
            <a:ext cx="996950" cy="430212"/>
          </a:xfrm>
          <a:noFill/>
          <a:ln>
            <a:noFill/>
          </a:ln>
        </p:spPr>
        <p:txBody>
          <a:bodyPr>
            <a:normAutofit/>
          </a:bodyPr>
          <a:lstStyle>
            <a:lvl1pPr>
              <a:defRPr sz="2800">
                <a:solidFill>
                  <a:schemeClr val="bg1"/>
                </a:solidFill>
              </a:defRPr>
            </a:lvl1pPr>
          </a:lstStyle>
          <a:p>
            <a:pPr lvl="0"/>
            <a:r>
              <a:rPr lang="en-US"/>
              <a:t>01</a:t>
            </a:r>
          </a:p>
        </p:txBody>
      </p:sp>
      <p:sp>
        <p:nvSpPr>
          <p:cNvPr id="16" name="Text Placeholder 39">
            <a:extLst>
              <a:ext uri="{FF2B5EF4-FFF2-40B4-BE49-F238E27FC236}">
                <a16:creationId xmlns:a16="http://schemas.microsoft.com/office/drawing/2014/main" id="{ED121771-EEE6-87F6-E727-A778892F5AE1}"/>
              </a:ext>
            </a:extLst>
          </p:cNvPr>
          <p:cNvSpPr>
            <a:spLocks noGrp="1"/>
          </p:cNvSpPr>
          <p:nvPr>
            <p:ph type="body" sz="quarter" idx="11" hasCustomPrompt="1"/>
          </p:nvPr>
        </p:nvSpPr>
        <p:spPr>
          <a:xfrm>
            <a:off x="986726" y="2237192"/>
            <a:ext cx="996950" cy="430212"/>
          </a:xfrm>
          <a:noFill/>
          <a:ln>
            <a:noFill/>
          </a:ln>
        </p:spPr>
        <p:txBody>
          <a:bodyPr>
            <a:normAutofit/>
          </a:bodyPr>
          <a:lstStyle>
            <a:lvl1pPr>
              <a:defRPr sz="2800">
                <a:solidFill>
                  <a:schemeClr val="bg1"/>
                </a:solidFill>
              </a:defRPr>
            </a:lvl1pPr>
          </a:lstStyle>
          <a:p>
            <a:pPr lvl="0"/>
            <a:r>
              <a:rPr lang="en-US"/>
              <a:t>02</a:t>
            </a:r>
          </a:p>
        </p:txBody>
      </p:sp>
      <p:sp>
        <p:nvSpPr>
          <p:cNvPr id="17" name="Text Placeholder 39">
            <a:extLst>
              <a:ext uri="{FF2B5EF4-FFF2-40B4-BE49-F238E27FC236}">
                <a16:creationId xmlns:a16="http://schemas.microsoft.com/office/drawing/2014/main" id="{63E85245-43B3-FC90-A131-30D162DB163A}"/>
              </a:ext>
            </a:extLst>
          </p:cNvPr>
          <p:cNvSpPr>
            <a:spLocks noGrp="1"/>
          </p:cNvSpPr>
          <p:nvPr>
            <p:ph type="body" sz="quarter" idx="12" hasCustomPrompt="1"/>
          </p:nvPr>
        </p:nvSpPr>
        <p:spPr>
          <a:xfrm>
            <a:off x="986726" y="2749256"/>
            <a:ext cx="996950" cy="430212"/>
          </a:xfrm>
          <a:noFill/>
          <a:ln>
            <a:noFill/>
          </a:ln>
        </p:spPr>
        <p:txBody>
          <a:bodyPr>
            <a:normAutofit/>
          </a:bodyPr>
          <a:lstStyle>
            <a:lvl1pPr>
              <a:defRPr sz="2800">
                <a:solidFill>
                  <a:schemeClr val="bg1"/>
                </a:solidFill>
              </a:defRPr>
            </a:lvl1pPr>
          </a:lstStyle>
          <a:p>
            <a:pPr lvl="0"/>
            <a:r>
              <a:rPr lang="en-US"/>
              <a:t>03</a:t>
            </a:r>
          </a:p>
        </p:txBody>
      </p:sp>
      <p:sp>
        <p:nvSpPr>
          <p:cNvPr id="18" name="Text Placeholder 39">
            <a:extLst>
              <a:ext uri="{FF2B5EF4-FFF2-40B4-BE49-F238E27FC236}">
                <a16:creationId xmlns:a16="http://schemas.microsoft.com/office/drawing/2014/main" id="{42C97626-6000-F4BB-17A9-927DA6D93543}"/>
              </a:ext>
            </a:extLst>
          </p:cNvPr>
          <p:cNvSpPr>
            <a:spLocks noGrp="1"/>
          </p:cNvSpPr>
          <p:nvPr>
            <p:ph type="body" sz="quarter" idx="13" hasCustomPrompt="1"/>
          </p:nvPr>
        </p:nvSpPr>
        <p:spPr>
          <a:xfrm>
            <a:off x="986726" y="3270464"/>
            <a:ext cx="996950" cy="430212"/>
          </a:xfrm>
          <a:noFill/>
          <a:ln>
            <a:noFill/>
          </a:ln>
        </p:spPr>
        <p:txBody>
          <a:bodyPr>
            <a:normAutofit/>
          </a:bodyPr>
          <a:lstStyle>
            <a:lvl1pPr>
              <a:defRPr sz="2800">
                <a:solidFill>
                  <a:schemeClr val="bg1"/>
                </a:solidFill>
              </a:defRPr>
            </a:lvl1pPr>
          </a:lstStyle>
          <a:p>
            <a:pPr lvl="0"/>
            <a:r>
              <a:rPr lang="en-US"/>
              <a:t>04</a:t>
            </a:r>
          </a:p>
        </p:txBody>
      </p:sp>
      <p:sp>
        <p:nvSpPr>
          <p:cNvPr id="19" name="Text Placeholder 39">
            <a:extLst>
              <a:ext uri="{FF2B5EF4-FFF2-40B4-BE49-F238E27FC236}">
                <a16:creationId xmlns:a16="http://schemas.microsoft.com/office/drawing/2014/main" id="{33BE94C5-20E6-9290-2DFC-B4A0142F9A0D}"/>
              </a:ext>
            </a:extLst>
          </p:cNvPr>
          <p:cNvSpPr>
            <a:spLocks noGrp="1"/>
          </p:cNvSpPr>
          <p:nvPr>
            <p:ph type="body" sz="quarter" idx="14" hasCustomPrompt="1"/>
          </p:nvPr>
        </p:nvSpPr>
        <p:spPr>
          <a:xfrm>
            <a:off x="986726" y="3791672"/>
            <a:ext cx="996950" cy="430212"/>
          </a:xfrm>
          <a:noFill/>
          <a:ln>
            <a:noFill/>
          </a:ln>
        </p:spPr>
        <p:txBody>
          <a:bodyPr>
            <a:normAutofit/>
          </a:bodyPr>
          <a:lstStyle>
            <a:lvl1pPr>
              <a:defRPr sz="2800">
                <a:solidFill>
                  <a:schemeClr val="bg1"/>
                </a:solidFill>
              </a:defRPr>
            </a:lvl1pPr>
          </a:lstStyle>
          <a:p>
            <a:pPr lvl="0"/>
            <a:r>
              <a:rPr lang="en-US"/>
              <a:t>05</a:t>
            </a:r>
          </a:p>
        </p:txBody>
      </p:sp>
      <p:sp>
        <p:nvSpPr>
          <p:cNvPr id="20" name="Text Placeholder 39">
            <a:extLst>
              <a:ext uri="{FF2B5EF4-FFF2-40B4-BE49-F238E27FC236}">
                <a16:creationId xmlns:a16="http://schemas.microsoft.com/office/drawing/2014/main" id="{6F4B84BA-05DA-3594-B5B1-2450ADA526B0}"/>
              </a:ext>
            </a:extLst>
          </p:cNvPr>
          <p:cNvSpPr>
            <a:spLocks noGrp="1"/>
          </p:cNvSpPr>
          <p:nvPr>
            <p:ph type="body" sz="quarter" idx="15" hasCustomPrompt="1"/>
          </p:nvPr>
        </p:nvSpPr>
        <p:spPr>
          <a:xfrm>
            <a:off x="986726" y="4303736"/>
            <a:ext cx="996950" cy="430212"/>
          </a:xfrm>
          <a:noFill/>
          <a:ln>
            <a:noFill/>
          </a:ln>
        </p:spPr>
        <p:txBody>
          <a:bodyPr>
            <a:normAutofit/>
          </a:bodyPr>
          <a:lstStyle>
            <a:lvl1pPr>
              <a:defRPr sz="2800">
                <a:solidFill>
                  <a:schemeClr val="bg1"/>
                </a:solidFill>
              </a:defRPr>
            </a:lvl1pPr>
          </a:lstStyle>
          <a:p>
            <a:pPr lvl="0"/>
            <a:r>
              <a:rPr lang="en-US"/>
              <a:t>06</a:t>
            </a:r>
          </a:p>
        </p:txBody>
      </p:sp>
      <p:sp>
        <p:nvSpPr>
          <p:cNvPr id="21" name="Text Placeholder 39">
            <a:extLst>
              <a:ext uri="{FF2B5EF4-FFF2-40B4-BE49-F238E27FC236}">
                <a16:creationId xmlns:a16="http://schemas.microsoft.com/office/drawing/2014/main" id="{3DDECEA8-9E63-80F5-40F9-510B9CD1FB48}"/>
              </a:ext>
            </a:extLst>
          </p:cNvPr>
          <p:cNvSpPr>
            <a:spLocks noGrp="1"/>
          </p:cNvSpPr>
          <p:nvPr>
            <p:ph type="body" sz="quarter" idx="16" hasCustomPrompt="1"/>
          </p:nvPr>
        </p:nvSpPr>
        <p:spPr>
          <a:xfrm>
            <a:off x="986726" y="4824944"/>
            <a:ext cx="996950" cy="430212"/>
          </a:xfrm>
          <a:noFill/>
          <a:ln>
            <a:noFill/>
          </a:ln>
        </p:spPr>
        <p:txBody>
          <a:bodyPr>
            <a:normAutofit/>
          </a:bodyPr>
          <a:lstStyle>
            <a:lvl1pPr>
              <a:defRPr sz="2800">
                <a:solidFill>
                  <a:schemeClr val="bg1"/>
                </a:solidFill>
              </a:defRPr>
            </a:lvl1pPr>
          </a:lstStyle>
          <a:p>
            <a:pPr lvl="0"/>
            <a:r>
              <a:rPr lang="en-US"/>
              <a:t>07</a:t>
            </a:r>
          </a:p>
        </p:txBody>
      </p:sp>
      <p:sp>
        <p:nvSpPr>
          <p:cNvPr id="22" name="Text Placeholder 39">
            <a:extLst>
              <a:ext uri="{FF2B5EF4-FFF2-40B4-BE49-F238E27FC236}">
                <a16:creationId xmlns:a16="http://schemas.microsoft.com/office/drawing/2014/main" id="{1BF6E091-3DD0-D5D2-D493-5883D4E348B3}"/>
              </a:ext>
            </a:extLst>
          </p:cNvPr>
          <p:cNvSpPr>
            <a:spLocks noGrp="1"/>
          </p:cNvSpPr>
          <p:nvPr>
            <p:ph type="body" sz="quarter" idx="17" hasCustomPrompt="1"/>
          </p:nvPr>
        </p:nvSpPr>
        <p:spPr>
          <a:xfrm>
            <a:off x="986726" y="5346152"/>
            <a:ext cx="996950" cy="430212"/>
          </a:xfrm>
          <a:noFill/>
          <a:ln>
            <a:noFill/>
          </a:ln>
        </p:spPr>
        <p:txBody>
          <a:bodyPr>
            <a:normAutofit/>
          </a:bodyPr>
          <a:lstStyle>
            <a:lvl1pPr>
              <a:defRPr sz="2800">
                <a:solidFill>
                  <a:schemeClr val="bg1"/>
                </a:solidFill>
              </a:defRPr>
            </a:lvl1pPr>
          </a:lstStyle>
          <a:p>
            <a:pPr lvl="0"/>
            <a:r>
              <a:rPr lang="en-US"/>
              <a:t>08</a:t>
            </a:r>
          </a:p>
        </p:txBody>
      </p:sp>
      <p:sp>
        <p:nvSpPr>
          <p:cNvPr id="23" name="Text Placeholder 39">
            <a:extLst>
              <a:ext uri="{FF2B5EF4-FFF2-40B4-BE49-F238E27FC236}">
                <a16:creationId xmlns:a16="http://schemas.microsoft.com/office/drawing/2014/main" id="{AF25BDB4-1E74-977C-9BC0-CF2986C6B6BF}"/>
              </a:ext>
            </a:extLst>
          </p:cNvPr>
          <p:cNvSpPr>
            <a:spLocks noGrp="1"/>
          </p:cNvSpPr>
          <p:nvPr>
            <p:ph type="body" sz="quarter" idx="18" hasCustomPrompt="1"/>
          </p:nvPr>
        </p:nvSpPr>
        <p:spPr>
          <a:xfrm>
            <a:off x="2074862" y="1743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4" name="Text Placeholder 39">
            <a:extLst>
              <a:ext uri="{FF2B5EF4-FFF2-40B4-BE49-F238E27FC236}">
                <a16:creationId xmlns:a16="http://schemas.microsoft.com/office/drawing/2014/main" id="{6B9D89AC-AE21-53D7-468F-DC46F394DF26}"/>
              </a:ext>
            </a:extLst>
          </p:cNvPr>
          <p:cNvSpPr>
            <a:spLocks noGrp="1"/>
          </p:cNvSpPr>
          <p:nvPr>
            <p:ph type="body" sz="quarter" idx="19" hasCustomPrompt="1"/>
          </p:nvPr>
        </p:nvSpPr>
        <p:spPr>
          <a:xfrm>
            <a:off x="2074862" y="223719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5" name="Text Placeholder 39">
            <a:extLst>
              <a:ext uri="{FF2B5EF4-FFF2-40B4-BE49-F238E27FC236}">
                <a16:creationId xmlns:a16="http://schemas.microsoft.com/office/drawing/2014/main" id="{355F269C-923E-2968-B3BC-E1B0B895816B}"/>
              </a:ext>
            </a:extLst>
          </p:cNvPr>
          <p:cNvSpPr>
            <a:spLocks noGrp="1"/>
          </p:cNvSpPr>
          <p:nvPr>
            <p:ph type="body" sz="quarter" idx="20" hasCustomPrompt="1"/>
          </p:nvPr>
        </p:nvSpPr>
        <p:spPr>
          <a:xfrm>
            <a:off x="2074862" y="27492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6" name="Text Placeholder 39">
            <a:extLst>
              <a:ext uri="{FF2B5EF4-FFF2-40B4-BE49-F238E27FC236}">
                <a16:creationId xmlns:a16="http://schemas.microsoft.com/office/drawing/2014/main" id="{3D5AB48D-0FEE-1956-DAD6-75FA82D60930}"/>
              </a:ext>
            </a:extLst>
          </p:cNvPr>
          <p:cNvSpPr>
            <a:spLocks noGrp="1"/>
          </p:cNvSpPr>
          <p:nvPr>
            <p:ph type="body" sz="quarter" idx="21" hasCustomPrompt="1"/>
          </p:nvPr>
        </p:nvSpPr>
        <p:spPr>
          <a:xfrm>
            <a:off x="2074862" y="3270464"/>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7" name="Text Placeholder 39">
            <a:extLst>
              <a:ext uri="{FF2B5EF4-FFF2-40B4-BE49-F238E27FC236}">
                <a16:creationId xmlns:a16="http://schemas.microsoft.com/office/drawing/2014/main" id="{D2668368-D087-FAEF-D81A-6198B1E7D3DB}"/>
              </a:ext>
            </a:extLst>
          </p:cNvPr>
          <p:cNvSpPr>
            <a:spLocks noGrp="1"/>
          </p:cNvSpPr>
          <p:nvPr>
            <p:ph type="body" sz="quarter" idx="22" hasCustomPrompt="1"/>
          </p:nvPr>
        </p:nvSpPr>
        <p:spPr>
          <a:xfrm>
            <a:off x="2074862" y="379167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8" name="Text Placeholder 39">
            <a:extLst>
              <a:ext uri="{FF2B5EF4-FFF2-40B4-BE49-F238E27FC236}">
                <a16:creationId xmlns:a16="http://schemas.microsoft.com/office/drawing/2014/main" id="{6D710049-110B-E34B-FD82-EE5E2FFFD175}"/>
              </a:ext>
            </a:extLst>
          </p:cNvPr>
          <p:cNvSpPr>
            <a:spLocks noGrp="1"/>
          </p:cNvSpPr>
          <p:nvPr>
            <p:ph type="body" sz="quarter" idx="23" hasCustomPrompt="1"/>
          </p:nvPr>
        </p:nvSpPr>
        <p:spPr>
          <a:xfrm>
            <a:off x="2074862" y="43037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9" name="Text Placeholder 39">
            <a:extLst>
              <a:ext uri="{FF2B5EF4-FFF2-40B4-BE49-F238E27FC236}">
                <a16:creationId xmlns:a16="http://schemas.microsoft.com/office/drawing/2014/main" id="{1B7255A0-56A6-4F0E-093B-142E69D677F7}"/>
              </a:ext>
            </a:extLst>
          </p:cNvPr>
          <p:cNvSpPr>
            <a:spLocks noGrp="1"/>
          </p:cNvSpPr>
          <p:nvPr>
            <p:ph type="body" sz="quarter" idx="24" hasCustomPrompt="1"/>
          </p:nvPr>
        </p:nvSpPr>
        <p:spPr>
          <a:xfrm>
            <a:off x="2074862" y="4824944"/>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30" name="Text Placeholder 39">
            <a:extLst>
              <a:ext uri="{FF2B5EF4-FFF2-40B4-BE49-F238E27FC236}">
                <a16:creationId xmlns:a16="http://schemas.microsoft.com/office/drawing/2014/main" id="{32A9D0BD-081B-2DB0-A074-7CDFC57AD5C8}"/>
              </a:ext>
            </a:extLst>
          </p:cNvPr>
          <p:cNvSpPr>
            <a:spLocks noGrp="1"/>
          </p:cNvSpPr>
          <p:nvPr>
            <p:ph type="body" sz="quarter" idx="25" hasCustomPrompt="1"/>
          </p:nvPr>
        </p:nvSpPr>
        <p:spPr>
          <a:xfrm>
            <a:off x="2074862" y="534615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165953144"/>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Divider Photo layout">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9582A0E-F62F-8302-F1D4-2F07D299714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9644B963-AE06-4A64-9C7F-CE5981E07903}"/>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373069298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accent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9582A0E-F62F-8302-F1D4-2F07D299714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9644B963-AE06-4A64-9C7F-CE5981E07903}"/>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39300631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609600" y="838201"/>
            <a:ext cx="5145601" cy="51816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0300" y="838201"/>
            <a:ext cx="5143500" cy="51816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08426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wo person bio 1">
    <p:bg>
      <p:bgPr>
        <a:solidFill>
          <a:schemeClr val="tx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3B53081-2F82-C255-DE2D-C94568285F6B}"/>
              </a:ext>
            </a:extLst>
          </p:cNvPr>
          <p:cNvSpPr/>
          <p:nvPr userDrawn="1"/>
        </p:nvSpPr>
        <p:spPr>
          <a:xfrm>
            <a:off x="962232" y="3451645"/>
            <a:ext cx="5230994" cy="271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361009" y="3446522"/>
            <a:ext cx="5230994" cy="271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1219200" y="1295400"/>
            <a:ext cx="1746015" cy="1746015"/>
          </a:xfrm>
          <a:prstGeom prst="ellipse">
            <a:avLst/>
          </a:prstGeom>
          <a:solidFill>
            <a:srgbClr val="E7E7E8"/>
          </a:solidFill>
          <a:ln w="34925">
            <a:solidFill>
              <a:schemeClr val="bg1"/>
            </a:solidFill>
          </a:ln>
        </p:spPr>
        <p:txBody>
          <a:bodyPr lIns="72000" tIns="72000" rIns="72000">
            <a:noAutofit/>
          </a:bodyPr>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1304648" y="4252006"/>
            <a:ext cx="4979264" cy="1820334"/>
          </a:xfrm>
          <a:prstGeom prst="rect">
            <a:avLst/>
          </a:prstGeom>
          <a:noFill/>
        </p:spPr>
        <p:txBody>
          <a:bodyPr lIns="0" tIns="36000" rIns="0" bIns="0">
            <a:noAutofit/>
          </a:bodyPr>
          <a:lstStyle>
            <a:lvl1pPr>
              <a:spcBef>
                <a:spcPts val="1200"/>
              </a:spcBef>
              <a:spcAft>
                <a:spcPts val="0"/>
              </a:spcAft>
              <a:defRPr sz="1400">
                <a:solidFill>
                  <a:schemeClr val="bg1"/>
                </a:solidFill>
              </a:defRPr>
            </a:lvl1pPr>
            <a:lvl2pPr marL="180000" indent="-180000">
              <a:spcBef>
                <a:spcPts val="1200"/>
              </a:spcBef>
              <a:spcAft>
                <a:spcPts val="0"/>
              </a:spcAft>
              <a:buFont typeface="Wingdings" panose="05000000000000000000" pitchFamily="2" charset="2"/>
              <a:buChar char="§"/>
              <a:defRPr sz="1400">
                <a:solidFill>
                  <a:schemeClr val="bg1"/>
                </a:solidFill>
              </a:defRPr>
            </a:lvl2pPr>
            <a:lvl3pPr>
              <a:spcBef>
                <a:spcPts val="12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1314525" y="3156160"/>
            <a:ext cx="4979264" cy="306502"/>
          </a:xfrm>
        </p:spPr>
        <p:txBody>
          <a:bodyPr>
            <a:noAutofit/>
          </a:bodyPr>
          <a:lstStyle>
            <a:lvl1pPr>
              <a:spcBef>
                <a:spcPts val="0"/>
              </a:spcBef>
              <a:defRPr sz="2000" b="1">
                <a:solidFill>
                  <a:schemeClr val="tx2"/>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703426" y="1295400"/>
            <a:ext cx="1746015" cy="1746015"/>
          </a:xfrm>
          <a:prstGeom prst="ellipse">
            <a:avLst/>
          </a:prstGeom>
          <a:solidFill>
            <a:srgbClr val="E7E7E8"/>
          </a:solidFill>
          <a:ln w="34925">
            <a:solidFill>
              <a:schemeClr val="bg1"/>
            </a:solidFill>
          </a:ln>
        </p:spPr>
        <p:txBody>
          <a:bodyPr lIns="72000" tIns="72000" rIns="72000">
            <a:noAutofit/>
          </a:bodyPr>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1314525" y="3577384"/>
            <a:ext cx="4979264" cy="429019"/>
          </a:xfrm>
        </p:spPr>
        <p:txBody>
          <a:bodyPr>
            <a:noAutofit/>
          </a:bodyPr>
          <a:lstStyle>
            <a:lvl1pPr>
              <a:spcBef>
                <a:spcPts val="800"/>
              </a:spcBef>
              <a:defRPr sz="1400" b="1">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703425" y="4251712"/>
            <a:ext cx="4979265" cy="1820334"/>
          </a:xfrm>
          <a:prstGeom prst="rect">
            <a:avLst/>
          </a:prstGeom>
          <a:noFill/>
        </p:spPr>
        <p:txBody>
          <a:bodyPr lIns="0" tIns="36000" rIns="0" bIns="0">
            <a:noAutofit/>
          </a:bodyPr>
          <a:lstStyle>
            <a:lvl1pPr>
              <a:spcBef>
                <a:spcPts val="1200"/>
              </a:spcBef>
              <a:spcAft>
                <a:spcPts val="0"/>
              </a:spcAft>
              <a:defRPr sz="1400">
                <a:solidFill>
                  <a:schemeClr val="bg1"/>
                </a:solidFill>
              </a:defRPr>
            </a:lvl1pPr>
            <a:lvl2pPr marL="180000" indent="-180000">
              <a:spcBef>
                <a:spcPts val="1200"/>
              </a:spcBef>
              <a:spcAft>
                <a:spcPts val="0"/>
              </a:spcAft>
              <a:buFont typeface="Wingdings" panose="05000000000000000000" pitchFamily="2" charset="2"/>
              <a:buChar char="§"/>
              <a:defRPr sz="1400">
                <a:solidFill>
                  <a:schemeClr val="bg1"/>
                </a:solidFill>
              </a:defRPr>
            </a:lvl2pPr>
            <a:lvl3pPr>
              <a:spcBef>
                <a:spcPts val="12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713302" y="3155866"/>
            <a:ext cx="4979265" cy="306502"/>
          </a:xfrm>
        </p:spPr>
        <p:txBody>
          <a:bodyPr>
            <a:noAutofit/>
          </a:bodyPr>
          <a:lstStyle>
            <a:lvl1pPr>
              <a:spcBef>
                <a:spcPts val="0"/>
              </a:spcBef>
              <a:defRPr sz="20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713302" y="3577090"/>
            <a:ext cx="4979265" cy="429019"/>
          </a:xfrm>
        </p:spPr>
        <p:txBody>
          <a:bodyPr>
            <a:noAutofit/>
          </a:bodyPr>
          <a:lstStyle>
            <a:lvl1pPr>
              <a:spcBef>
                <a:spcPts val="800"/>
              </a:spcBef>
              <a:defRPr sz="1400" b="1">
                <a:solidFill>
                  <a:schemeClr val="bg1"/>
                </a:solidFill>
                <a:latin typeface="+mn-lt"/>
              </a:defRPr>
            </a:lvl1pPr>
          </a:lstStyle>
          <a:p>
            <a:pPr lvl="0"/>
            <a:r>
              <a:rPr lang="en-US"/>
              <a:t>Title</a:t>
            </a:r>
          </a:p>
        </p:txBody>
      </p:sp>
      <p:sp>
        <p:nvSpPr>
          <p:cNvPr id="5" name="Title Placeholder 13">
            <a:extLst>
              <a:ext uri="{FF2B5EF4-FFF2-40B4-BE49-F238E27FC236}">
                <a16:creationId xmlns:a16="http://schemas.microsoft.com/office/drawing/2014/main" id="{F5C65AF7-8DD1-FCCD-E587-764A393C29B7}"/>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noAutofit/>
          </a:bodyPr>
          <a:lstStyle>
            <a:lvl1pPr>
              <a:defRPr sz="2800" b="1" baseline="0"/>
            </a:lvl1pPr>
          </a:lstStyle>
          <a:p>
            <a:r>
              <a:rPr lang="en-US"/>
              <a:t>Title and subtitle </a:t>
            </a:r>
            <a:endParaRPr lang="en-GB"/>
          </a:p>
        </p:txBody>
      </p:sp>
      <p:pic>
        <p:nvPicPr>
          <p:cNvPr id="37" name="Graphic 36">
            <a:extLst>
              <a:ext uri="{FF2B5EF4-FFF2-40B4-BE49-F238E27FC236}">
                <a16:creationId xmlns:a16="http://schemas.microsoft.com/office/drawing/2014/main" id="{3D40DFC8-2EA0-2A75-4461-D76745CDD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03192" y="1618567"/>
            <a:ext cx="9388808" cy="5268164"/>
          </a:xfrm>
          <a:prstGeom prst="rect">
            <a:avLst/>
          </a:prstGeom>
        </p:spPr>
      </p:pic>
    </p:spTree>
    <p:extLst>
      <p:ext uri="{BB962C8B-B14F-4D97-AF65-F5344CB8AC3E}">
        <p14:creationId xmlns:p14="http://schemas.microsoft.com/office/powerpoint/2010/main" val="185343148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03192" y="1618567"/>
            <a:ext cx="9388808" cy="5268164"/>
          </a:xfrm>
          <a:prstGeom prst="rect">
            <a:avLst/>
          </a:prstGeom>
        </p:spPr>
      </p:pic>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478576" y="443268"/>
            <a:ext cx="10621792" cy="492443"/>
          </a:xfrm>
          <a:prstGeom prst="rect">
            <a:avLst/>
          </a:prstGeom>
        </p:spPr>
        <p:txBody>
          <a:bodyPr vert="horz" wrap="square" lIns="0" tIns="0" rIns="0" bIns="0" rtlCol="0" anchor="t" anchorCtr="0">
            <a:spAutoFit/>
          </a:bodyPr>
          <a:lstStyle>
            <a:lvl1pPr>
              <a:defRPr sz="3200"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744200" y="401044"/>
            <a:ext cx="1052143" cy="441590"/>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37715448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744200" y="401044"/>
            <a:ext cx="1052143" cy="441590"/>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3" name="Title Placeholder 13">
            <a:extLst>
              <a:ext uri="{FF2B5EF4-FFF2-40B4-BE49-F238E27FC236}">
                <a16:creationId xmlns:a16="http://schemas.microsoft.com/office/drawing/2014/main" id="{270A7A05-B198-7C1C-E4A9-232C25617178}"/>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22723708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363200" y="548477"/>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3044803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layou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5C37E86-9556-64EB-5F5E-D29B5FB85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03192" y="1589836"/>
            <a:ext cx="9388808" cy="5268164"/>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765128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 and subtitle layout">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796792009"/>
      </p:ext>
    </p:extLst>
  </p:cSld>
  <p:clrMapOvr>
    <a:masterClrMapping/>
  </p:clrMapOvr>
  <p:extLst>
    <p:ext uri="{DCECCB84-F9BA-43D5-87BE-67443E8EF086}">
      <p15:sldGuideLst xmlns:p15="http://schemas.microsoft.com/office/powerpoint/2012/main">
        <p15:guide id="1" orient="horz" pos="120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subtitle layou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5C37E86-9556-64EB-5F5E-D29B5FB85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68723" y="3581400"/>
            <a:ext cx="5839485" cy="327659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430000" y="6553200"/>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527648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ubtitle and content layou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1676400"/>
            <a:ext cx="10620376" cy="4308474"/>
          </a:xfrm>
          <a:prstGeom prst="rect">
            <a:avLst/>
          </a:prstGeom>
        </p:spPr>
        <p:txBody>
          <a:bodyPr vert="horz" lIns="0" tIns="0" rIns="0" bIns="0" rtlCol="0">
            <a:norm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1">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168887900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EDAC905F-2EB9-6216-DBB3-EF1D5ECD0722}"/>
              </a:ext>
            </a:extLst>
          </p:cNvPr>
          <p:cNvGrpSpPr/>
          <p:nvPr/>
        </p:nvGrpSpPr>
        <p:grpSpPr>
          <a:xfrm>
            <a:off x="795798" y="1486067"/>
            <a:ext cx="3409075" cy="4076533"/>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01448" y="1486067"/>
            <a:ext cx="3409075" cy="4076533"/>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07098" y="1486067"/>
            <a:ext cx="3409075" cy="4076533"/>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18639" y="1597339"/>
            <a:ext cx="730250" cy="730250"/>
          </a:xfrm>
        </p:spPr>
        <p:txBody>
          <a:bodyPr>
            <a:normAutofit/>
          </a:bodyPr>
          <a:lstStyle>
            <a:lvl1pPr>
              <a:defRPr sz="800"/>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39455" y="1597339"/>
            <a:ext cx="730250" cy="730250"/>
          </a:xfrm>
        </p:spPr>
        <p:txBody>
          <a:bodyPr>
            <a:normAutofit/>
          </a:bodyPr>
          <a:lstStyle>
            <a:lvl1pPr>
              <a:defRPr sz="800"/>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50238" y="1597339"/>
            <a:ext cx="730250" cy="730250"/>
          </a:xfrm>
        </p:spPr>
        <p:txBody>
          <a:bodyPr>
            <a:normAutofit/>
          </a:bodyPr>
          <a:lstStyle>
            <a:lvl1pPr>
              <a:defRPr sz="800"/>
            </a:lvl1pPr>
          </a:lstStyle>
          <a:p>
            <a:r>
              <a:rPr lang="en-US"/>
              <a:t>Click icon to add picture</a:t>
            </a:r>
          </a:p>
        </p:txBody>
      </p:sp>
      <p:sp>
        <p:nvSpPr>
          <p:cNvPr id="35" name="Text Placeholder 49">
            <a:extLst>
              <a:ext uri="{FF2B5EF4-FFF2-40B4-BE49-F238E27FC236}">
                <a16:creationId xmlns:a16="http://schemas.microsoft.com/office/drawing/2014/main" id="{C5D697AB-768B-E466-5877-817532B16D29}"/>
              </a:ext>
            </a:extLst>
          </p:cNvPr>
          <p:cNvSpPr>
            <a:spLocks noGrp="1"/>
          </p:cNvSpPr>
          <p:nvPr>
            <p:ph type="body" sz="quarter" idx="55" hasCustomPrompt="1"/>
          </p:nvPr>
        </p:nvSpPr>
        <p:spPr>
          <a:xfrm>
            <a:off x="947261" y="3012522"/>
            <a:ext cx="3147361"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47260" y="2759959"/>
            <a:ext cx="3147361" cy="287245"/>
          </a:xfrm>
        </p:spPr>
        <p:txBody>
          <a:bodyPr>
            <a:normAutofit/>
          </a:bodyPr>
          <a:lstStyle>
            <a:lvl1pPr algn="ctr">
              <a:defRPr sz="1400" b="1">
                <a:solidFill>
                  <a:schemeClr val="bg1"/>
                </a:solidFill>
              </a:defRPr>
            </a:lvl1pPr>
          </a:lstStyle>
          <a:p>
            <a:pPr lvl="0"/>
            <a:r>
              <a:rPr lang="en-US"/>
              <a:t>Lorem ipsum dolor</a:t>
            </a:r>
          </a:p>
        </p:txBody>
      </p:sp>
      <p:sp>
        <p:nvSpPr>
          <p:cNvPr id="37" name="Text Placeholder 49">
            <a:extLst>
              <a:ext uri="{FF2B5EF4-FFF2-40B4-BE49-F238E27FC236}">
                <a16:creationId xmlns:a16="http://schemas.microsoft.com/office/drawing/2014/main" id="{8B6EDF5D-C837-C6DA-E6FA-3092B9147EB4}"/>
              </a:ext>
            </a:extLst>
          </p:cNvPr>
          <p:cNvSpPr>
            <a:spLocks noGrp="1"/>
          </p:cNvSpPr>
          <p:nvPr>
            <p:ph type="body" sz="quarter" idx="57" hasCustomPrompt="1"/>
          </p:nvPr>
        </p:nvSpPr>
        <p:spPr>
          <a:xfrm>
            <a:off x="4475623" y="3015664"/>
            <a:ext cx="3238542"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475622" y="2763101"/>
            <a:ext cx="3238542" cy="287245"/>
          </a:xfrm>
        </p:spPr>
        <p:txBody>
          <a:bodyPr>
            <a:normAutofit/>
          </a:bodyPr>
          <a:lstStyle>
            <a:lvl1pPr algn="ctr">
              <a:defRPr sz="1400" b="1">
                <a:solidFill>
                  <a:schemeClr val="bg1"/>
                </a:solidFill>
              </a:defRPr>
            </a:lvl1pPr>
          </a:lstStyle>
          <a:p>
            <a:pPr lvl="0"/>
            <a:r>
              <a:rPr lang="en-US"/>
              <a:t>Lorem ipsum dolor</a:t>
            </a:r>
          </a:p>
        </p:txBody>
      </p:sp>
      <p:sp>
        <p:nvSpPr>
          <p:cNvPr id="39" name="Text Placeholder 49">
            <a:extLst>
              <a:ext uri="{FF2B5EF4-FFF2-40B4-BE49-F238E27FC236}">
                <a16:creationId xmlns:a16="http://schemas.microsoft.com/office/drawing/2014/main" id="{CB7A6F6F-FE2D-09A9-42EA-725CF6ECF004}"/>
              </a:ext>
            </a:extLst>
          </p:cNvPr>
          <p:cNvSpPr>
            <a:spLocks noGrp="1"/>
          </p:cNvSpPr>
          <p:nvPr>
            <p:ph type="body" sz="quarter" idx="59" hasCustomPrompt="1"/>
          </p:nvPr>
        </p:nvSpPr>
        <p:spPr>
          <a:xfrm>
            <a:off x="8118167" y="3012522"/>
            <a:ext cx="3227339"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18166" y="2759959"/>
            <a:ext cx="3227339" cy="287245"/>
          </a:xfrm>
        </p:spPr>
        <p:txBody>
          <a:bodyPr>
            <a:normAutofit/>
          </a:bodyPr>
          <a:lstStyle>
            <a:lvl1pPr algn="ctr">
              <a:defRPr sz="1400" b="1">
                <a:solidFill>
                  <a:schemeClr val="bg1"/>
                </a:solidFill>
              </a:defRPr>
            </a:lvl1pPr>
          </a:lstStyle>
          <a:p>
            <a:pPr lvl="0"/>
            <a:r>
              <a:rPr lang="en-US"/>
              <a:t>Lorem ipsum dolor</a:t>
            </a:r>
          </a:p>
        </p:txBody>
      </p:sp>
      <p:sp>
        <p:nvSpPr>
          <p:cNvPr id="5" name="Title Placeholder 13">
            <a:extLst>
              <a:ext uri="{FF2B5EF4-FFF2-40B4-BE49-F238E27FC236}">
                <a16:creationId xmlns:a16="http://schemas.microsoft.com/office/drawing/2014/main" id="{7F3F8F33-2CB0-6A00-6047-3475F2736A6B}"/>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82561659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398985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609600" y="838200"/>
            <a:ext cx="5145601" cy="462152"/>
          </a:xfrm>
        </p:spPr>
        <p:txBody>
          <a:bodyPr anchor="t" anchorCtr="0"/>
          <a:lstStyle>
            <a:lvl1pPr marL="0" indent="0">
              <a:spcBef>
                <a:spcPts val="640"/>
              </a:spcBef>
              <a:spcAft>
                <a:spcPts val="0"/>
              </a:spcAft>
              <a:buNone/>
              <a:defRPr sz="2800" b="0" cap="none" baseline="0">
                <a:solidFill>
                  <a:schemeClr val="accent1"/>
                </a:solidFill>
              </a:defRPr>
            </a:lvl1pPr>
            <a:lvl2pPr marL="544166" indent="0">
              <a:buNone/>
              <a:defRPr sz="2400" b="1"/>
            </a:lvl2pPr>
            <a:lvl3pPr marL="1088333" indent="0">
              <a:buNone/>
              <a:defRPr sz="2133" b="1"/>
            </a:lvl3pPr>
            <a:lvl4pPr marL="1632498" indent="0">
              <a:buNone/>
              <a:defRPr sz="1867" b="1"/>
            </a:lvl4pPr>
            <a:lvl5pPr marL="2176666" indent="0">
              <a:buNone/>
              <a:defRPr sz="1867" b="1"/>
            </a:lvl5pPr>
            <a:lvl6pPr marL="2720832" indent="0">
              <a:buNone/>
              <a:defRPr sz="1867" b="1"/>
            </a:lvl6pPr>
            <a:lvl7pPr marL="3264997" indent="0">
              <a:buNone/>
              <a:defRPr sz="1867" b="1"/>
            </a:lvl7pPr>
            <a:lvl8pPr marL="3809163" indent="0">
              <a:buNone/>
              <a:defRPr sz="1867" b="1"/>
            </a:lvl8pPr>
            <a:lvl9pPr marL="4353330" indent="0">
              <a:buNone/>
              <a:defRPr sz="1867" b="1"/>
            </a:lvl9pPr>
          </a:lstStyle>
          <a:p>
            <a:pPr lvl="0"/>
            <a:r>
              <a:rPr lang="en-US"/>
              <a:t>Edit Master text styles</a:t>
            </a:r>
          </a:p>
        </p:txBody>
      </p:sp>
      <p:sp>
        <p:nvSpPr>
          <p:cNvPr id="4" name="Content Placeholder 3"/>
          <p:cNvSpPr>
            <a:spLocks noGrp="1"/>
          </p:cNvSpPr>
          <p:nvPr>
            <p:ph sz="half" idx="2" hasCustomPrompt="1"/>
          </p:nvPr>
        </p:nvSpPr>
        <p:spPr>
          <a:xfrm>
            <a:off x="609600" y="1300352"/>
            <a:ext cx="5145601" cy="4719447"/>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210300" y="833312"/>
            <a:ext cx="5143500" cy="432000"/>
          </a:xfrm>
        </p:spPr>
        <p:txBody>
          <a:bodyPr anchor="t" anchorCtr="0"/>
          <a:lstStyle>
            <a:lvl1pPr marL="0" indent="0">
              <a:spcBef>
                <a:spcPts val="640"/>
              </a:spcBef>
              <a:spcAft>
                <a:spcPts val="0"/>
              </a:spcAft>
              <a:buNone/>
              <a:defRPr sz="2800" b="0" cap="none" baseline="0">
                <a:solidFill>
                  <a:schemeClr val="accent1"/>
                </a:solidFill>
              </a:defRPr>
            </a:lvl1pPr>
            <a:lvl2pPr marL="544166" indent="0">
              <a:buNone/>
              <a:defRPr sz="2400" b="1"/>
            </a:lvl2pPr>
            <a:lvl3pPr marL="1088333" indent="0">
              <a:buNone/>
              <a:defRPr sz="2133" b="1"/>
            </a:lvl3pPr>
            <a:lvl4pPr marL="1632498" indent="0">
              <a:buNone/>
              <a:defRPr sz="1867" b="1"/>
            </a:lvl4pPr>
            <a:lvl5pPr marL="2176666" indent="0">
              <a:buNone/>
              <a:defRPr sz="1867" b="1"/>
            </a:lvl5pPr>
            <a:lvl6pPr marL="2720832" indent="0">
              <a:buNone/>
              <a:defRPr sz="1867" b="1"/>
            </a:lvl6pPr>
            <a:lvl7pPr marL="3264997" indent="0">
              <a:buNone/>
              <a:defRPr sz="1867" b="1"/>
            </a:lvl7pPr>
            <a:lvl8pPr marL="3809163" indent="0">
              <a:buNone/>
              <a:defRPr sz="1867" b="1"/>
            </a:lvl8pPr>
            <a:lvl9pPr marL="4353330" indent="0">
              <a:buNone/>
              <a:defRPr sz="1867" b="1"/>
            </a:lvl9pPr>
          </a:lstStyle>
          <a:p>
            <a:pPr lvl="0"/>
            <a:r>
              <a:rPr lang="en-US"/>
              <a:t>Edit Master text styles</a:t>
            </a:r>
          </a:p>
        </p:txBody>
      </p:sp>
      <p:sp>
        <p:nvSpPr>
          <p:cNvPr id="6" name="Content Placeholder 5"/>
          <p:cNvSpPr>
            <a:spLocks noGrp="1"/>
          </p:cNvSpPr>
          <p:nvPr>
            <p:ph sz="quarter" idx="4" hasCustomPrompt="1"/>
          </p:nvPr>
        </p:nvSpPr>
        <p:spPr>
          <a:xfrm>
            <a:off x="6210300" y="1265313"/>
            <a:ext cx="5140500" cy="4754888"/>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078852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layout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7" name="Title Placeholder 13">
            <a:extLst>
              <a:ext uri="{FF2B5EF4-FFF2-40B4-BE49-F238E27FC236}">
                <a16:creationId xmlns:a16="http://schemas.microsoft.com/office/drawing/2014/main" id="{104D388C-C8C9-153D-E99E-4E8009911BD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Rectangle 5">
            <a:extLst>
              <a:ext uri="{FF2B5EF4-FFF2-40B4-BE49-F238E27FC236}">
                <a16:creationId xmlns:a16="http://schemas.microsoft.com/office/drawing/2014/main" id="{EC46EC70-B8F1-8496-9C2F-8EE6ADB5246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xxx</a:t>
            </a:r>
          </a:p>
          <a:p>
            <a:pPr marL="0" indent="0" algn="l">
              <a:buFont typeface="+mj-lt"/>
              <a:buNone/>
            </a:pPr>
            <a:endParaRPr lang="en-US" sz="1800" b="0">
              <a:solidFill>
                <a:srgbClr val="E40046"/>
              </a:solidFill>
            </a:endParaRPr>
          </a:p>
        </p:txBody>
      </p:sp>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Slide Number Placeholder 1">
            <a:extLst>
              <a:ext uri="{FF2B5EF4-FFF2-40B4-BE49-F238E27FC236}">
                <a16:creationId xmlns:a16="http://schemas.microsoft.com/office/drawing/2014/main" id="{2F0E98DC-8855-957B-075C-9476F2CB6AC0}"/>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solidFill>
              </a:rPr>
              <a:t>RSM | </a:t>
            </a:r>
            <a:fld id="{D3664AF6-26E3-4378-990F-C4F4E21208D6}" type="slidenum">
              <a:rPr smtClean="0">
                <a:solidFill>
                  <a:schemeClr val="bg1"/>
                </a:solidFill>
              </a:rPr>
              <a:pPr algn="r"/>
              <a:t>‹#›</a:t>
            </a:fld>
            <a:endParaRPr>
              <a:solidFill>
                <a:schemeClr val="bg1"/>
              </a:solidFill>
            </a:endParaRPr>
          </a:p>
        </p:txBody>
      </p:sp>
    </p:spTree>
    <p:extLst>
      <p:ext uri="{BB962C8B-B14F-4D97-AF65-F5344CB8AC3E}">
        <p14:creationId xmlns:p14="http://schemas.microsoft.com/office/powerpoint/2010/main" val="2780188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Tree>
    <p:extLst>
      <p:ext uri="{BB962C8B-B14F-4D97-AF65-F5344CB8AC3E}">
        <p14:creationId xmlns:p14="http://schemas.microsoft.com/office/powerpoint/2010/main" val="380908505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36786254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layout 4">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7" name="Slide Number Placeholder 1">
            <a:extLst>
              <a:ext uri="{FF2B5EF4-FFF2-40B4-BE49-F238E27FC236}">
                <a16:creationId xmlns:a16="http://schemas.microsoft.com/office/drawing/2014/main" id="{1A9ACDF7-C8FC-B221-9C32-53F084C66403}"/>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solidFill>
              </a:rPr>
              <a:t>RSM | </a:t>
            </a:r>
            <a:fld id="{D3664AF6-26E3-4378-990F-C4F4E21208D6}" type="slidenum">
              <a:rPr smtClean="0">
                <a:solidFill>
                  <a:schemeClr val="bg1"/>
                </a:solidFill>
              </a:rPr>
              <a:pPr algn="r"/>
              <a:t>‹#›</a:t>
            </a:fld>
            <a:endParaRPr>
              <a:solidFill>
                <a:schemeClr val="bg1"/>
              </a:solidFill>
            </a:endParaRPr>
          </a:p>
        </p:txBody>
      </p:sp>
      <p:grpSp>
        <p:nvGrpSpPr>
          <p:cNvPr id="16" name="Group 15">
            <a:extLst>
              <a:ext uri="{FF2B5EF4-FFF2-40B4-BE49-F238E27FC236}">
                <a16:creationId xmlns:a16="http://schemas.microsoft.com/office/drawing/2014/main" id="{8E195C2C-CFF3-9E10-347B-6940BED6B9A4}"/>
              </a:ext>
            </a:extLst>
          </p:cNvPr>
          <p:cNvGrpSpPr/>
          <p:nvPr userDrawn="1"/>
        </p:nvGrpSpPr>
        <p:grpSpPr>
          <a:xfrm>
            <a:off x="10863102" y="309052"/>
            <a:ext cx="911847" cy="382707"/>
            <a:chOff x="7459170" y="481236"/>
            <a:chExt cx="2697427" cy="1132124"/>
          </a:xfrm>
          <a:solidFill>
            <a:schemeClr val="bg1"/>
          </a:solidFill>
        </p:grpSpPr>
        <p:sp>
          <p:nvSpPr>
            <p:cNvPr id="17" name="Freeform 3">
              <a:extLst>
                <a:ext uri="{FF2B5EF4-FFF2-40B4-BE49-F238E27FC236}">
                  <a16:creationId xmlns:a16="http://schemas.microsoft.com/office/drawing/2014/main" id="{11E5DC67-7742-369B-C00D-F45618B97D9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8" name="Freeform 7">
              <a:extLst>
                <a:ext uri="{FF2B5EF4-FFF2-40B4-BE49-F238E27FC236}">
                  <a16:creationId xmlns:a16="http://schemas.microsoft.com/office/drawing/2014/main" id="{2E8FC8C5-E847-B617-5B01-7D25C9D5688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9" name="Freeform 8">
              <a:extLst>
                <a:ext uri="{FF2B5EF4-FFF2-40B4-BE49-F238E27FC236}">
                  <a16:creationId xmlns:a16="http://schemas.microsoft.com/office/drawing/2014/main" id="{3B8A685D-031A-908C-79A6-C0FB42DB95C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0" name="Freeform 10">
              <a:extLst>
                <a:ext uri="{FF2B5EF4-FFF2-40B4-BE49-F238E27FC236}">
                  <a16:creationId xmlns:a16="http://schemas.microsoft.com/office/drawing/2014/main" id="{676EAC55-26A1-7793-E325-E25421C0ADC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A90596A8-45C1-FE4E-6EE9-5521D5C423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2" name="Freeform 12">
              <a:extLst>
                <a:ext uri="{FF2B5EF4-FFF2-40B4-BE49-F238E27FC236}">
                  <a16:creationId xmlns:a16="http://schemas.microsoft.com/office/drawing/2014/main" id="{F02C72E7-58B2-DC53-F651-35DBD502F09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3" name="Freeform 13">
              <a:extLst>
                <a:ext uri="{FF2B5EF4-FFF2-40B4-BE49-F238E27FC236}">
                  <a16:creationId xmlns:a16="http://schemas.microsoft.com/office/drawing/2014/main" id="{25D326AC-01F7-A1C9-2AB2-9826AB209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3770090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25604157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20988328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layout 8">
    <p:bg>
      <p:bgPr>
        <a:solidFill>
          <a:schemeClr val="accent4"/>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4058A20-5A6B-F5DB-969D-CC8F3EEF2E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362964852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layout 1">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cxnSp>
        <p:nvCxnSpPr>
          <p:cNvPr id="19" name="Straight Connector 18">
            <a:extLst>
              <a:ext uri="{FF2B5EF4-FFF2-40B4-BE49-F238E27FC236}">
                <a16:creationId xmlns:a16="http://schemas.microsoft.com/office/drawing/2014/main" id="{135CCC4D-5CF9-5FBD-F77B-A6F94DB5C2D8}"/>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0" name="Straight Connector 19">
            <a:extLst>
              <a:ext uri="{FF2B5EF4-FFF2-40B4-BE49-F238E27FC236}">
                <a16:creationId xmlns:a16="http://schemas.microsoft.com/office/drawing/2014/main" id="{6B9DFBA5-6368-E88D-F954-303827B967AA}"/>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1" name="Straight Connector 20">
            <a:extLst>
              <a:ext uri="{FF2B5EF4-FFF2-40B4-BE49-F238E27FC236}">
                <a16:creationId xmlns:a16="http://schemas.microsoft.com/office/drawing/2014/main" id="{CBCA33FC-6477-AF5A-96D4-D19326027125}"/>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2" name="Straight Connector 21">
            <a:extLst>
              <a:ext uri="{FF2B5EF4-FFF2-40B4-BE49-F238E27FC236}">
                <a16:creationId xmlns:a16="http://schemas.microsoft.com/office/drawing/2014/main" id="{80C177B4-08C2-9D46-5865-01B97843C4A5}"/>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3" name="Straight Connector 22">
            <a:extLst>
              <a:ext uri="{FF2B5EF4-FFF2-40B4-BE49-F238E27FC236}">
                <a16:creationId xmlns:a16="http://schemas.microsoft.com/office/drawing/2014/main" id="{F31554C6-10CE-9B15-DA4E-05C3BC11AD28}"/>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4" name="Straight Connector 23">
            <a:extLst>
              <a:ext uri="{FF2B5EF4-FFF2-40B4-BE49-F238E27FC236}">
                <a16:creationId xmlns:a16="http://schemas.microsoft.com/office/drawing/2014/main" id="{6050109D-8698-D08D-52C2-FDE559507E6D}"/>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5" name="Straight Connector 24">
            <a:extLst>
              <a:ext uri="{FF2B5EF4-FFF2-40B4-BE49-F238E27FC236}">
                <a16:creationId xmlns:a16="http://schemas.microsoft.com/office/drawing/2014/main" id="{9366AA3D-683E-4B15-5588-B08FD89C2E96}"/>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0" name="Text Placeholder 39">
            <a:extLst>
              <a:ext uri="{FF2B5EF4-FFF2-40B4-BE49-F238E27FC236}">
                <a16:creationId xmlns:a16="http://schemas.microsoft.com/office/drawing/2014/main" id="{E2CBECA9-CA46-46FC-7794-5A9FE543CCDB}"/>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1" name="Text Placeholder 39">
            <a:extLst>
              <a:ext uri="{FF2B5EF4-FFF2-40B4-BE49-F238E27FC236}">
                <a16:creationId xmlns:a16="http://schemas.microsoft.com/office/drawing/2014/main" id="{2D30B758-7E0D-C0DA-97E2-A72168BC4B23}"/>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2" name="Text Placeholder 39">
            <a:extLst>
              <a:ext uri="{FF2B5EF4-FFF2-40B4-BE49-F238E27FC236}">
                <a16:creationId xmlns:a16="http://schemas.microsoft.com/office/drawing/2014/main" id="{70FC90D5-536F-3E28-21EA-30CDF1035621}"/>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43" name="Text Placeholder 39">
            <a:extLst>
              <a:ext uri="{FF2B5EF4-FFF2-40B4-BE49-F238E27FC236}">
                <a16:creationId xmlns:a16="http://schemas.microsoft.com/office/drawing/2014/main" id="{D060757D-35BA-A819-7663-14527A16BE9A}"/>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44" name="Text Placeholder 39">
            <a:extLst>
              <a:ext uri="{FF2B5EF4-FFF2-40B4-BE49-F238E27FC236}">
                <a16:creationId xmlns:a16="http://schemas.microsoft.com/office/drawing/2014/main" id="{B912733E-F0E5-CF74-1FA9-9FC280FCE2D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45" name="Text Placeholder 39">
            <a:extLst>
              <a:ext uri="{FF2B5EF4-FFF2-40B4-BE49-F238E27FC236}">
                <a16:creationId xmlns:a16="http://schemas.microsoft.com/office/drawing/2014/main" id="{9A1A9A09-CCCD-C80F-1B7A-08D15BCD89CE}"/>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46" name="Text Placeholder 39">
            <a:extLst>
              <a:ext uri="{FF2B5EF4-FFF2-40B4-BE49-F238E27FC236}">
                <a16:creationId xmlns:a16="http://schemas.microsoft.com/office/drawing/2014/main" id="{19E8923D-3CD4-44E9-90BE-9849BB275B46}"/>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47" name="Text Placeholder 39">
            <a:extLst>
              <a:ext uri="{FF2B5EF4-FFF2-40B4-BE49-F238E27FC236}">
                <a16:creationId xmlns:a16="http://schemas.microsoft.com/office/drawing/2014/main" id="{E345F7FB-748D-3448-30F4-3180075600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0" name="Text Placeholder 39">
            <a:extLst>
              <a:ext uri="{FF2B5EF4-FFF2-40B4-BE49-F238E27FC236}">
                <a16:creationId xmlns:a16="http://schemas.microsoft.com/office/drawing/2014/main" id="{51D0229B-A7D8-CCDE-811F-0A0B4491BC00}"/>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1" name="Text Placeholder 39">
            <a:extLst>
              <a:ext uri="{FF2B5EF4-FFF2-40B4-BE49-F238E27FC236}">
                <a16:creationId xmlns:a16="http://schemas.microsoft.com/office/drawing/2014/main" id="{E2053B38-6070-9530-7A9F-0D8F15AF0403}"/>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2" name="Text Placeholder 39">
            <a:extLst>
              <a:ext uri="{FF2B5EF4-FFF2-40B4-BE49-F238E27FC236}">
                <a16:creationId xmlns:a16="http://schemas.microsoft.com/office/drawing/2014/main" id="{A2F8C8C8-1352-F219-3BAA-7BC7252B77B7}"/>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3" name="Text Placeholder 39">
            <a:extLst>
              <a:ext uri="{FF2B5EF4-FFF2-40B4-BE49-F238E27FC236}">
                <a16:creationId xmlns:a16="http://schemas.microsoft.com/office/drawing/2014/main" id="{6C756CB9-21BC-666B-2D62-983CD6D15EFF}"/>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4" name="Text Placeholder 39">
            <a:extLst>
              <a:ext uri="{FF2B5EF4-FFF2-40B4-BE49-F238E27FC236}">
                <a16:creationId xmlns:a16="http://schemas.microsoft.com/office/drawing/2014/main" id="{06E4614F-45BB-9DF5-B59C-9D55B7AF89C9}"/>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5" name="Text Placeholder 39">
            <a:extLst>
              <a:ext uri="{FF2B5EF4-FFF2-40B4-BE49-F238E27FC236}">
                <a16:creationId xmlns:a16="http://schemas.microsoft.com/office/drawing/2014/main" id="{7D3A9DDF-A5EA-FF80-9E63-A3C735CA9B33}"/>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9ED4F07-CD14-AADD-1EED-A132C8C63A3D}"/>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6FCC2A08-0137-67BD-B3D4-89722CEC2799}"/>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3020572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genda layout 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4" name="Title Placeholder 13">
            <a:extLst>
              <a:ext uri="{FF2B5EF4-FFF2-40B4-BE49-F238E27FC236}">
                <a16:creationId xmlns:a16="http://schemas.microsoft.com/office/drawing/2014/main" id="{6EB62A34-548B-BEDA-D7A4-52B80F28F6F6}"/>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65" name="Straight Connector 64">
            <a:extLst>
              <a:ext uri="{FF2B5EF4-FFF2-40B4-BE49-F238E27FC236}">
                <a16:creationId xmlns:a16="http://schemas.microsoft.com/office/drawing/2014/main" id="{E7C0E53A-2A85-E8F8-E26B-976181F90D07}"/>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6" name="Straight Connector 65">
            <a:extLst>
              <a:ext uri="{FF2B5EF4-FFF2-40B4-BE49-F238E27FC236}">
                <a16:creationId xmlns:a16="http://schemas.microsoft.com/office/drawing/2014/main" id="{5DC6CB0C-179F-81EB-02CE-0106DE1166AC}"/>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C8128A8F-98D7-3341-3CA5-E7A3743FDCDD}"/>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55CC3607-E7CC-FDEC-B87C-D626258DA100}"/>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9" name="Straight Connector 68">
            <a:extLst>
              <a:ext uri="{FF2B5EF4-FFF2-40B4-BE49-F238E27FC236}">
                <a16:creationId xmlns:a16="http://schemas.microsoft.com/office/drawing/2014/main" id="{9409FA13-0EB3-DAC4-D8E9-678F17AE1D62}"/>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0" name="Straight Connector 69">
            <a:extLst>
              <a:ext uri="{FF2B5EF4-FFF2-40B4-BE49-F238E27FC236}">
                <a16:creationId xmlns:a16="http://schemas.microsoft.com/office/drawing/2014/main" id="{DD676B04-EEFF-230F-5D92-ADB493448432}"/>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1" name="Straight Connector 70">
            <a:extLst>
              <a:ext uri="{FF2B5EF4-FFF2-40B4-BE49-F238E27FC236}">
                <a16:creationId xmlns:a16="http://schemas.microsoft.com/office/drawing/2014/main" id="{538D5F85-D448-7E5B-BDB5-0A4968D63F3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72" name="Text Placeholder 39">
            <a:extLst>
              <a:ext uri="{FF2B5EF4-FFF2-40B4-BE49-F238E27FC236}">
                <a16:creationId xmlns:a16="http://schemas.microsoft.com/office/drawing/2014/main" id="{07E73D03-5863-56DB-D568-6AB72894412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73" name="Text Placeholder 39">
            <a:extLst>
              <a:ext uri="{FF2B5EF4-FFF2-40B4-BE49-F238E27FC236}">
                <a16:creationId xmlns:a16="http://schemas.microsoft.com/office/drawing/2014/main" id="{EE959897-51AA-1BAA-0F53-BDCF2828B8C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74" name="Text Placeholder 39">
            <a:extLst>
              <a:ext uri="{FF2B5EF4-FFF2-40B4-BE49-F238E27FC236}">
                <a16:creationId xmlns:a16="http://schemas.microsoft.com/office/drawing/2014/main" id="{B456E000-7E49-11B1-C77A-0DA997F4D5EB}"/>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75" name="Text Placeholder 39">
            <a:extLst>
              <a:ext uri="{FF2B5EF4-FFF2-40B4-BE49-F238E27FC236}">
                <a16:creationId xmlns:a16="http://schemas.microsoft.com/office/drawing/2014/main" id="{3C4EF879-36E0-FF43-913F-0E9A02BA1201}"/>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76" name="Text Placeholder 39">
            <a:extLst>
              <a:ext uri="{FF2B5EF4-FFF2-40B4-BE49-F238E27FC236}">
                <a16:creationId xmlns:a16="http://schemas.microsoft.com/office/drawing/2014/main" id="{518D1BC5-FA3F-4F93-FEE1-CB7B86723DE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77" name="Text Placeholder 39">
            <a:extLst>
              <a:ext uri="{FF2B5EF4-FFF2-40B4-BE49-F238E27FC236}">
                <a16:creationId xmlns:a16="http://schemas.microsoft.com/office/drawing/2014/main" id="{F324FD2B-6ABE-7CE4-0191-5185B3BAFF4B}"/>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78" name="Text Placeholder 39">
            <a:extLst>
              <a:ext uri="{FF2B5EF4-FFF2-40B4-BE49-F238E27FC236}">
                <a16:creationId xmlns:a16="http://schemas.microsoft.com/office/drawing/2014/main" id="{06F73631-0C79-EE6F-6A24-6F2CB7E4239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79" name="Text Placeholder 39">
            <a:extLst>
              <a:ext uri="{FF2B5EF4-FFF2-40B4-BE49-F238E27FC236}">
                <a16:creationId xmlns:a16="http://schemas.microsoft.com/office/drawing/2014/main" id="{D4BFECB8-B272-4E27-73A6-DD1EB09622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80" name="Text Placeholder 39">
            <a:extLst>
              <a:ext uri="{FF2B5EF4-FFF2-40B4-BE49-F238E27FC236}">
                <a16:creationId xmlns:a16="http://schemas.microsoft.com/office/drawing/2014/main" id="{3909EADE-A5FA-971F-AF65-A48123991355}"/>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1" name="Text Placeholder 39">
            <a:extLst>
              <a:ext uri="{FF2B5EF4-FFF2-40B4-BE49-F238E27FC236}">
                <a16:creationId xmlns:a16="http://schemas.microsoft.com/office/drawing/2014/main" id="{8E045A1E-A07D-3C8A-C6B9-FA131E0B3B38}"/>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2" name="Text Placeholder 39">
            <a:extLst>
              <a:ext uri="{FF2B5EF4-FFF2-40B4-BE49-F238E27FC236}">
                <a16:creationId xmlns:a16="http://schemas.microsoft.com/office/drawing/2014/main" id="{FDF63BA5-591D-F3A6-BB3D-C74753EE1120}"/>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3" name="Text Placeholder 39">
            <a:extLst>
              <a:ext uri="{FF2B5EF4-FFF2-40B4-BE49-F238E27FC236}">
                <a16:creationId xmlns:a16="http://schemas.microsoft.com/office/drawing/2014/main" id="{5F96C7D4-5F77-30AD-13E2-6D08A59A5B11}"/>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4" name="Text Placeholder 39">
            <a:extLst>
              <a:ext uri="{FF2B5EF4-FFF2-40B4-BE49-F238E27FC236}">
                <a16:creationId xmlns:a16="http://schemas.microsoft.com/office/drawing/2014/main" id="{C8CDEF22-E859-45D9-BF9C-BBB18933EF4C}"/>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5" name="Text Placeholder 39">
            <a:extLst>
              <a:ext uri="{FF2B5EF4-FFF2-40B4-BE49-F238E27FC236}">
                <a16:creationId xmlns:a16="http://schemas.microsoft.com/office/drawing/2014/main" id="{F99BC4FF-602B-1EE0-5635-292F58CAF3C0}"/>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6" name="Text Placeholder 39">
            <a:extLst>
              <a:ext uri="{FF2B5EF4-FFF2-40B4-BE49-F238E27FC236}">
                <a16:creationId xmlns:a16="http://schemas.microsoft.com/office/drawing/2014/main" id="{F90BF824-AB0C-19AB-212C-A4BAEAB974FA}"/>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7" name="Text Placeholder 39">
            <a:extLst>
              <a:ext uri="{FF2B5EF4-FFF2-40B4-BE49-F238E27FC236}">
                <a16:creationId xmlns:a16="http://schemas.microsoft.com/office/drawing/2014/main" id="{92FE9B89-8F64-6D51-8E2B-A18271F4BC20}"/>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400298606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448E2F0A-EB88-3AEB-AA37-140D830BCC44}"/>
              </a:ext>
            </a:extLst>
          </p:cNvPr>
          <p:cNvGrpSpPr/>
          <p:nvPr userDrawn="1"/>
        </p:nvGrpSpPr>
        <p:grpSpPr>
          <a:xfrm>
            <a:off x="10863102" y="309052"/>
            <a:ext cx="911847" cy="382707"/>
            <a:chOff x="7459170" y="481236"/>
            <a:chExt cx="2697427" cy="1132124"/>
          </a:xfrm>
          <a:solidFill>
            <a:schemeClr val="bg1"/>
          </a:solidFill>
        </p:grpSpPr>
        <p:sp>
          <p:nvSpPr>
            <p:cNvPr id="16" name="Freeform 3">
              <a:extLst>
                <a:ext uri="{FF2B5EF4-FFF2-40B4-BE49-F238E27FC236}">
                  <a16:creationId xmlns:a16="http://schemas.microsoft.com/office/drawing/2014/main" id="{04065129-0703-3780-A5B0-57A494D305D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7" name="Freeform 7">
              <a:extLst>
                <a:ext uri="{FF2B5EF4-FFF2-40B4-BE49-F238E27FC236}">
                  <a16:creationId xmlns:a16="http://schemas.microsoft.com/office/drawing/2014/main" id="{B4B772F5-39B3-38AE-EDD9-52228969E35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8">
              <a:extLst>
                <a:ext uri="{FF2B5EF4-FFF2-40B4-BE49-F238E27FC236}">
                  <a16:creationId xmlns:a16="http://schemas.microsoft.com/office/drawing/2014/main" id="{0E6544EE-DD5E-3AAB-A057-AFCAABDAD3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0">
              <a:extLst>
                <a:ext uri="{FF2B5EF4-FFF2-40B4-BE49-F238E27FC236}">
                  <a16:creationId xmlns:a16="http://schemas.microsoft.com/office/drawing/2014/main" id="{3D59632F-0E27-53F5-C71D-FDB41E68C4B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1">
              <a:extLst>
                <a:ext uri="{FF2B5EF4-FFF2-40B4-BE49-F238E27FC236}">
                  <a16:creationId xmlns:a16="http://schemas.microsoft.com/office/drawing/2014/main" id="{010B2E46-F5AC-6F89-3970-D1B425D07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12">
              <a:extLst>
                <a:ext uri="{FF2B5EF4-FFF2-40B4-BE49-F238E27FC236}">
                  <a16:creationId xmlns:a16="http://schemas.microsoft.com/office/drawing/2014/main" id="{BD0F27C4-5895-9BF1-019A-71F3FB089C5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13">
              <a:extLst>
                <a:ext uri="{FF2B5EF4-FFF2-40B4-BE49-F238E27FC236}">
                  <a16:creationId xmlns:a16="http://schemas.microsoft.com/office/drawing/2014/main" id="{23628B6A-984E-A1C0-58C8-AA6F7EC0554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9" name="Title Placeholder 13">
            <a:extLst>
              <a:ext uri="{FF2B5EF4-FFF2-40B4-BE49-F238E27FC236}">
                <a16:creationId xmlns:a16="http://schemas.microsoft.com/office/drawing/2014/main" id="{1E72F3D2-E81D-A9FB-3CB5-3387E2019C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589C69E9-A795-305D-BF66-7F44A3A8D0C9}"/>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E50D317A-E0E8-05E8-9522-7F5256B2148E}"/>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6CF0A759-7682-27AA-DB35-878B76242D34}"/>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0D9B7AC4-54F8-A38F-D4D0-7E8FA955A383}"/>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443B685A-8374-78D2-2D03-8B69291B85DD}"/>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58EE9976-E554-5337-0E5E-A938F9BDAC19}"/>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DE4646BF-8103-2DEA-5959-1AA24B826CC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5FAA3E12-835D-E655-78D0-ADCECA89DFC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C9F545F-1136-4470-8F71-0DF7EC609D1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E068F80C-D198-A21D-F3A1-6AFC13CE94AA}"/>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445B268D-F6A1-4B4D-4148-702A352C3922}"/>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15AAED45-F756-7524-01E4-AF583C645AB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08453C6B-C09A-F8C3-89BC-9A4E5C7835D8}"/>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01B7C4A6-4F1A-C7C0-9431-5DD51D86E0D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8FB2E255-FD50-ADF4-4FA8-E3DE13073A0D}"/>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2D87C794-8C30-0DA4-DD94-B4FDC5FEC15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7A34A8B9-CE39-8488-19E1-703536592FC2}"/>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BAE10919-7160-E908-7649-70307CEA9356}"/>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FADD6BC6-DEC9-9D0C-2CCC-D9B98B1660E4}"/>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9174C0CB-1D27-C1EA-5B34-71B5F18EB9F0}"/>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F2E5E1CF-5771-F08D-C35B-437B00CDFC28}"/>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70198A42-ABED-7A3E-AB7D-E20627325196}"/>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DE1E1CAD-7920-187A-B826-7E4A49A624FA}"/>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922423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884"/>
            <a:ext cx="12191616" cy="6856444"/>
          </a:xfrm>
          <a:prstGeom prst="rect">
            <a:avLst/>
          </a:prstGeom>
        </p:spPr>
      </p:pic>
      <p:sp>
        <p:nvSpPr>
          <p:cNvPr id="2" name="Title 1"/>
          <p:cNvSpPr>
            <a:spLocks noGrp="1"/>
          </p:cNvSpPr>
          <p:nvPr>
            <p:ph type="ctrTitle"/>
          </p:nvPr>
        </p:nvSpPr>
        <p:spPr>
          <a:xfrm>
            <a:off x="5158596" y="1285336"/>
            <a:ext cx="5509404" cy="2508870"/>
          </a:xfrm>
        </p:spPr>
        <p:txBody>
          <a:bodyPr anchor="b">
            <a:normAutofit/>
          </a:bodyPr>
          <a:lstStyle>
            <a:lvl1pPr algn="l">
              <a:defRPr sz="3200" cap="all"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5158596" y="3881519"/>
            <a:ext cx="5509404" cy="1268451"/>
          </a:xfrm>
        </p:spPr>
        <p:txBody>
          <a:bodyPr/>
          <a:lstStyle>
            <a:lvl1pPr marL="0" indent="0" algn="l">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 Placeholder 4"/>
          <p:cNvSpPr>
            <a:spLocks noGrp="1"/>
          </p:cNvSpPr>
          <p:nvPr>
            <p:ph type="body" sz="quarter" idx="13" hasCustomPrompt="1"/>
          </p:nvPr>
        </p:nvSpPr>
        <p:spPr>
          <a:xfrm>
            <a:off x="5158596" y="5371172"/>
            <a:ext cx="5509404" cy="770466"/>
          </a:xfrm>
        </p:spPr>
        <p:txBody>
          <a:bodyPr>
            <a:normAutofit/>
          </a:bodyPr>
          <a:lstStyle>
            <a:lvl1pPr marL="0" indent="0">
              <a:buNone/>
              <a:defRPr sz="1800">
                <a:solidFill>
                  <a:schemeClr val="bg1"/>
                </a:solidFill>
              </a:defRPr>
            </a:lvl1pPr>
          </a:lstStyle>
          <a:p>
            <a:pPr lvl="0"/>
            <a:r>
              <a:rPr lang="en-US"/>
              <a:t>Click to edit Date (optional)</a:t>
            </a:r>
          </a:p>
        </p:txBody>
      </p:sp>
    </p:spTree>
    <p:extLst>
      <p:ext uri="{BB962C8B-B14F-4D97-AF65-F5344CB8AC3E}">
        <p14:creationId xmlns:p14="http://schemas.microsoft.com/office/powerpoint/2010/main" val="246363641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layout 4">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9" name="Title Placeholder 13">
            <a:extLst>
              <a:ext uri="{FF2B5EF4-FFF2-40B4-BE49-F238E27FC236}">
                <a16:creationId xmlns:a16="http://schemas.microsoft.com/office/drawing/2014/main" id="{1C33E444-FA0F-D986-784C-71E4A797F5B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9EAAEF78-5E53-87D8-9D93-0D1035872D9B}"/>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9A5D8CCC-D1C3-287B-1E63-82F6D70CE710}"/>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3867E2EB-7B83-C208-27BE-16E75566446A}"/>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C3E8CD87-5C72-E62A-E17A-032FB2AE3DF2}"/>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A6263FF5-B0BE-19EB-A815-E5FC3B104AFE}"/>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78B7F650-F615-076D-72D4-FAC9D377C703}"/>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37D5EFD3-01BE-9D2E-5498-A2566B7FF9F0}"/>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9EBB322B-3F8A-82A0-D38C-3B0EAF274D6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95B2319-0567-C743-748B-627E75B707E8}"/>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31912C3E-7ADD-21D1-6311-94E61BD523B2}"/>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B35A7D17-0BA1-50CD-BFF9-110B4144B1CD}"/>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58649877-7697-942F-0AFD-04CE442360F3}"/>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1D2B4700-BEF8-D5FC-E4AF-98C66B5EE995}"/>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21339569-E30C-E034-14CD-1C3181FCEBDE}"/>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F3F41331-49E0-608C-5019-6833E7C011FC}"/>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74CC074E-BF67-042C-48A5-4A746E6CF5C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05EC573-9874-C54D-053A-84481BF921CB}"/>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35E2E518-EF54-E1BB-579C-15D087341CAA}"/>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5079E896-AC28-01D8-4E40-24CA2BC65F8E}"/>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486A4BB5-AB33-55A1-72FB-7105E710DDFD}"/>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3BDA6188-AB2E-2801-C4F6-A4F45CC5F1AD}"/>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84FA20F9-E22B-2F8D-C673-C55E58244BE5}"/>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FD73D747-A2B3-C49F-AFAF-4B87F8170384}"/>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19576493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subtitle and content layout">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Tree>
    <p:extLst>
      <p:ext uri="{BB962C8B-B14F-4D97-AF65-F5344CB8AC3E}">
        <p14:creationId xmlns:p14="http://schemas.microsoft.com/office/powerpoint/2010/main" val="389342356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pic>
        <p:nvPicPr>
          <p:cNvPr id="37" name="Graphic 36">
            <a:extLst>
              <a:ext uri="{FF2B5EF4-FFF2-40B4-BE49-F238E27FC236}">
                <a16:creationId xmlns:a16="http://schemas.microsoft.com/office/drawing/2014/main" id="{51739BCC-B01A-1378-F0E4-53D9BC6546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p:nvPr>
        </p:nvSpPr>
        <p:spPr>
          <a:xfrm>
            <a:off x="815974"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893801"/>
            <a:ext cx="5208588" cy="382587"/>
          </a:xfrm>
        </p:spPr>
        <p:txBody>
          <a:bodyPr/>
          <a:lstStyle>
            <a:lvl1pPr>
              <a:defRPr sz="20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893801"/>
            <a:ext cx="5240129"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s</a:t>
            </a:r>
            <a:endParaRPr lang="en-GB"/>
          </a:p>
        </p:txBody>
      </p:sp>
      <p:sp>
        <p:nvSpPr>
          <p:cNvPr id="7" name="Text Placeholder 2">
            <a:extLst>
              <a:ext uri="{FF2B5EF4-FFF2-40B4-BE49-F238E27FC236}">
                <a16:creationId xmlns:a16="http://schemas.microsoft.com/office/drawing/2014/main" id="{5C6D5DA2-DA15-F87F-6881-BF5592EDA52E}"/>
              </a:ext>
            </a:extLst>
          </p:cNvPr>
          <p:cNvSpPr>
            <a:spLocks noGrp="1"/>
          </p:cNvSpPr>
          <p:nvPr>
            <p:ph type="body" sz="quarter" idx="17"/>
          </p:nvPr>
        </p:nvSpPr>
        <p:spPr>
          <a:xfrm>
            <a:off x="6217973"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6F5E924F-D666-848D-1C0A-839E5C7C0AF0}"/>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1" name="Rectangle 10">
            <a:extLst>
              <a:ext uri="{FF2B5EF4-FFF2-40B4-BE49-F238E27FC236}">
                <a16:creationId xmlns:a16="http://schemas.microsoft.com/office/drawing/2014/main" id="{7B3103E6-1AED-761F-6EDC-C1B83F36F4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2" name="Slide Number Placeholder 2">
            <a:extLst>
              <a:ext uri="{FF2B5EF4-FFF2-40B4-BE49-F238E27FC236}">
                <a16:creationId xmlns:a16="http://schemas.microsoft.com/office/drawing/2014/main" id="{B281D2B4-8EFC-C573-2175-FA6BE4B0E52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65B9153A-9F04-345A-4CA1-963B01DA3273}"/>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69868654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372C2C46-13EE-1E57-91A8-AAB689E096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4188" y="2276389"/>
            <a:ext cx="3410149"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893801"/>
            <a:ext cx="3403771"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s</a:t>
            </a:r>
            <a:endParaRPr lang="en-GB"/>
          </a:p>
        </p:txBody>
      </p:sp>
      <p:sp>
        <p:nvSpPr>
          <p:cNvPr id="4" name="Text Placeholder 2">
            <a:extLst>
              <a:ext uri="{FF2B5EF4-FFF2-40B4-BE49-F238E27FC236}">
                <a16:creationId xmlns:a16="http://schemas.microsoft.com/office/drawing/2014/main" id="{F2280CB3-0425-BA90-15EC-559E7DA19F47}"/>
              </a:ext>
            </a:extLst>
          </p:cNvPr>
          <p:cNvSpPr>
            <a:spLocks noGrp="1"/>
          </p:cNvSpPr>
          <p:nvPr>
            <p:ph type="body" sz="quarter" idx="16" hasCustomPrompt="1"/>
          </p:nvPr>
        </p:nvSpPr>
        <p:spPr>
          <a:xfrm>
            <a:off x="4416425" y="2276389"/>
            <a:ext cx="3403771"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893801"/>
            <a:ext cx="3397405" cy="382587"/>
          </a:xfrm>
        </p:spPr>
        <p:txBody>
          <a:bodyPr/>
          <a:lstStyle>
            <a:lvl1pPr>
              <a:defRPr sz="2000" b="1">
                <a:solidFill>
                  <a:schemeClr val="tx2"/>
                </a:solidFill>
                <a:latin typeface="+mn-lt"/>
              </a:defRPr>
            </a:lvl1pPr>
          </a:lstStyle>
          <a:p>
            <a:pPr lvl="0"/>
            <a:r>
              <a:rPr lang="en-US"/>
              <a:t>Click to add text</a:t>
            </a:r>
          </a:p>
        </p:txBody>
      </p:sp>
      <p:sp>
        <p:nvSpPr>
          <p:cNvPr id="11" name="Text Placeholder 2">
            <a:extLst>
              <a:ext uri="{FF2B5EF4-FFF2-40B4-BE49-F238E27FC236}">
                <a16:creationId xmlns:a16="http://schemas.microsoft.com/office/drawing/2014/main" id="{3B7E163D-016A-E15E-158B-089D6A0C574C}"/>
              </a:ext>
            </a:extLst>
          </p:cNvPr>
          <p:cNvSpPr>
            <a:spLocks noGrp="1"/>
          </p:cNvSpPr>
          <p:nvPr>
            <p:ph type="body" sz="quarter" idx="18" hasCustomPrompt="1"/>
          </p:nvPr>
        </p:nvSpPr>
        <p:spPr>
          <a:xfrm>
            <a:off x="8008917" y="2276389"/>
            <a:ext cx="3427066" cy="3924386"/>
          </a:xfrm>
          <a:prstGeom prst="rect">
            <a:avLst/>
          </a:prstGeom>
          <a:noFill/>
        </p:spPr>
        <p:txBody>
          <a:bodyPr lIns="10800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893801"/>
            <a:ext cx="3420657" cy="382587"/>
          </a:xfrm>
        </p:spPr>
        <p:txBody>
          <a:bodyPr/>
          <a:lstStyle>
            <a:lvl1pPr>
              <a:defRPr sz="2000" b="1">
                <a:solidFill>
                  <a:schemeClr val="tx2"/>
                </a:solidFill>
                <a:latin typeface="+mn-lt"/>
              </a:defRPr>
            </a:lvl1pPr>
          </a:lstStyle>
          <a:p>
            <a:pPr lvl="0"/>
            <a:r>
              <a:rPr lang="en-US"/>
              <a:t>Click to add text</a:t>
            </a:r>
          </a:p>
        </p:txBody>
      </p:sp>
      <p:sp>
        <p:nvSpPr>
          <p:cNvPr id="2" name="Text Placeholder 5">
            <a:extLst>
              <a:ext uri="{FF2B5EF4-FFF2-40B4-BE49-F238E27FC236}">
                <a16:creationId xmlns:a16="http://schemas.microsoft.com/office/drawing/2014/main" id="{4F317C24-7498-DFEA-E5B3-AFB38E2261DE}"/>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3" name="Rectangle 12">
            <a:extLst>
              <a:ext uri="{FF2B5EF4-FFF2-40B4-BE49-F238E27FC236}">
                <a16:creationId xmlns:a16="http://schemas.microsoft.com/office/drawing/2014/main" id="{D5B1B7A5-9E52-CA8A-2A4E-796D7A6C5998}"/>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5" name="Slide Number Placeholder 2">
            <a:extLst>
              <a:ext uri="{FF2B5EF4-FFF2-40B4-BE49-F238E27FC236}">
                <a16:creationId xmlns:a16="http://schemas.microsoft.com/office/drawing/2014/main" id="{ABF0B49C-92A3-48DC-5D9F-0EF0695D68C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5" name="Group 4">
            <a:extLst>
              <a:ext uri="{FF2B5EF4-FFF2-40B4-BE49-F238E27FC236}">
                <a16:creationId xmlns:a16="http://schemas.microsoft.com/office/drawing/2014/main" id="{591F3DED-33E1-2A27-8417-C862386CC9D7}"/>
              </a:ext>
            </a:extLst>
          </p:cNvPr>
          <p:cNvGrpSpPr/>
          <p:nvPr userDrawn="1"/>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0266930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2CCCDA05-BDEF-3415-CEF1-21FF7C23FF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5" y="2276389"/>
            <a:ext cx="251936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893802"/>
            <a:ext cx="2514650"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Title slide</a:t>
            </a:r>
            <a:endParaRPr lang="en-GB"/>
          </a:p>
        </p:txBody>
      </p:sp>
      <p:sp>
        <p:nvSpPr>
          <p:cNvPr id="15" name="Text Placeholder 2">
            <a:extLst>
              <a:ext uri="{FF2B5EF4-FFF2-40B4-BE49-F238E27FC236}">
                <a16:creationId xmlns:a16="http://schemas.microsoft.com/office/drawing/2014/main" id="{6FBF75A8-4C81-F086-3A74-0A8419F8800A}"/>
              </a:ext>
            </a:extLst>
          </p:cNvPr>
          <p:cNvSpPr>
            <a:spLocks noGrp="1"/>
          </p:cNvSpPr>
          <p:nvPr>
            <p:ph type="body" sz="quarter" idx="16" hasCustomPrompt="1"/>
          </p:nvPr>
        </p:nvSpPr>
        <p:spPr>
          <a:xfrm>
            <a:off x="8916907" y="2276389"/>
            <a:ext cx="2519443"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6" name="Text Placeholder 2">
            <a:extLst>
              <a:ext uri="{FF2B5EF4-FFF2-40B4-BE49-F238E27FC236}">
                <a16:creationId xmlns:a16="http://schemas.microsoft.com/office/drawing/2014/main" id="{C63FB139-E507-822B-ED86-9333FEAE8E3D}"/>
              </a:ext>
            </a:extLst>
          </p:cNvPr>
          <p:cNvSpPr>
            <a:spLocks noGrp="1"/>
          </p:cNvSpPr>
          <p:nvPr>
            <p:ph type="body" sz="quarter" idx="17" hasCustomPrompt="1"/>
          </p:nvPr>
        </p:nvSpPr>
        <p:spPr>
          <a:xfrm>
            <a:off x="3503613" y="2276389"/>
            <a:ext cx="254372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7" name="Text Placeholder 2">
            <a:extLst>
              <a:ext uri="{FF2B5EF4-FFF2-40B4-BE49-F238E27FC236}">
                <a16:creationId xmlns:a16="http://schemas.microsoft.com/office/drawing/2014/main" id="{68898358-87A3-BA3F-8956-126F4FAA6E92}"/>
              </a:ext>
            </a:extLst>
          </p:cNvPr>
          <p:cNvSpPr>
            <a:spLocks noGrp="1"/>
          </p:cNvSpPr>
          <p:nvPr>
            <p:ph type="body" sz="quarter" idx="18" hasCustomPrompt="1"/>
          </p:nvPr>
        </p:nvSpPr>
        <p:spPr>
          <a:xfrm>
            <a:off x="6215611" y="2276389"/>
            <a:ext cx="2533020"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893802"/>
            <a:ext cx="2514731" cy="382587"/>
          </a:xfrm>
        </p:spPr>
        <p:txBody>
          <a:bodyPr/>
          <a:lstStyle>
            <a:lvl1pPr>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893802"/>
            <a:ext cx="2538964" cy="382587"/>
          </a:xfrm>
        </p:spPr>
        <p:txBody>
          <a:bodyPr/>
          <a:lstStyle>
            <a:lvl1pPr>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893802"/>
            <a:ext cx="2528283" cy="382587"/>
          </a:xfrm>
        </p:spPr>
        <p:txBody>
          <a:bodyPr/>
          <a:lstStyle>
            <a:lvl1pPr>
              <a:defRPr sz="2000" b="1">
                <a:solidFill>
                  <a:schemeClr val="tx2"/>
                </a:solidFill>
                <a:latin typeface="+mn-lt"/>
              </a:defRPr>
            </a:lvl1pPr>
          </a:lstStyle>
          <a:p>
            <a:pPr lvl="0"/>
            <a:r>
              <a:rPr lang="en-US"/>
              <a:t>Click to add text</a:t>
            </a:r>
          </a:p>
        </p:txBody>
      </p:sp>
      <p:sp>
        <p:nvSpPr>
          <p:cNvPr id="9" name="Text Placeholder 5">
            <a:extLst>
              <a:ext uri="{FF2B5EF4-FFF2-40B4-BE49-F238E27FC236}">
                <a16:creationId xmlns:a16="http://schemas.microsoft.com/office/drawing/2014/main" id="{A4CD6C2B-A474-5641-7422-7875CED6ED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Rectangle 9">
            <a:extLst>
              <a:ext uri="{FF2B5EF4-FFF2-40B4-BE49-F238E27FC236}">
                <a16:creationId xmlns:a16="http://schemas.microsoft.com/office/drawing/2014/main" id="{6BC71479-8F96-5552-9746-BAAC806BC2E6}"/>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1" name="Slide Number Placeholder 2">
            <a:extLst>
              <a:ext uri="{FF2B5EF4-FFF2-40B4-BE49-F238E27FC236}">
                <a16:creationId xmlns:a16="http://schemas.microsoft.com/office/drawing/2014/main" id="{C582F6AA-C1A9-DA44-9E2E-42A5C6F9D6F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C66BC4-CE7E-E443-BEF3-B7BBA49FE37B}"/>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3211351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2121775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ros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44037E1-26A7-ED3C-E482-708BAAA49C76}"/>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966B258-B64F-4C37-95EE-DA12F2437C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8495EF2-DC0E-4705-9377-828A5C59A7A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6CF9A18-6B79-9281-E358-AA370155A1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9D9BD7C-6ABA-014B-B051-F78B0A09E46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F4DBC16-F0ED-C2E1-4364-FB9028DCED9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6111B3EC-1860-2199-3CF6-3EB4CDCAF2A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F8E482C-420E-4F3B-DFC0-AB9874161AB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6" name="Graphic 5">
            <a:extLst>
              <a:ext uri="{FF2B5EF4-FFF2-40B4-BE49-F238E27FC236}">
                <a16:creationId xmlns:a16="http://schemas.microsoft.com/office/drawing/2014/main" id="{47A12691-3819-20BF-D46D-3E1BFE3B92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Pros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12" name="Text Placeholder 7">
            <a:extLst>
              <a:ext uri="{FF2B5EF4-FFF2-40B4-BE49-F238E27FC236}">
                <a16:creationId xmlns:a16="http://schemas.microsoft.com/office/drawing/2014/main" id="{4ACED297-CFD7-168D-9632-EA0F9D6E07C0}"/>
              </a:ext>
            </a:extLst>
          </p:cNvPr>
          <p:cNvSpPr>
            <a:spLocks noGrp="1"/>
          </p:cNvSpPr>
          <p:nvPr>
            <p:ph type="body" sz="quarter" idx="16" hasCustomPrompt="1"/>
          </p:nvPr>
        </p:nvSpPr>
        <p:spPr>
          <a:xfrm>
            <a:off x="4243997" y="1165137"/>
            <a:ext cx="7192353" cy="382587"/>
          </a:xfrm>
        </p:spPr>
        <p:txBody>
          <a:bodyPr/>
          <a:lstStyle>
            <a:lvl1pPr>
              <a:defRPr sz="2000" b="1">
                <a:solidFill>
                  <a:schemeClr val="tx2"/>
                </a:solidFill>
                <a:latin typeface="+mn-lt"/>
              </a:defRPr>
            </a:lvl1pPr>
          </a:lstStyle>
          <a:p>
            <a:pPr lvl="0"/>
            <a:r>
              <a:rPr lang="en-US"/>
              <a:t>Two column text format</a:t>
            </a:r>
          </a:p>
        </p:txBody>
      </p:sp>
      <p:sp>
        <p:nvSpPr>
          <p:cNvPr id="23" name="Text Placeholder 2">
            <a:extLst>
              <a:ext uri="{FF2B5EF4-FFF2-40B4-BE49-F238E27FC236}">
                <a16:creationId xmlns:a16="http://schemas.microsoft.com/office/drawing/2014/main" id="{AA6D049B-EC34-0EAD-599F-FF556A2DA465}"/>
              </a:ext>
            </a:extLst>
          </p:cNvPr>
          <p:cNvSpPr>
            <a:spLocks noGrp="1"/>
          </p:cNvSpPr>
          <p:nvPr>
            <p:ph type="body" sz="quarter" idx="23" hasCustomPrompt="1"/>
          </p:nvPr>
        </p:nvSpPr>
        <p:spPr>
          <a:xfrm>
            <a:off x="4235450" y="1547724"/>
            <a:ext cx="7200819" cy="3705110"/>
          </a:xfrm>
          <a:prstGeom prst="rect">
            <a:avLst/>
          </a:prstGeom>
          <a:noFill/>
        </p:spPr>
        <p:txBody>
          <a:bodyPr lIns="0" tIns="0" rIns="0" bIns="0" numCol="2" spcCol="180000">
            <a:noAutofit/>
          </a:bodyPr>
          <a:lstStyle>
            <a:lvl1pPr>
              <a:lnSpc>
                <a:spcPct val="100000"/>
              </a:lnSpc>
              <a:spcBef>
                <a:spcPts val="600"/>
              </a:spcBef>
              <a:spcAft>
                <a:spcPts val="0"/>
              </a:spcAft>
              <a:defRPr sz="1400">
                <a:solidFill>
                  <a:schemeClr val="accent4"/>
                </a:solidFill>
              </a:defRPr>
            </a:lvl1pPr>
            <a:lvl2pPr>
              <a:lnSpc>
                <a:spcPct val="100000"/>
              </a:lnSpc>
              <a:spcBef>
                <a:spcPts val="600"/>
              </a:spcBef>
              <a:spcAft>
                <a:spcPts val="0"/>
              </a:spcAft>
              <a:defRPr sz="1600">
                <a:solidFill>
                  <a:schemeClr val="bg2"/>
                </a:solidFill>
              </a:defRPr>
            </a:lvl2pPr>
            <a:lvl3pPr>
              <a:lnSpc>
                <a:spcPct val="100000"/>
              </a:lnSpc>
              <a:spcBef>
                <a:spcPts val="600"/>
              </a:spcBef>
              <a:spcAft>
                <a:spcPts val="0"/>
              </a:spcAft>
              <a:defRPr sz="1600">
                <a:solidFill>
                  <a:schemeClr val="bg2"/>
                </a:solidFill>
              </a:defRPr>
            </a:lvl3pPr>
            <a:lvl4pPr>
              <a:lnSpc>
                <a:spcPct val="100000"/>
              </a:lnSpc>
              <a:spcBef>
                <a:spcPts val="600"/>
              </a:spcBef>
              <a:spcAft>
                <a:spcPts val="0"/>
              </a:spcAft>
              <a:buClrTx/>
              <a:defRPr sz="1600">
                <a:solidFill>
                  <a:schemeClr val="tx1"/>
                </a:solidFill>
              </a:defRPr>
            </a:lvl4pPr>
            <a:lvl5pPr>
              <a:lnSpc>
                <a:spcPct val="100000"/>
              </a:lnSpc>
              <a:spcBef>
                <a:spcPts val="600"/>
              </a:spcBef>
              <a:spcAft>
                <a:spcPts val="0"/>
              </a:spcAft>
              <a:buClrTx/>
              <a:defRPr sz="1600">
                <a:solidFill>
                  <a:schemeClr val="tx1"/>
                </a:solidFill>
              </a:defRPr>
            </a:lvl5pPr>
          </a:lstStyle>
          <a:p>
            <a:r>
              <a:rPr lang="en-GB"/>
              <a:t>This box is set up with two text columns</a:t>
            </a:r>
          </a:p>
        </p:txBody>
      </p:sp>
      <p:sp>
        <p:nvSpPr>
          <p:cNvPr id="8" name="Slide Number Placeholder 2">
            <a:extLst>
              <a:ext uri="{FF2B5EF4-FFF2-40B4-BE49-F238E27FC236}">
                <a16:creationId xmlns:a16="http://schemas.microsoft.com/office/drawing/2014/main" id="{F1EAB86C-A4EB-31CF-F3F1-4233A32FB66D}"/>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08053801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sp>
        <p:nvSpPr>
          <p:cNvPr id="4" name="Slide Number Placeholder 2">
            <a:extLst>
              <a:ext uri="{FF2B5EF4-FFF2-40B4-BE49-F238E27FC236}">
                <a16:creationId xmlns:a16="http://schemas.microsoft.com/office/drawing/2014/main" id="{A5B03538-EFF8-882F-38A7-6F681D9FB05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0196852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8" name="Slide Number Placeholder 2">
            <a:extLst>
              <a:ext uri="{FF2B5EF4-FFF2-40B4-BE49-F238E27FC236}">
                <a16:creationId xmlns:a16="http://schemas.microsoft.com/office/drawing/2014/main" id="{1C2421EF-A1F7-84D7-B95A-455C5E5FF6D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939075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CB98C4E7-5648-69C0-BF91-59338C2260F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52126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845389"/>
            <a:ext cx="10845800" cy="51744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508000" y="620606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a:pPr/>
              <a:t>‹#›</a:t>
            </a:fld>
            <a:endParaRPr lang="en-US"/>
          </a:p>
        </p:txBody>
      </p:sp>
    </p:spTree>
    <p:extLst>
      <p:ext uri="{BB962C8B-B14F-4D97-AF65-F5344CB8AC3E}">
        <p14:creationId xmlns:p14="http://schemas.microsoft.com/office/powerpoint/2010/main" val="2550053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0690177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08253230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293678305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Slide Number Placeholder 2">
            <a:extLst>
              <a:ext uri="{FF2B5EF4-FFF2-40B4-BE49-F238E27FC236}">
                <a16:creationId xmlns:a16="http://schemas.microsoft.com/office/drawing/2014/main" id="{3D140AD1-6ED2-A19C-537B-F61589E45D8C}"/>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98434184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272218365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Slide Number Placeholder 2">
            <a:extLst>
              <a:ext uri="{FF2B5EF4-FFF2-40B4-BE49-F238E27FC236}">
                <a16:creationId xmlns:a16="http://schemas.microsoft.com/office/drawing/2014/main" id="{0AC5DC3F-8A0C-3385-41DD-BA3F8E46DC1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78779403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342343081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413680675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401246742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948101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6" name="Content Placeholder 1"/>
          <p:cNvSpPr>
            <a:spLocks noGrp="1"/>
          </p:cNvSpPr>
          <p:nvPr>
            <p:ph idx="31" hasCustomPrompt="1"/>
            <p:custDataLst>
              <p:tags r:id="rId1"/>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hasCustomPrompt="1"/>
            <p:custDataLst>
              <p:tags r:id="rId2"/>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idx="12" hasCustomPrompt="1"/>
            <p:custDataLst>
              <p:tags r:id="rId3"/>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p:cNvSpPr>
            <a:spLocks noGrp="1"/>
          </p:cNvSpPr>
          <p:nvPr>
            <p:ph idx="13" hasCustomPrompt="1"/>
            <p:custDataLst>
              <p:tags r:id="rId4"/>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idx="14" hasCustomPrompt="1"/>
            <p:custDataLst>
              <p:tags r:id="rId5"/>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p:cNvSpPr>
            <a:spLocks noGrp="1"/>
          </p:cNvSpPr>
          <p:nvPr>
            <p:ph idx="15" hasCustomPrompt="1"/>
            <p:custDataLst>
              <p:tags r:id="rId6"/>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p:cNvSpPr>
            <a:spLocks noGrp="1"/>
          </p:cNvSpPr>
          <p:nvPr>
            <p:ph idx="16" hasCustomPrompt="1"/>
            <p:custDataLst>
              <p:tags r:id="rId7"/>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p:cNvSpPr>
            <a:spLocks noGrp="1"/>
          </p:cNvSpPr>
          <p:nvPr>
            <p:ph idx="17" hasCustomPrompt="1"/>
            <p:custDataLst>
              <p:tags r:id="rId8"/>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9"/>
          <p:cNvSpPr>
            <a:spLocks noGrp="1"/>
          </p:cNvSpPr>
          <p:nvPr>
            <p:ph idx="18" hasCustomPrompt="1"/>
            <p:custDataLst>
              <p:tags r:id="rId9"/>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p:cNvSpPr>
            <a:spLocks noGrp="1"/>
          </p:cNvSpPr>
          <p:nvPr>
            <p:ph idx="19" hasCustomPrompt="1"/>
            <p:custDataLst>
              <p:tags r:id="rId10"/>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1"/>
          <p:cNvSpPr>
            <a:spLocks noGrp="1"/>
          </p:cNvSpPr>
          <p:nvPr>
            <p:ph idx="20" hasCustomPrompt="1"/>
            <p:custDataLst>
              <p:tags r:id="rId11"/>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2"/>
          <p:cNvSpPr>
            <a:spLocks noGrp="1"/>
          </p:cNvSpPr>
          <p:nvPr>
            <p:ph idx="21" hasCustomPrompt="1"/>
            <p:custDataLst>
              <p:tags r:id="rId12"/>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3"/>
          <p:cNvSpPr>
            <a:spLocks noGrp="1"/>
          </p:cNvSpPr>
          <p:nvPr>
            <p:ph idx="22" hasCustomPrompt="1"/>
            <p:custDataLst>
              <p:tags r:id="rId13"/>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4"/>
          <p:cNvSpPr>
            <a:spLocks noGrp="1"/>
          </p:cNvSpPr>
          <p:nvPr>
            <p:ph idx="23" hasCustomPrompt="1"/>
            <p:custDataLst>
              <p:tags r:id="rId14"/>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5"/>
          <p:cNvSpPr>
            <a:spLocks noGrp="1"/>
          </p:cNvSpPr>
          <p:nvPr>
            <p:ph idx="24" hasCustomPrompt="1"/>
            <p:custDataLst>
              <p:tags r:id="rId15"/>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6"/>
          <p:cNvSpPr>
            <a:spLocks noGrp="1"/>
          </p:cNvSpPr>
          <p:nvPr>
            <p:ph idx="25" hasCustomPrompt="1"/>
            <p:custDataLst>
              <p:tags r:id="rId16"/>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7"/>
          <p:cNvSpPr>
            <a:spLocks noGrp="1"/>
          </p:cNvSpPr>
          <p:nvPr>
            <p:ph idx="26" hasCustomPrompt="1"/>
            <p:custDataLst>
              <p:tags r:id="rId17"/>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8"/>
          <p:cNvSpPr>
            <a:spLocks noGrp="1"/>
          </p:cNvSpPr>
          <p:nvPr>
            <p:ph idx="27" hasCustomPrompt="1"/>
            <p:custDataLst>
              <p:tags r:id="rId18"/>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9"/>
          <p:cNvSpPr>
            <a:spLocks noGrp="1"/>
          </p:cNvSpPr>
          <p:nvPr>
            <p:ph idx="28" hasCustomPrompt="1"/>
            <p:custDataLst>
              <p:tags r:id="rId19"/>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284FF1C-502E-4E60-8F3C-B3CE8413E7C2}"/>
              </a:ext>
            </a:extLst>
          </p:cNvPr>
          <p:cNvSpPr>
            <a:spLocks noGrp="1"/>
          </p:cNvSpPr>
          <p:nvPr>
            <p:ph type="title"/>
          </p:nvPr>
        </p:nvSpPr>
        <p:spPr/>
        <p:txBody>
          <a:bodyPr/>
          <a:lstStyle/>
          <a:p>
            <a:r>
              <a:rPr lang="en-US"/>
              <a:t>Click to edit Master title style</a:t>
            </a:r>
          </a:p>
        </p:txBody>
      </p:sp>
      <p:sp>
        <p:nvSpPr>
          <p:cNvPr id="25" name="Content Placeholder 24">
            <a:extLst>
              <a:ext uri="{FF2B5EF4-FFF2-40B4-BE49-F238E27FC236}">
                <a16:creationId xmlns:a16="http://schemas.microsoft.com/office/drawing/2014/main" id="{15143E86-C8FC-4909-957B-B9B23EDA5854}"/>
              </a:ext>
            </a:extLst>
          </p:cNvPr>
          <p:cNvSpPr>
            <a:spLocks noGrp="1"/>
          </p:cNvSpPr>
          <p:nvPr>
            <p:ph sz="quarter" idx="32"/>
          </p:nvPr>
        </p:nvSpPr>
        <p:spPr>
          <a:xfrm>
            <a:off x="609600" y="838200"/>
            <a:ext cx="107412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Slide Number Placeholder 27">
            <a:extLst>
              <a:ext uri="{FF2B5EF4-FFF2-40B4-BE49-F238E27FC236}">
                <a16:creationId xmlns:a16="http://schemas.microsoft.com/office/drawing/2014/main" id="{4C07A5BD-C1D5-4482-8E4C-B9ED4E325427}"/>
              </a:ext>
            </a:extLst>
          </p:cNvPr>
          <p:cNvSpPr>
            <a:spLocks noGrp="1"/>
          </p:cNvSpPr>
          <p:nvPr>
            <p:ph type="sldNum" sz="quarter" idx="33"/>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8521962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ECE84-7D9E-7842-A5DF-33CDC07AF1D6}"/>
              </a:ext>
            </a:extLst>
          </p:cNvPr>
          <p:cNvSpPr>
            <a:spLocks noGrp="1"/>
          </p:cNvSpPr>
          <p:nvPr>
            <p:ph type="title" hasCustomPrompt="1"/>
          </p:nvPr>
        </p:nvSpPr>
        <p:spPr>
          <a:xfrm>
            <a:off x="512872" y="232347"/>
            <a:ext cx="11166257" cy="433759"/>
          </a:xfrm>
          <a:prstGeom prst="rect">
            <a:avLst/>
          </a:prstGeom>
        </p:spPr>
        <p:txBody>
          <a:bodyPr wrap="none" lIns="0" tIns="0" rIns="0" bIns="0" anchor="ctr">
            <a:noAutofit/>
          </a:bodyPr>
          <a:lstStyle>
            <a:lvl1pPr>
              <a:defRPr sz="3200">
                <a:solidFill>
                  <a:schemeClr val="accent1"/>
                </a:solidFill>
              </a:defRPr>
            </a:lvl1pPr>
          </a:lstStyle>
          <a:p>
            <a:r>
              <a:rPr lang="en-US"/>
              <a:t>Click to edit master title style</a:t>
            </a:r>
          </a:p>
        </p:txBody>
      </p:sp>
      <p:sp>
        <p:nvSpPr>
          <p:cNvPr id="11" name="Rectangle 10">
            <a:extLst>
              <a:ext uri="{FF2B5EF4-FFF2-40B4-BE49-F238E27FC236}">
                <a16:creationId xmlns:a16="http://schemas.microsoft.com/office/drawing/2014/main" id="{A48EA563-D1FF-8947-8409-47F55C50A67A}"/>
              </a:ext>
            </a:extLst>
          </p:cNvPr>
          <p:cNvSpPr/>
          <p:nvPr userDrawn="1"/>
        </p:nvSpPr>
        <p:spPr>
          <a:xfrm>
            <a:off x="2236303" y="785866"/>
            <a:ext cx="9473184" cy="45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0" rIns="180000" bIns="720000" rtlCol="0" anchor="ctr"/>
          <a:lstStyle/>
          <a:p>
            <a:pPr marL="177800" indent="-177800">
              <a:buFont typeface="Arial" panose="020B0604020202020204" pitchFamily="34" charset="0"/>
              <a:buChar char="•"/>
            </a:pPr>
            <a:endParaRPr lang="en-US" sz="2400" i="1"/>
          </a:p>
        </p:txBody>
      </p:sp>
      <p:sp>
        <p:nvSpPr>
          <p:cNvPr id="12" name="Rectangle 11">
            <a:extLst>
              <a:ext uri="{FF2B5EF4-FFF2-40B4-BE49-F238E27FC236}">
                <a16:creationId xmlns:a16="http://schemas.microsoft.com/office/drawing/2014/main" id="{328F5251-381F-F44D-96DF-69599987BAFE}"/>
              </a:ext>
            </a:extLst>
          </p:cNvPr>
          <p:cNvSpPr/>
          <p:nvPr userDrawn="1"/>
        </p:nvSpPr>
        <p:spPr>
          <a:xfrm>
            <a:off x="0" y="785865"/>
            <a:ext cx="458845"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 name="Rectangle 12">
            <a:extLst>
              <a:ext uri="{FF2B5EF4-FFF2-40B4-BE49-F238E27FC236}">
                <a16:creationId xmlns:a16="http://schemas.microsoft.com/office/drawing/2014/main" id="{937F7F61-966A-1046-BC28-2A71E58CE061}"/>
              </a:ext>
            </a:extLst>
          </p:cNvPr>
          <p:cNvSpPr/>
          <p:nvPr userDrawn="1"/>
        </p:nvSpPr>
        <p:spPr>
          <a:xfrm>
            <a:off x="508001" y="785865"/>
            <a:ext cx="1679146"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0" name="Slide Number Placeholder 2">
            <a:extLst>
              <a:ext uri="{FF2B5EF4-FFF2-40B4-BE49-F238E27FC236}">
                <a16:creationId xmlns:a16="http://schemas.microsoft.com/office/drawing/2014/main" id="{040EEB06-36D7-1C4E-811A-ED754F0B9D2F}"/>
              </a:ext>
            </a:extLst>
          </p:cNvPr>
          <p:cNvSpPr>
            <a:spLocks noGrp="1"/>
          </p:cNvSpPr>
          <p:nvPr>
            <p:ph type="sldNum" sz="quarter" idx="13"/>
          </p:nvPr>
        </p:nvSpPr>
        <p:spPr>
          <a:xfrm>
            <a:off x="4724400" y="6384893"/>
            <a:ext cx="2743200" cy="276753"/>
          </a:xfrm>
          <a:prstGeom prst="rect">
            <a:avLst/>
          </a:prstGeom>
        </p:spPr>
        <p:txBody>
          <a:bodyPr anchor="ctr"/>
          <a:lstStyle>
            <a:defPPr>
              <a:defRPr lang="en-US"/>
            </a:defPPr>
            <a:lvl1pPr marL="0" algn="ctr" defTabSz="914400" rtl="0" eaLnBrk="1" latinLnBrk="0" hangingPunct="1">
              <a:defRPr sz="800" kern="1200">
                <a:solidFill>
                  <a:schemeClr val="tx1">
                    <a:lumMod val="40000"/>
                    <a:lumOff val="6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6A99BC-3C9D-4DF8-8B8C-E1FD2BDF0AD4}" type="slidenum">
              <a:rPr lang="en-US" smtClean="0"/>
              <a:pPr/>
              <a:t>‹#›</a:t>
            </a:fld>
            <a:endParaRPr lang="en-US"/>
          </a:p>
        </p:txBody>
      </p:sp>
    </p:spTree>
    <p:extLst>
      <p:ext uri="{BB962C8B-B14F-4D97-AF65-F5344CB8AC3E}">
        <p14:creationId xmlns:p14="http://schemas.microsoft.com/office/powerpoint/2010/main" val="3929946607"/>
      </p:ext>
    </p:extLst>
  </p:cSld>
  <p:clrMapOvr>
    <a:masterClrMapping/>
  </p:clrMapOvr>
  <p:extLst>
    <p:ext uri="{DCECCB84-F9BA-43D5-87BE-67443E8EF086}">
      <p15:sldGuideLst xmlns:p15="http://schemas.microsoft.com/office/powerpoint/2012/main">
        <p15:guide id="1" orient="horz" pos="2160">
          <p15:clr>
            <a:srgbClr val="FBAE40"/>
          </p15:clr>
        </p15:guide>
        <p15:guide id="2" pos="7368">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57970018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4104409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45F0600F-C235-742D-9881-C219F6DD452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5504763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F2C4770E-9211-7FB3-7372-6F2B0C655AF9}"/>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6820001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30636B2E-53D6-0CD2-D523-390721D4E47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417930856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E40E75CB-AD93-73C7-81AE-2E27C8C5DC31}"/>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6522982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9EB1D515-98A9-9F0B-506B-5637BC14D04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30351431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96675059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5" name="Slide Number Placeholder 4">
            <a:extLst>
              <a:ext uri="{FF2B5EF4-FFF2-40B4-BE49-F238E27FC236}">
                <a16:creationId xmlns:a16="http://schemas.microsoft.com/office/drawing/2014/main" id="{8F424B37-942D-037C-384C-BBAA35135509}"/>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3" name="TextBox 32">
                <a:extLst>
                  <a:ext uri="{FF2B5EF4-FFF2-40B4-BE49-F238E27FC236}">
                    <a16:creationId xmlns:a16="http://schemas.microsoft.com/office/drawing/2014/main" id="{222C0FD5-679E-8C28-78E0-EA79FC848AC1}"/>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0" name="TextBox 29">
              <a:extLst>
                <a:ext uri="{FF2B5EF4-FFF2-40B4-BE49-F238E27FC236}">
                  <a16:creationId xmlns:a16="http://schemas.microsoft.com/office/drawing/2014/main" id="{A1725506-529A-9833-864A-1C4C4D91BFE5}"/>
                </a:ext>
              </a:extLst>
            </p:cNvPr>
            <p:cNvSpPr txBox="1"/>
            <p:nvPr/>
          </p:nvSpPr>
          <p:spPr>
            <a:xfrm>
              <a:off x="4956019"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0" name="TextBox 39">
                <a:extLst>
                  <a:ext uri="{FF2B5EF4-FFF2-40B4-BE49-F238E27FC236}">
                    <a16:creationId xmlns:a16="http://schemas.microsoft.com/office/drawing/2014/main" id="{DF5D386A-260A-5290-C9B7-E28CC1F41DC6}"/>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7" name="TextBox 36">
              <a:extLst>
                <a:ext uri="{FF2B5EF4-FFF2-40B4-BE49-F238E27FC236}">
                  <a16:creationId xmlns:a16="http://schemas.microsoft.com/office/drawing/2014/main" id="{F1016110-BF5E-07AA-35FD-78C789924E3D}"/>
                </a:ext>
              </a:extLst>
            </p:cNvPr>
            <p:cNvSpPr txBox="1"/>
            <p:nvPr/>
          </p:nvSpPr>
          <p:spPr>
            <a:xfrm>
              <a:off x="8157223"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1" name="Group 40">
            <a:extLst>
              <a:ext uri="{FF2B5EF4-FFF2-40B4-BE49-F238E27FC236}">
                <a16:creationId xmlns:a16="http://schemas.microsoft.com/office/drawing/2014/main" id="{FE9520A2-44BD-C88B-7272-F321D2F2614B}"/>
              </a:ext>
            </a:extLst>
          </p:cNvPr>
          <p:cNvGrpSpPr/>
          <p:nvPr userDrawn="1"/>
        </p:nvGrpSpPr>
        <p:grpSpPr>
          <a:xfrm>
            <a:off x="4956019" y="751764"/>
            <a:ext cx="2694127" cy="2174525"/>
            <a:chOff x="4956019" y="751764"/>
            <a:chExt cx="2694127" cy="2174525"/>
          </a:xfrm>
        </p:grpSpPr>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6" name="TextBox 45">
                <a:extLst>
                  <a:ext uri="{FF2B5EF4-FFF2-40B4-BE49-F238E27FC236}">
                    <a16:creationId xmlns:a16="http://schemas.microsoft.com/office/drawing/2014/main" id="{5E82E0A1-715B-E084-807B-712F0B40F574}"/>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43" name="TextBox 42">
              <a:extLst>
                <a:ext uri="{FF2B5EF4-FFF2-40B4-BE49-F238E27FC236}">
                  <a16:creationId xmlns:a16="http://schemas.microsoft.com/office/drawing/2014/main" id="{7CF9B6AA-F2C4-3A16-94D6-4FA0616BC4C2}"/>
                </a:ext>
              </a:extLst>
            </p:cNvPr>
            <p:cNvSpPr txBox="1"/>
            <p:nvPr/>
          </p:nvSpPr>
          <p:spPr>
            <a:xfrm>
              <a:off x="4956019"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3" name="TextBox 52">
                <a:extLst>
                  <a:ext uri="{FF2B5EF4-FFF2-40B4-BE49-F238E27FC236}">
                    <a16:creationId xmlns:a16="http://schemas.microsoft.com/office/drawing/2014/main" id="{C640FE75-5796-86A7-F5E0-2BF7630E20F8}"/>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50" name="TextBox 49">
              <a:extLst>
                <a:ext uri="{FF2B5EF4-FFF2-40B4-BE49-F238E27FC236}">
                  <a16:creationId xmlns:a16="http://schemas.microsoft.com/office/drawing/2014/main" id="{8D04A6B5-11C7-9995-FE63-8C0105297A7F}"/>
                </a:ext>
              </a:extLst>
            </p:cNvPr>
            <p:cNvSpPr txBox="1"/>
            <p:nvPr/>
          </p:nvSpPr>
          <p:spPr>
            <a:xfrm>
              <a:off x="8157223"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spTree>
    <p:extLst>
      <p:ext uri="{BB962C8B-B14F-4D97-AF65-F5344CB8AC3E}">
        <p14:creationId xmlns:p14="http://schemas.microsoft.com/office/powerpoint/2010/main" val="66944999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2637253"/>
            <a:ext cx="10678912" cy="1091742"/>
            <a:chOff x="815974" y="2637253"/>
            <a:chExt cx="7100852" cy="1091742"/>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D2B30640-78CA-F1CF-02BD-DBA03FE12978}"/>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FBCFA3CA-9AF5-21CF-F997-DF8D87EF86B0}"/>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210070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Section Break">
    <p:spTree>
      <p:nvGrpSpPr>
        <p:cNvPr id="1" name=""/>
        <p:cNvGrpSpPr/>
        <p:nvPr/>
      </p:nvGrpSpPr>
      <p:grpSpPr>
        <a:xfrm>
          <a:off x="0" y="0"/>
          <a:ext cx="0" cy="0"/>
          <a:chOff x="0" y="0"/>
          <a:chExt cx="0" cy="0"/>
        </a:xfrm>
      </p:grpSpPr>
      <p:sp>
        <p:nvSpPr>
          <p:cNvPr id="4" name="Rectangle 3"/>
          <p:cNvSpPr/>
          <p:nvPr/>
        </p:nvSpPr>
        <p:spPr>
          <a:xfrm>
            <a:off x="0" y="213360"/>
            <a:ext cx="12192000" cy="2506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Rectangle 5"/>
          <p:cNvSpPr/>
          <p:nvPr/>
        </p:nvSpPr>
        <p:spPr>
          <a:xfrm>
            <a:off x="0" y="1058332"/>
            <a:ext cx="838200" cy="47633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p:nvSpPr>
        <p:spPr>
          <a:xfrm>
            <a:off x="949960" y="1058332"/>
            <a:ext cx="8011160" cy="47633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p:cNvSpPr/>
          <p:nvPr/>
        </p:nvSpPr>
        <p:spPr>
          <a:xfrm>
            <a:off x="9062720" y="1058332"/>
            <a:ext cx="2692400" cy="47633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hasCustomPrompt="1"/>
          </p:nvPr>
        </p:nvSpPr>
        <p:spPr>
          <a:xfrm>
            <a:off x="1060738" y="346605"/>
            <a:ext cx="8220428" cy="711728"/>
          </a:xfrm>
        </p:spPr>
        <p:txBody>
          <a:bodyPr anchor="b">
            <a:normAutofit/>
          </a:bodyPr>
          <a:lstStyle>
            <a:lvl1pPr>
              <a:defRPr sz="2400" cap="all" baseline="0">
                <a:solidFill>
                  <a:schemeClr val="tx2"/>
                </a:solidFill>
              </a:defRPr>
            </a:lvl1pPr>
          </a:lstStyle>
          <a:p>
            <a:r>
              <a:rPr lang="en-US" cap="all" baseline="0"/>
              <a:t>Section title</a:t>
            </a:r>
            <a:endParaRPr lang="en-US"/>
          </a:p>
        </p:txBody>
      </p:sp>
      <p:sp>
        <p:nvSpPr>
          <p:cNvPr id="11" name="Content Placeholder 2"/>
          <p:cNvSpPr>
            <a:spLocks noGrp="1"/>
          </p:cNvSpPr>
          <p:nvPr>
            <p:ph idx="1"/>
          </p:nvPr>
        </p:nvSpPr>
        <p:spPr>
          <a:xfrm>
            <a:off x="1060736" y="1181949"/>
            <a:ext cx="7900387" cy="463973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userDrawn="1"/>
        </p:nvSpPr>
        <p:spPr>
          <a:xfrm>
            <a:off x="122317" y="6000622"/>
            <a:ext cx="454494" cy="378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398497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129639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3CA99AC1-8692-B4B2-A01F-CBEDFCE69F48}"/>
              </a:ext>
            </a:extLst>
          </p:cNvPr>
          <p:cNvSpPr txBox="1"/>
          <p:nvPr userDrawn="1">
            <p:custDataLst>
              <p:tags r:id="rId1"/>
            </p:custDataLst>
          </p:nvPr>
        </p:nvSpPr>
        <p:spPr>
          <a:xfrm>
            <a:off x="815975" y="2865488"/>
            <a:ext cx="2650203"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EE9BABB4-76AD-3AAE-CDDB-46E9312DA0F0}"/>
              </a:ext>
            </a:extLst>
          </p:cNvPr>
          <p:cNvSpPr txBox="1"/>
          <p:nvPr userDrawn="1">
            <p:custDataLst>
              <p:tags r:id="rId2"/>
            </p:custDataLst>
          </p:nvPr>
        </p:nvSpPr>
        <p:spPr>
          <a:xfrm>
            <a:off x="3481600" y="2637253"/>
            <a:ext cx="2650203" cy="677108"/>
          </a:xfrm>
          <a:prstGeom prst="rect">
            <a:avLst/>
          </a:prstGeom>
          <a:noFill/>
        </p:spPr>
        <p:txBody>
          <a:bodyPr wrap="square" lIns="108000" tIns="0" rIns="108000" bIns="0" rtlCol="0">
            <a:spAutoFit/>
          </a:bodyPr>
          <a:lstStyle/>
          <a:p>
            <a:pPr algn="ctr"/>
            <a:r>
              <a:rPr lang="en-GB" sz="4400" b="1"/>
              <a:t>02</a:t>
            </a:r>
          </a:p>
        </p:txBody>
      </p:sp>
      <p:sp>
        <p:nvSpPr>
          <p:cNvPr id="11" name="TextBox 10">
            <a:extLst>
              <a:ext uri="{FF2B5EF4-FFF2-40B4-BE49-F238E27FC236}">
                <a16:creationId xmlns:a16="http://schemas.microsoft.com/office/drawing/2014/main" id="{6A8EC1DE-8304-4904-1509-A5C31513E5BE}"/>
              </a:ext>
            </a:extLst>
          </p:cNvPr>
          <p:cNvSpPr txBox="1"/>
          <p:nvPr userDrawn="1">
            <p:custDataLst>
              <p:tags r:id="rId3"/>
            </p:custDataLst>
          </p:nvPr>
        </p:nvSpPr>
        <p:spPr>
          <a:xfrm>
            <a:off x="6115266" y="2409017"/>
            <a:ext cx="2650203" cy="677108"/>
          </a:xfrm>
          <a:prstGeom prst="rect">
            <a:avLst/>
          </a:prstGeom>
          <a:noFill/>
        </p:spPr>
        <p:txBody>
          <a:bodyPr wrap="square" lIns="108000" tIns="0" rIns="108000" bIns="0" rtlCol="0">
            <a:spAutoFit/>
          </a:bodyPr>
          <a:lstStyle/>
          <a:p>
            <a:pPr algn="ctr"/>
            <a:r>
              <a:rPr lang="en-GB" sz="4400" b="1"/>
              <a:t>03</a:t>
            </a:r>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21" name="TextBox 20">
            <a:extLst>
              <a:ext uri="{FF2B5EF4-FFF2-40B4-BE49-F238E27FC236}">
                <a16:creationId xmlns:a16="http://schemas.microsoft.com/office/drawing/2014/main" id="{CDBDAD67-8C3F-89B1-B6E6-1D68C7B94AC9}"/>
              </a:ext>
            </a:extLst>
          </p:cNvPr>
          <p:cNvSpPr txBox="1"/>
          <p:nvPr userDrawn="1">
            <p:custDataLst>
              <p:tags r:id="rId4"/>
            </p:custDataLst>
          </p:nvPr>
        </p:nvSpPr>
        <p:spPr>
          <a:xfrm>
            <a:off x="8785034" y="2206620"/>
            <a:ext cx="2650203" cy="677108"/>
          </a:xfrm>
          <a:prstGeom prst="rect">
            <a:avLst/>
          </a:prstGeom>
          <a:noFill/>
        </p:spPr>
        <p:txBody>
          <a:bodyPr wrap="square" lIns="108000" tIns="0" rIns="108000" bIns="0" rtlCol="0">
            <a:spAutoFit/>
          </a:bodyPr>
          <a:lstStyle/>
          <a:p>
            <a:pPr algn="ctr"/>
            <a:r>
              <a:rPr lang="en-GB" sz="4400" b="1"/>
              <a:t>04</a:t>
            </a:r>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5370631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86433244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AC579EFF-3467-0FC9-4190-52B60147733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81E984EC-8B1F-F0C3-056F-AB28207A54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82AEFB30-A7F7-BDB6-4D12-62ADF0D151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DD48789-02F7-7003-F8A9-31C8E46C083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0D3BD6D2-A103-6EC2-3226-9B07954235E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37228847-1DD8-D8E0-F1F8-67BECA1C2ED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9D9FFE5E-B633-291B-8CF2-C60BBA00BF91}"/>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86DFBF58-4F6F-4AF0-1C68-E726179AF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2366137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re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BB5EF85-EA9E-3034-9AA7-3941942DDA58}"/>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8539165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re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C5743957-88D8-6563-88B1-3ADB23349BF0}"/>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5261655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our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74924541-1F26-5765-7BB0-61DBC3FA837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863894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Four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EBF1A456-1439-4FB5-BB78-B79ADD19D336}"/>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7376032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Four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our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1089039"/>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1229920"/>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2261682"/>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2372080"/>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3434325"/>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356504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4606968"/>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47377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2376051"/>
            <a:ext cx="6156310" cy="78029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122992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3565049"/>
            <a:ext cx="6139462"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473779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8478710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Fiv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67E171F-71B9-01A0-B59A-01A36E3DB61F}"/>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C25ECC34-EF7C-AA38-C328-772526BEBFE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E3AC3B26-17D5-E42F-F575-A7B5A3E3CE5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A725BBC-0EDE-E35B-774C-CE4DAC5DFAA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5247FC5D-90C5-925E-5C43-A57E913983E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D203253A-68FA-3CE3-292B-1D3BFB50B56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58C9A7BC-F2D6-C189-F0C5-8135A251FE5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94CA1D8-0B68-2C65-F21E-4909960805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8745730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Section Break">
    <p:spTree>
      <p:nvGrpSpPr>
        <p:cNvPr id="1" name=""/>
        <p:cNvGrpSpPr/>
        <p:nvPr/>
      </p:nvGrpSpPr>
      <p:grpSpPr>
        <a:xfrm>
          <a:off x="0" y="0"/>
          <a:ext cx="0" cy="0"/>
          <a:chOff x="0" y="0"/>
          <a:chExt cx="0" cy="0"/>
        </a:xfrm>
      </p:grpSpPr>
      <p:sp>
        <p:nvSpPr>
          <p:cNvPr id="4" name="Rectangle 3"/>
          <p:cNvSpPr/>
          <p:nvPr/>
        </p:nvSpPr>
        <p:spPr>
          <a:xfrm>
            <a:off x="0" y="213360"/>
            <a:ext cx="12192000" cy="2506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Rectangle 5"/>
          <p:cNvSpPr/>
          <p:nvPr/>
        </p:nvSpPr>
        <p:spPr>
          <a:xfrm>
            <a:off x="0" y="1058332"/>
            <a:ext cx="838200" cy="47633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p:nvSpPr>
        <p:spPr>
          <a:xfrm>
            <a:off x="949960" y="1058332"/>
            <a:ext cx="8011160" cy="47633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p:cNvSpPr/>
          <p:nvPr/>
        </p:nvSpPr>
        <p:spPr>
          <a:xfrm>
            <a:off x="9062720" y="1058332"/>
            <a:ext cx="2692400" cy="47633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hasCustomPrompt="1"/>
          </p:nvPr>
        </p:nvSpPr>
        <p:spPr>
          <a:xfrm>
            <a:off x="1060738" y="346605"/>
            <a:ext cx="8220428" cy="711728"/>
          </a:xfrm>
        </p:spPr>
        <p:txBody>
          <a:bodyPr anchor="b">
            <a:normAutofit/>
          </a:bodyPr>
          <a:lstStyle>
            <a:lvl1pPr>
              <a:defRPr sz="2400" cap="all" baseline="0">
                <a:solidFill>
                  <a:schemeClr val="tx2"/>
                </a:solidFill>
              </a:defRPr>
            </a:lvl1pPr>
          </a:lstStyle>
          <a:p>
            <a:r>
              <a:rPr lang="en-US" cap="all" baseline="0"/>
              <a:t>Section title</a:t>
            </a:r>
            <a:endParaRPr lang="en-US"/>
          </a:p>
        </p:txBody>
      </p:sp>
      <p:sp>
        <p:nvSpPr>
          <p:cNvPr id="11" name="Content Placeholder 2"/>
          <p:cNvSpPr>
            <a:spLocks noGrp="1"/>
          </p:cNvSpPr>
          <p:nvPr>
            <p:ph idx="1"/>
          </p:nvPr>
        </p:nvSpPr>
        <p:spPr>
          <a:xfrm>
            <a:off x="1060736" y="1181949"/>
            <a:ext cx="7900387" cy="463973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userDrawn="1"/>
        </p:nvSpPr>
        <p:spPr>
          <a:xfrm>
            <a:off x="122317" y="6000622"/>
            <a:ext cx="454494" cy="378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535703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iv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696B34EB-2BF4-723B-3B16-D58A35A4B1C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E2C89716-8E2F-D218-9D69-728D9833E4D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164CDD3-24C0-C7DD-02C3-F42F71420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5CF9E34-0366-A4F6-CAAA-83F93AF1BD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C9F1D2DA-E0A1-FC28-0F16-353355F766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DF29F8D-143F-3F4D-B705-A86AA62F15B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C72AED6F-CB0A-0FA1-FD2E-DB97FA03568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A2C6B1-6983-CEA2-5B6A-26581F6C7DF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09281649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ive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5363957"/>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979081"/>
            <a:ext cx="765419" cy="693118"/>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19391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2950123"/>
            <a:ext cx="765419" cy="6931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3940821"/>
            <a:ext cx="765419" cy="6931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19431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979081"/>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2950124"/>
            <a:ext cx="6139462"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3940822"/>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 name="Rectangle 2">
            <a:extLst>
              <a:ext uri="{FF2B5EF4-FFF2-40B4-BE49-F238E27FC236}">
                <a16:creationId xmlns:a16="http://schemas.microsoft.com/office/drawing/2014/main" id="{6CEA7CE0-6AF0-30FC-5354-C84DD26A1E43}"/>
              </a:ext>
            </a:extLst>
          </p:cNvPr>
          <p:cNvSpPr/>
          <p:nvPr userDrawn="1"/>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2378FCE4-D7CD-CF11-EA02-2CEC7F6690EE}"/>
              </a:ext>
            </a:extLst>
          </p:cNvPr>
          <p:cNvSpPr/>
          <p:nvPr userDrawn="1"/>
        </p:nvSpPr>
        <p:spPr>
          <a:xfrm>
            <a:off x="4602989" y="49109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6" name="Text Placeholder 13">
            <a:extLst>
              <a:ext uri="{FF2B5EF4-FFF2-40B4-BE49-F238E27FC236}">
                <a16:creationId xmlns:a16="http://schemas.microsoft.com/office/drawing/2014/main" id="{62400C6A-14CE-58FA-0C5A-B9C7B5D31512}"/>
              </a:ext>
            </a:extLst>
          </p:cNvPr>
          <p:cNvSpPr>
            <a:spLocks noGrp="1"/>
          </p:cNvSpPr>
          <p:nvPr>
            <p:ph type="body" sz="quarter" idx="19" hasCustomPrompt="1"/>
          </p:nvPr>
        </p:nvSpPr>
        <p:spPr>
          <a:xfrm>
            <a:off x="5520579" y="49149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153477932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ix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FE8EF36C-84BC-198E-364F-F30BE58D04A2}"/>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7162C090-AFA1-2054-363E-778322097A5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D1909CDE-BEA0-E5CD-7DAD-F18CD192AD2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4DBAF33A-2E6B-6E89-E316-87A5208EF8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D20FDAC9-09B8-C953-9BBB-80FDB2D435E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BAEA8CEB-42F7-3563-8F00-9660D2EC0E0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A888AD0-BAC5-CA0F-6061-345DCC84237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6182ECB7-0C56-7436-D956-6A36C0D58CC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907991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ven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even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2" y="832058"/>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400214" y="6580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311650" y="891648"/>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7" name="Group 6">
            <a:extLst>
              <a:ext uri="{FF2B5EF4-FFF2-40B4-BE49-F238E27FC236}">
                <a16:creationId xmlns:a16="http://schemas.microsoft.com/office/drawing/2014/main" id="{2DAD9D35-E99E-DAF7-2300-B1B1DF773AA0}"/>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76CD70B-A2D7-6DF6-C49F-225DBD63469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AE7111CB-C449-98A1-A61C-607A0D01C96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6A58A55F-A2F6-1C0E-CB59-5B447071A3B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8">
              <a:extLst>
                <a:ext uri="{FF2B5EF4-FFF2-40B4-BE49-F238E27FC236}">
                  <a16:creationId xmlns:a16="http://schemas.microsoft.com/office/drawing/2014/main" id="{DFCA8EC1-D85A-3462-2041-EE29FEE6D99A}"/>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19">
              <a:extLst>
                <a:ext uri="{FF2B5EF4-FFF2-40B4-BE49-F238E27FC236}">
                  <a16:creationId xmlns:a16="http://schemas.microsoft.com/office/drawing/2014/main" id="{03B56CF8-D1CE-7BBC-64EA-A4D57A55F1C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0" name="Freeform 20">
              <a:extLst>
                <a:ext uri="{FF2B5EF4-FFF2-40B4-BE49-F238E27FC236}">
                  <a16:creationId xmlns:a16="http://schemas.microsoft.com/office/drawing/2014/main" id="{BF946EC7-52B3-77FF-4D5E-A57A173C47D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1" name="Freeform 23">
              <a:extLst>
                <a:ext uri="{FF2B5EF4-FFF2-40B4-BE49-F238E27FC236}">
                  <a16:creationId xmlns:a16="http://schemas.microsoft.com/office/drawing/2014/main" id="{12BA66DC-658D-31A8-7F27-6409F373B00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0965268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06289" y="29945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627288" y="2077910"/>
            <a:ext cx="765419" cy="66950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600291" y="3072433"/>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06288" y="39851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627289" y="4083860"/>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987331"/>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99759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132956" y="3076363"/>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124930" y="4076419"/>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5029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125454" y="5144848"/>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8</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Eight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571708" y="3028741"/>
            <a:ext cx="4357126" cy="748815"/>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571706" y="2048982"/>
            <a:ext cx="4357174" cy="715226"/>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579203" y="4024202"/>
            <a:ext cx="4349629" cy="77633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086448" y="3023305"/>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086448" y="4039539"/>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072338" y="5103551"/>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132957" y="2067960"/>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086448" y="2017174"/>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7" name="Rectangle 6">
            <a:extLst>
              <a:ext uri="{FF2B5EF4-FFF2-40B4-BE49-F238E27FC236}">
                <a16:creationId xmlns:a16="http://schemas.microsoft.com/office/drawing/2014/main" id="{ECB16B80-C336-C91C-9709-8FEA29DA0E7D}"/>
              </a:ext>
            </a:extLst>
          </p:cNvPr>
          <p:cNvSpPr/>
          <p:nvPr userDrawn="1"/>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820BEA7-7576-C802-9316-F443001B42FF}"/>
              </a:ext>
            </a:extLst>
          </p:cNvPr>
          <p:cNvSpPr/>
          <p:nvPr userDrawn="1"/>
        </p:nvSpPr>
        <p:spPr>
          <a:xfrm>
            <a:off x="627289" y="5092034"/>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11" name="Text Placeholder 13">
            <a:extLst>
              <a:ext uri="{FF2B5EF4-FFF2-40B4-BE49-F238E27FC236}">
                <a16:creationId xmlns:a16="http://schemas.microsoft.com/office/drawing/2014/main" id="{8DE5ED14-53B8-287D-A160-4E5BAAB61500}"/>
              </a:ext>
            </a:extLst>
          </p:cNvPr>
          <p:cNvSpPr>
            <a:spLocks noGrp="1"/>
          </p:cNvSpPr>
          <p:nvPr>
            <p:ph type="body" sz="quarter" idx="21" hasCustomPrompt="1"/>
          </p:nvPr>
        </p:nvSpPr>
        <p:spPr>
          <a:xfrm>
            <a:off x="1571706" y="5041248"/>
            <a:ext cx="4299628"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12" name="Group 11">
            <a:extLst>
              <a:ext uri="{FF2B5EF4-FFF2-40B4-BE49-F238E27FC236}">
                <a16:creationId xmlns:a16="http://schemas.microsoft.com/office/drawing/2014/main" id="{681E2C51-5620-BA24-0CAD-2462496E7CD0}"/>
              </a:ext>
            </a:extLst>
          </p:cNvPr>
          <p:cNvGrpSpPr/>
          <p:nvPr userDrawn="1"/>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97084215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27882174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67618885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7622262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ree point icon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BC798401-38DF-1476-4A5E-CF8311768CA8}"/>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561E51DE-7AC5-E560-58C5-4D8080BD3A4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56632700-E8A5-7CEB-8721-747C654B69E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68B3F764-54FC-C66E-A34B-44908CBCDFA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2C4AE99E-492A-9473-DBA9-F7710777D7A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600117F-530C-7C09-DE99-C8DF10AA17A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C40C7517-BE5D-356E-0006-352CEC16B9F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0D40DB4-539F-2DEB-78D2-A65A960ADD1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522442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userDrawn="1"/>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22596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845389"/>
            <a:ext cx="10845800" cy="51744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508000" y="620606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a:pPr/>
              <a:t>‹#›</a:t>
            </a:fld>
            <a:endParaRPr lang="en-US"/>
          </a:p>
        </p:txBody>
      </p:sp>
    </p:spTree>
    <p:extLst>
      <p:ext uri="{BB962C8B-B14F-4D97-AF65-F5344CB8AC3E}">
        <p14:creationId xmlns:p14="http://schemas.microsoft.com/office/powerpoint/2010/main" val="186673797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ive point icon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1397512" y="2012612"/>
            <a:ext cx="878622" cy="8786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513226" y="2012612"/>
            <a:ext cx="878622" cy="87862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653347" y="2012612"/>
            <a:ext cx="885305" cy="88530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835901" y="2005928"/>
            <a:ext cx="885306" cy="88530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10042445" y="2005927"/>
            <a:ext cx="885307" cy="88530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AC69A7CA-7CC8-A227-ACCF-E624E0326E2D}"/>
              </a:ext>
            </a:extLst>
          </p:cNvPr>
          <p:cNvSpPr>
            <a:spLocks noGrp="1"/>
          </p:cNvSpPr>
          <p:nvPr>
            <p:ph type="pic" sz="quarter" idx="19"/>
          </p:nvPr>
        </p:nvSpPr>
        <p:spPr>
          <a:xfrm>
            <a:off x="1471698" y="2090139"/>
            <a:ext cx="730250" cy="730250"/>
          </a:xfrm>
        </p:spPr>
        <p:txBody>
          <a:bodyPr/>
          <a:lstStyle/>
          <a:p>
            <a:r>
              <a:rPr lang="en-US"/>
              <a:t>Click icon to add picture</a:t>
            </a:r>
          </a:p>
        </p:txBody>
      </p:sp>
      <p:sp>
        <p:nvSpPr>
          <p:cNvPr id="13" name="Picture Placeholder 9">
            <a:extLst>
              <a:ext uri="{FF2B5EF4-FFF2-40B4-BE49-F238E27FC236}">
                <a16:creationId xmlns:a16="http://schemas.microsoft.com/office/drawing/2014/main" id="{DC3A30E9-A88D-6E1B-9655-49C6958CADC5}"/>
              </a:ext>
            </a:extLst>
          </p:cNvPr>
          <p:cNvSpPr>
            <a:spLocks noGrp="1"/>
          </p:cNvSpPr>
          <p:nvPr>
            <p:ph type="pic" sz="quarter" idx="20"/>
          </p:nvPr>
        </p:nvSpPr>
        <p:spPr>
          <a:xfrm>
            <a:off x="3594741" y="2105970"/>
            <a:ext cx="730250" cy="730250"/>
          </a:xfrm>
        </p:spPr>
        <p:txBody>
          <a:bodyPr/>
          <a:lstStyle/>
          <a:p>
            <a:r>
              <a:rPr lang="en-US"/>
              <a:t>Click icon to add picture</a:t>
            </a:r>
          </a:p>
        </p:txBody>
      </p:sp>
      <p:sp>
        <p:nvSpPr>
          <p:cNvPr id="17" name="Picture Placeholder 9">
            <a:extLst>
              <a:ext uri="{FF2B5EF4-FFF2-40B4-BE49-F238E27FC236}">
                <a16:creationId xmlns:a16="http://schemas.microsoft.com/office/drawing/2014/main" id="{70F12680-A5EB-F103-1C02-AAA1327447EB}"/>
              </a:ext>
            </a:extLst>
          </p:cNvPr>
          <p:cNvSpPr>
            <a:spLocks noGrp="1"/>
          </p:cNvSpPr>
          <p:nvPr>
            <p:ph type="pic" sz="quarter" idx="21"/>
          </p:nvPr>
        </p:nvSpPr>
        <p:spPr>
          <a:xfrm>
            <a:off x="5725247" y="2105970"/>
            <a:ext cx="730250" cy="730250"/>
          </a:xfrm>
        </p:spPr>
        <p:txBody>
          <a:bodyPr/>
          <a:lstStyle/>
          <a:p>
            <a:r>
              <a:rPr lang="en-US"/>
              <a:t>Click icon to add picture</a:t>
            </a:r>
          </a:p>
        </p:txBody>
      </p:sp>
      <p:sp>
        <p:nvSpPr>
          <p:cNvPr id="18" name="Picture Placeholder 9">
            <a:extLst>
              <a:ext uri="{FF2B5EF4-FFF2-40B4-BE49-F238E27FC236}">
                <a16:creationId xmlns:a16="http://schemas.microsoft.com/office/drawing/2014/main" id="{CE85B955-8E1C-ADEC-3D54-6A605EF33A12}"/>
              </a:ext>
            </a:extLst>
          </p:cNvPr>
          <p:cNvSpPr>
            <a:spLocks noGrp="1"/>
          </p:cNvSpPr>
          <p:nvPr>
            <p:ph type="pic" sz="quarter" idx="22"/>
          </p:nvPr>
        </p:nvSpPr>
        <p:spPr>
          <a:xfrm>
            <a:off x="7912870" y="2083455"/>
            <a:ext cx="730250" cy="730250"/>
          </a:xfrm>
        </p:spPr>
        <p:txBody>
          <a:bodyPr/>
          <a:lstStyle/>
          <a:p>
            <a:r>
              <a:rPr lang="en-US"/>
              <a:t>Click icon to add picture</a:t>
            </a:r>
          </a:p>
        </p:txBody>
      </p:sp>
      <p:sp>
        <p:nvSpPr>
          <p:cNvPr id="19" name="Picture Placeholder 9">
            <a:extLst>
              <a:ext uri="{FF2B5EF4-FFF2-40B4-BE49-F238E27FC236}">
                <a16:creationId xmlns:a16="http://schemas.microsoft.com/office/drawing/2014/main" id="{BAC4360C-D64F-D3EE-0286-087799039C6B}"/>
              </a:ext>
            </a:extLst>
          </p:cNvPr>
          <p:cNvSpPr>
            <a:spLocks noGrp="1"/>
          </p:cNvSpPr>
          <p:nvPr>
            <p:ph type="pic" sz="quarter" idx="23"/>
          </p:nvPr>
        </p:nvSpPr>
        <p:spPr>
          <a:xfrm>
            <a:off x="10119973" y="2083455"/>
            <a:ext cx="730250" cy="730250"/>
          </a:xfrm>
        </p:spPr>
        <p:txBody>
          <a:bodyPr/>
          <a:lstStyle/>
          <a:p>
            <a:r>
              <a:rPr lang="en-US"/>
              <a:t>Click icon to add picture</a:t>
            </a:r>
          </a:p>
        </p:txBody>
      </p:sp>
      <p:grpSp>
        <p:nvGrpSpPr>
          <p:cNvPr id="9" name="Group 8">
            <a:extLst>
              <a:ext uri="{FF2B5EF4-FFF2-40B4-BE49-F238E27FC236}">
                <a16:creationId xmlns:a16="http://schemas.microsoft.com/office/drawing/2014/main" id="{8A348552-978E-83CD-0EC3-F77287D23A05}"/>
              </a:ext>
            </a:extLst>
          </p:cNvPr>
          <p:cNvGrpSpPr/>
          <p:nvPr userDrawn="1"/>
        </p:nvGrpSpPr>
        <p:grpSpPr>
          <a:xfrm>
            <a:off x="10863102" y="309052"/>
            <a:ext cx="911847" cy="382707"/>
            <a:chOff x="7459170" y="481236"/>
            <a:chExt cx="2697427" cy="1132124"/>
          </a:xfrm>
        </p:grpSpPr>
        <p:sp>
          <p:nvSpPr>
            <p:cNvPr id="23" name="Freeform 9">
              <a:extLst>
                <a:ext uri="{FF2B5EF4-FFF2-40B4-BE49-F238E27FC236}">
                  <a16:creationId xmlns:a16="http://schemas.microsoft.com/office/drawing/2014/main" id="{6B2C3EDC-E73D-FC92-3284-1C53DD9BBDE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4" name="Freeform 11">
              <a:extLst>
                <a:ext uri="{FF2B5EF4-FFF2-40B4-BE49-F238E27FC236}">
                  <a16:creationId xmlns:a16="http://schemas.microsoft.com/office/drawing/2014/main" id="{DE6F3993-0C7C-2664-B0CE-D2C173E1AA0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5" name="Freeform 14">
              <a:extLst>
                <a:ext uri="{FF2B5EF4-FFF2-40B4-BE49-F238E27FC236}">
                  <a16:creationId xmlns:a16="http://schemas.microsoft.com/office/drawing/2014/main" id="{0C2717DC-E53A-51AC-FD5D-595D4C99D1A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6" name="Freeform 18">
              <a:extLst>
                <a:ext uri="{FF2B5EF4-FFF2-40B4-BE49-F238E27FC236}">
                  <a16:creationId xmlns:a16="http://schemas.microsoft.com/office/drawing/2014/main" id="{0725DB8C-E9F6-B0F4-BB0C-468294B980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7" name="Freeform 19">
              <a:extLst>
                <a:ext uri="{FF2B5EF4-FFF2-40B4-BE49-F238E27FC236}">
                  <a16:creationId xmlns:a16="http://schemas.microsoft.com/office/drawing/2014/main" id="{93EDFDF6-D953-3F25-9E1F-82464FF74F2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0">
              <a:extLst>
                <a:ext uri="{FF2B5EF4-FFF2-40B4-BE49-F238E27FC236}">
                  <a16:creationId xmlns:a16="http://schemas.microsoft.com/office/drawing/2014/main" id="{07BAF67B-DF47-EBA0-96ED-73CFB98AC8E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3" name="Freeform 23">
              <a:extLst>
                <a:ext uri="{FF2B5EF4-FFF2-40B4-BE49-F238E27FC236}">
                  <a16:creationId xmlns:a16="http://schemas.microsoft.com/office/drawing/2014/main" id="{E2DCD1DB-A235-8DA3-BCA6-8C74317D24D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7679785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userDrawn="1"/>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userDrawn="1"/>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userDrawn="1"/>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33" name="Rectangle 32">
            <a:extLst>
              <a:ext uri="{FF2B5EF4-FFF2-40B4-BE49-F238E27FC236}">
                <a16:creationId xmlns:a16="http://schemas.microsoft.com/office/drawing/2014/main" id="{FD9BCE3B-4762-C661-5C9C-B1DC7338A906}"/>
              </a:ext>
            </a:extLst>
          </p:cNvPr>
          <p:cNvSpPr/>
          <p:nvPr userDrawn="1"/>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userDrawn="1"/>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userDrawn="1"/>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lstStyle/>
          <a:p>
            <a:r>
              <a:rPr lang="en-US"/>
              <a:t>Click icon to add picture</a:t>
            </a:r>
          </a:p>
        </p:txBody>
      </p:sp>
      <p:sp>
        <p:nvSpPr>
          <p:cNvPr id="51" name="Text Placeholder 13">
            <a:extLst>
              <a:ext uri="{FF2B5EF4-FFF2-40B4-BE49-F238E27FC236}">
                <a16:creationId xmlns:a16="http://schemas.microsoft.com/office/drawing/2014/main" id="{F307664A-D9B1-7A11-8864-684019295394}"/>
              </a:ext>
            </a:extLst>
          </p:cNvPr>
          <p:cNvSpPr>
            <a:spLocks noGrp="1"/>
          </p:cNvSpPr>
          <p:nvPr>
            <p:ph type="body" sz="quarter" idx="12" hasCustomPrompt="1"/>
          </p:nvPr>
        </p:nvSpPr>
        <p:spPr>
          <a:xfrm>
            <a:off x="4588024" y="2939349"/>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2" name="Text Placeholder 13">
            <a:extLst>
              <a:ext uri="{FF2B5EF4-FFF2-40B4-BE49-F238E27FC236}">
                <a16:creationId xmlns:a16="http://schemas.microsoft.com/office/drawing/2014/main" id="{640B0055-3E6D-5371-D359-EF15A1BB8CB0}"/>
              </a:ext>
            </a:extLst>
          </p:cNvPr>
          <p:cNvSpPr>
            <a:spLocks noGrp="1"/>
          </p:cNvSpPr>
          <p:nvPr>
            <p:ph type="body" sz="quarter" idx="15" hasCustomPrompt="1"/>
          </p:nvPr>
        </p:nvSpPr>
        <p:spPr>
          <a:xfrm>
            <a:off x="995730" y="2939348"/>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3" name="Text Placeholder 13">
            <a:extLst>
              <a:ext uri="{FF2B5EF4-FFF2-40B4-BE49-F238E27FC236}">
                <a16:creationId xmlns:a16="http://schemas.microsoft.com/office/drawing/2014/main" id="{EF7FBD39-9F65-238A-D1D6-F47CC96BCFAB}"/>
              </a:ext>
            </a:extLst>
          </p:cNvPr>
          <p:cNvSpPr>
            <a:spLocks noGrp="1"/>
          </p:cNvSpPr>
          <p:nvPr>
            <p:ph type="body" sz="quarter" idx="16" hasCustomPrompt="1"/>
          </p:nvPr>
        </p:nvSpPr>
        <p:spPr>
          <a:xfrm>
            <a:off x="8167309" y="2960957"/>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4" name="Text Placeholder 13">
            <a:extLst>
              <a:ext uri="{FF2B5EF4-FFF2-40B4-BE49-F238E27FC236}">
                <a16:creationId xmlns:a16="http://schemas.microsoft.com/office/drawing/2014/main" id="{D5769A1C-7B40-E7FB-87DD-A77A398B393B}"/>
              </a:ext>
            </a:extLst>
          </p:cNvPr>
          <p:cNvSpPr>
            <a:spLocks noGrp="1"/>
          </p:cNvSpPr>
          <p:nvPr>
            <p:ph type="body" sz="quarter" idx="25" hasCustomPrompt="1"/>
          </p:nvPr>
        </p:nvSpPr>
        <p:spPr>
          <a:xfrm>
            <a:off x="4588024" y="5251822"/>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5" name="Text Placeholder 13">
            <a:extLst>
              <a:ext uri="{FF2B5EF4-FFF2-40B4-BE49-F238E27FC236}">
                <a16:creationId xmlns:a16="http://schemas.microsoft.com/office/drawing/2014/main" id="{0FA4551A-1EF7-E715-98EA-16220C9D8120}"/>
              </a:ext>
            </a:extLst>
          </p:cNvPr>
          <p:cNvSpPr>
            <a:spLocks noGrp="1"/>
          </p:cNvSpPr>
          <p:nvPr>
            <p:ph type="body" sz="quarter" idx="26" hasCustomPrompt="1"/>
          </p:nvPr>
        </p:nvSpPr>
        <p:spPr>
          <a:xfrm>
            <a:off x="995730" y="5251821"/>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6" name="Text Placeholder 13">
            <a:extLst>
              <a:ext uri="{FF2B5EF4-FFF2-40B4-BE49-F238E27FC236}">
                <a16:creationId xmlns:a16="http://schemas.microsoft.com/office/drawing/2014/main" id="{20339369-D707-24E3-0DBE-05BC89883E53}"/>
              </a:ext>
            </a:extLst>
          </p:cNvPr>
          <p:cNvSpPr>
            <a:spLocks noGrp="1"/>
          </p:cNvSpPr>
          <p:nvPr>
            <p:ph type="body" sz="quarter" idx="27" hasCustomPrompt="1"/>
          </p:nvPr>
        </p:nvSpPr>
        <p:spPr>
          <a:xfrm>
            <a:off x="8167309" y="5273430"/>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B129E26F-9EAB-58D3-8BE0-92C03DF5A2B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4124528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776072"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95955" y="282822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6995985"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823062"/>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graphicFrame>
        <p:nvGraphicFramePr>
          <p:cNvPr id="66" name="Table 5">
            <a:extLst>
              <a:ext uri="{FF2B5EF4-FFF2-40B4-BE49-F238E27FC236}">
                <a16:creationId xmlns:a16="http://schemas.microsoft.com/office/drawing/2014/main" id="{ECBC1793-4F31-C1E1-755D-41B5D4784098}"/>
              </a:ext>
            </a:extLst>
          </p:cNvPr>
          <p:cNvGraphicFramePr>
            <a:graphicFrameLocks noGrp="1"/>
          </p:cNvGraphicFramePr>
          <p:nvPr userDrawn="1">
            <p:extLst>
              <p:ext uri="{D42A27DB-BD31-4B8C-83A1-F6EECF244321}">
                <p14:modId xmlns:p14="http://schemas.microsoft.com/office/powerpoint/2010/main" val="3709454205"/>
              </p:ext>
            </p:extLst>
          </p:nvPr>
        </p:nvGraphicFramePr>
        <p:xfrm>
          <a:off x="814557" y="3513700"/>
          <a:ext cx="10621782" cy="370840"/>
        </p:xfrm>
        <a:graphic>
          <a:graphicData uri="http://schemas.openxmlformats.org/drawingml/2006/table">
            <a:tbl>
              <a:tblPr firstRow="1" bandRow="1">
                <a:tableStyleId>{5C22544A-7EE6-4342-B048-85BDC9FD1C3A}</a:tableStyleId>
              </a:tblPr>
              <a:tblGrid>
                <a:gridCol w="1770297">
                  <a:extLst>
                    <a:ext uri="{9D8B030D-6E8A-4147-A177-3AD203B41FA5}">
                      <a16:colId xmlns:a16="http://schemas.microsoft.com/office/drawing/2014/main" val="3406844630"/>
                    </a:ext>
                  </a:extLst>
                </a:gridCol>
                <a:gridCol w="1770297">
                  <a:extLst>
                    <a:ext uri="{9D8B030D-6E8A-4147-A177-3AD203B41FA5}">
                      <a16:colId xmlns:a16="http://schemas.microsoft.com/office/drawing/2014/main" val="1945530150"/>
                    </a:ext>
                  </a:extLst>
                </a:gridCol>
                <a:gridCol w="1770297">
                  <a:extLst>
                    <a:ext uri="{9D8B030D-6E8A-4147-A177-3AD203B41FA5}">
                      <a16:colId xmlns:a16="http://schemas.microsoft.com/office/drawing/2014/main" val="1005128605"/>
                    </a:ext>
                  </a:extLst>
                </a:gridCol>
                <a:gridCol w="1770297">
                  <a:extLst>
                    <a:ext uri="{9D8B030D-6E8A-4147-A177-3AD203B41FA5}">
                      <a16:colId xmlns:a16="http://schemas.microsoft.com/office/drawing/2014/main" val="458871675"/>
                    </a:ext>
                  </a:extLst>
                </a:gridCol>
                <a:gridCol w="1770297">
                  <a:extLst>
                    <a:ext uri="{9D8B030D-6E8A-4147-A177-3AD203B41FA5}">
                      <a16:colId xmlns:a16="http://schemas.microsoft.com/office/drawing/2014/main" val="2469416919"/>
                    </a:ext>
                  </a:extLst>
                </a:gridCol>
                <a:gridCol w="1770297">
                  <a:extLst>
                    <a:ext uri="{9D8B030D-6E8A-4147-A177-3AD203B41FA5}">
                      <a16:colId xmlns:a16="http://schemas.microsoft.com/office/drawing/2014/main" val="4143765711"/>
                    </a:ext>
                  </a:extLst>
                </a:gridCol>
              </a:tblGrid>
              <a:tr h="370840">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extLst>
                  <a:ext uri="{0D108BD9-81ED-4DB2-BD59-A6C34878D82A}">
                    <a16:rowId xmlns:a16="http://schemas.microsoft.com/office/drawing/2014/main" val="3671987825"/>
                  </a:ext>
                </a:extLst>
              </a:tr>
            </a:tbl>
          </a:graphicData>
        </a:graphic>
      </p:graphicFrame>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990601"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68029"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94839" y="1998846"/>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233984"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F7B2233B-0C35-3E3B-0EAA-BB8CD5BA9BCC}"/>
              </a:ext>
            </a:extLst>
          </p:cNvPr>
          <p:cNvSpPr>
            <a:spLocks noGrp="1"/>
          </p:cNvSpPr>
          <p:nvPr>
            <p:ph type="body" sz="quarter" idx="19" hasCustomPrompt="1"/>
          </p:nvPr>
        </p:nvSpPr>
        <p:spPr>
          <a:xfrm>
            <a:off x="9799940" y="4920481"/>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8033955" y="1992709"/>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838621" y="3589012"/>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126" y="358167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402411"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01916"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24445"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723950"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2993156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meline layout 2">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6096000"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5334000" y="197465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104339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8233532"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747153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8" y="3716322"/>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939141" y="3356328"/>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5063724" y="3725164"/>
            <a:ext cx="2124583"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7187184" y="3360749"/>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9311767" y="3729585"/>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958472"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319647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9671915"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3145104" y="342620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5293165" y="378903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7381422" y="3438786"/>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565614" y="379390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974039"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7246509" y="2972163"/>
            <a:ext cx="1974039" cy="307777"/>
          </a:xfrm>
          <a:prstGeom prst="rect">
            <a:avLst/>
          </a:prstGeom>
          <a:noFill/>
        </p:spPr>
        <p:txBody>
          <a:bodyPr wrap="square" lIns="0" tIns="0" rIns="0" bIns="0" rtlCol="0">
            <a:spAutoFit/>
          </a:bodyPr>
          <a:lstStyle/>
          <a:p>
            <a:pPr algn="ctr"/>
            <a:r>
              <a:rPr lang="en-US" sz="2000" b="1"/>
              <a:t>20XX</a:t>
            </a:r>
          </a:p>
        </p:txBody>
      </p:sp>
      <p:grpSp>
        <p:nvGrpSpPr>
          <p:cNvPr id="11" name="Group 10">
            <a:extLst>
              <a:ext uri="{FF2B5EF4-FFF2-40B4-BE49-F238E27FC236}">
                <a16:creationId xmlns:a16="http://schemas.microsoft.com/office/drawing/2014/main" id="{C1F5C286-6F3B-FEB0-2C38-EE803213F03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8C463DB0-6267-2164-346A-C7C72F2AD5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ECF88DB-48D1-9CF3-7208-D40E951E28C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6E99E7A9-A934-DE40-7612-53CC0466195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600441B5-66ED-F915-DDEE-EC560D48D7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EA349F80-F837-20F9-D936-49BC81A14FF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6AC00D88-F194-44A7-53D5-09D8147A938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23">
              <a:extLst>
                <a:ext uri="{FF2B5EF4-FFF2-40B4-BE49-F238E27FC236}">
                  <a16:creationId xmlns:a16="http://schemas.microsoft.com/office/drawing/2014/main" id="{F9F7FE31-3D80-F148-E003-045AC0328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8012620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userDrawn="1"/>
        </p:nvCxnSpPr>
        <p:spPr>
          <a:xfrm flipV="1">
            <a:off x="102534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1322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56478" y="197465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5192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8311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069104" y="4833200"/>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529351" y="3356328"/>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42347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59459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7661342" y="3729585"/>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3687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38800" y="4833200"/>
            <a:ext cx="148631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7843449"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800" y="3426200"/>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70244" y="3789033"/>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069104" y="3438786"/>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776059" y="379390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750641"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5936940" y="2972163"/>
            <a:ext cx="1724798" cy="307777"/>
          </a:xfrm>
          <a:prstGeom prst="rect">
            <a:avLst/>
          </a:prstGeom>
          <a:noFill/>
        </p:spPr>
        <p:txBody>
          <a:bodyPr wrap="square" lIns="0" tIns="0" rIns="0" bIns="0" rtlCol="0">
            <a:spAutoFit/>
          </a:bodyPr>
          <a:lstStyle/>
          <a:p>
            <a:pPr algn="ctr"/>
            <a:r>
              <a:rPr lang="en-US" sz="2000" b="1"/>
              <a:t>20XX</a:t>
            </a:r>
          </a:p>
        </p:txBody>
      </p:sp>
      <p:sp>
        <p:nvSpPr>
          <p:cNvPr id="19" name="Rectangle 18">
            <a:extLst>
              <a:ext uri="{FF2B5EF4-FFF2-40B4-BE49-F238E27FC236}">
                <a16:creationId xmlns:a16="http://schemas.microsoft.com/office/drawing/2014/main" id="{622F5348-07E7-C888-D291-A0D3B05C7F4F}"/>
              </a:ext>
            </a:extLst>
          </p:cNvPr>
          <p:cNvSpPr/>
          <p:nvPr userDrawn="1"/>
        </p:nvSpPr>
        <p:spPr>
          <a:xfrm>
            <a:off x="93766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491410" y="3431845"/>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23" name="Text Placeholder 13">
            <a:extLst>
              <a:ext uri="{FF2B5EF4-FFF2-40B4-BE49-F238E27FC236}">
                <a16:creationId xmlns:a16="http://schemas.microsoft.com/office/drawing/2014/main" id="{90BBA5B1-2813-7ED1-260D-1FF9CA368C66}"/>
              </a:ext>
            </a:extLst>
          </p:cNvPr>
          <p:cNvSpPr>
            <a:spLocks noGrp="1"/>
          </p:cNvSpPr>
          <p:nvPr>
            <p:ph type="body" sz="quarter" idx="29" hasCustomPrompt="1"/>
          </p:nvPr>
        </p:nvSpPr>
        <p:spPr>
          <a:xfrm>
            <a:off x="9491410" y="483131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grpSp>
        <p:nvGrpSpPr>
          <p:cNvPr id="11" name="Group 10">
            <a:extLst>
              <a:ext uri="{FF2B5EF4-FFF2-40B4-BE49-F238E27FC236}">
                <a16:creationId xmlns:a16="http://schemas.microsoft.com/office/drawing/2014/main" id="{F194D94E-5449-DF2C-2F5D-D841479A455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5869180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meline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82735" y="4167972"/>
            <a:ext cx="2370062"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6327052" y="4167973"/>
            <a:ext cx="228354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8959322" y="1974657"/>
            <a:ext cx="2061952"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4558" y="3716322"/>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3457174" y="3356328"/>
            <a:ext cx="2642616"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6099790" y="3725164"/>
            <a:ext cx="2642616"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8742406" y="3360749"/>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639186" y="1974657"/>
            <a:ext cx="2304413"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95666" y="3779797"/>
            <a:ext cx="2355477"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663136" y="3426200"/>
            <a:ext cx="2280464"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6329230" y="3789033"/>
            <a:ext cx="2084631" cy="218674"/>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8936643" y="3438786"/>
            <a:ext cx="2084631"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p:nvPr userDrawn="1"/>
        </p:nvCxnSpPr>
        <p:spPr>
          <a:xfrm>
            <a:off x="3457174"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p:nvPr userDrawn="1"/>
        </p:nvCxnSpPr>
        <p:spPr>
          <a:xfrm>
            <a:off x="609600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p:nvPr userDrawn="1"/>
        </p:nvCxnSpPr>
        <p:spPr>
          <a:xfrm>
            <a:off x="8755647" y="1974657"/>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26655DE-0164-0DED-C40B-FFF77F1BA55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A1D00D42-B029-31EA-77EE-132DA59FD98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5E606B4B-B7EF-3DE8-FF5E-A458B5079D1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327A4D6-7FD4-DB4F-0421-0ADA39E33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757FF84E-14EC-EEC2-F3C3-30269E22443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DC73BCD-A2E5-F03F-C837-59728964EB0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25E1581B-5F1B-DD87-25F9-76DAEF82AEE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A16E0349-A2F4-E3C0-A57E-1E42F5F0B6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9484464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14400" y="4167972"/>
            <a:ext cx="2000356"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5237790" y="4167973"/>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7478415" y="1970236"/>
            <a:ext cx="1874223"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7606" y="3716322"/>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2991493" y="3356328"/>
            <a:ext cx="2173887"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7358943" y="3356328"/>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072034" y="1974657"/>
            <a:ext cx="1944947"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7332" y="3779797"/>
            <a:ext cx="1937679"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095985" y="3426200"/>
            <a:ext cx="1875971"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39969" y="3789033"/>
            <a:ext cx="1925154" cy="207661"/>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55737" y="3426200"/>
            <a:ext cx="1896908" cy="226839"/>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userDrawn="1"/>
        </p:nvCxnSpPr>
        <p:spPr>
          <a:xfrm>
            <a:off x="2991493"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userDrawn="1"/>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userDrawn="1"/>
        </p:nvCxnSpPr>
        <p:spPr>
          <a:xfrm>
            <a:off x="7372184" y="1970236"/>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7E0D13C8-3592-C280-CE46-204C78CC348E}"/>
              </a:ext>
            </a:extLst>
          </p:cNvPr>
          <p:cNvSpPr>
            <a:spLocks noGrp="1"/>
          </p:cNvSpPr>
          <p:nvPr>
            <p:ph type="body" sz="quarter" idx="25" hasCustomPrompt="1"/>
          </p:nvPr>
        </p:nvSpPr>
        <p:spPr>
          <a:xfrm>
            <a:off x="9613691" y="4156960"/>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5" name="Rectangle 14">
            <a:extLst>
              <a:ext uri="{FF2B5EF4-FFF2-40B4-BE49-F238E27FC236}">
                <a16:creationId xmlns:a16="http://schemas.microsoft.com/office/drawing/2014/main" id="{1CBEB14D-5BA5-643D-3888-51C635CEC8B1}"/>
              </a:ext>
            </a:extLst>
          </p:cNvPr>
          <p:cNvSpPr/>
          <p:nvPr userDrawn="1"/>
        </p:nvSpPr>
        <p:spPr>
          <a:xfrm>
            <a:off x="9541281" y="3714151"/>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15870" y="3778020"/>
            <a:ext cx="1921364"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userDrawn="1"/>
        </p:nvCxnSpPr>
        <p:spPr>
          <a:xfrm>
            <a:off x="9537491" y="3714151"/>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56537683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meline layou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632706"/>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1018195" y="2848248"/>
            <a:ext cx="836830" cy="278566"/>
          </a:xfrm>
        </p:spPr>
        <p:txBody>
          <a:bodyPr/>
          <a:lstStyle>
            <a:lvl1pPr algn="ctr">
              <a:spcBef>
                <a:spcPts val="0"/>
              </a:spcBef>
              <a:defRPr sz="1600" b="1">
                <a:solidFill>
                  <a:schemeClr val="tx1"/>
                </a:solidFill>
                <a:latin typeface="+mn-lt"/>
              </a:defRPr>
            </a:lvl1pPr>
          </a:lstStyle>
          <a:p>
            <a:pPr lvl="0"/>
            <a:r>
              <a:rPr lang="en-US"/>
              <a:t>Month</a:t>
            </a:r>
          </a:p>
        </p:txBody>
      </p:sp>
      <p:cxnSp>
        <p:nvCxnSpPr>
          <p:cNvPr id="5" name="Straight Connector 4">
            <a:extLst>
              <a:ext uri="{FF2B5EF4-FFF2-40B4-BE49-F238E27FC236}">
                <a16:creationId xmlns:a16="http://schemas.microsoft.com/office/drawing/2014/main" id="{AE09EE46-E0D2-8875-289B-BB965DB35AD8}"/>
              </a:ext>
            </a:extLst>
          </p:cNvPr>
          <p:cNvCxnSpPr>
            <a:cxnSpLocks/>
          </p:cNvCxnSpPr>
          <p:nvPr/>
        </p:nvCxnSpPr>
        <p:spPr>
          <a:xfrm flipH="1">
            <a:off x="1414181"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45C6E6A-656C-B776-A9EC-266DC79A4F43}"/>
              </a:ext>
            </a:extLst>
          </p:cNvPr>
          <p:cNvCxnSpPr>
            <a:cxnSpLocks/>
          </p:cNvCxnSpPr>
          <p:nvPr/>
        </p:nvCxnSpPr>
        <p:spPr>
          <a:xfrm flipH="1">
            <a:off x="2770377"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CCA59D9-74D3-83E3-F6E2-74908388686B}"/>
              </a:ext>
            </a:extLst>
          </p:cNvPr>
          <p:cNvCxnSpPr>
            <a:cxnSpLocks/>
          </p:cNvCxnSpPr>
          <p:nvPr/>
        </p:nvCxnSpPr>
        <p:spPr>
          <a:xfrm flipH="1">
            <a:off x="4074679"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9ADFADF-1A28-B738-466E-E2E7857C3070}"/>
              </a:ext>
            </a:extLst>
          </p:cNvPr>
          <p:cNvCxnSpPr>
            <a:cxnSpLocks/>
          </p:cNvCxnSpPr>
          <p:nvPr/>
        </p:nvCxnSpPr>
        <p:spPr>
          <a:xfrm flipH="1">
            <a:off x="5430875"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59F193-4748-038C-7CCA-0957D5412C69}"/>
              </a:ext>
            </a:extLst>
          </p:cNvPr>
          <p:cNvCxnSpPr>
            <a:cxnSpLocks/>
          </p:cNvCxnSpPr>
          <p:nvPr/>
        </p:nvCxnSpPr>
        <p:spPr>
          <a:xfrm flipH="1">
            <a:off x="6735177"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848F43D-C4FA-5E73-078B-417F436790A6}"/>
              </a:ext>
            </a:extLst>
          </p:cNvPr>
          <p:cNvCxnSpPr>
            <a:cxnSpLocks/>
          </p:cNvCxnSpPr>
          <p:nvPr/>
        </p:nvCxnSpPr>
        <p:spPr>
          <a:xfrm flipH="1">
            <a:off x="9395675"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6D8DDA-7D40-8B32-7043-CE31BCFC5F6D}"/>
              </a:ext>
            </a:extLst>
          </p:cNvPr>
          <p:cNvCxnSpPr>
            <a:cxnSpLocks/>
          </p:cNvCxnSpPr>
          <p:nvPr/>
        </p:nvCxnSpPr>
        <p:spPr>
          <a:xfrm flipH="1">
            <a:off x="80913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C290974-47D8-72F4-D1D0-3EACA05B3ED6}"/>
              </a:ext>
            </a:extLst>
          </p:cNvPr>
          <p:cNvCxnSpPr>
            <a:cxnSpLocks/>
          </p:cNvCxnSpPr>
          <p:nvPr/>
        </p:nvCxnSpPr>
        <p:spPr>
          <a:xfrm flipH="1">
            <a:off x="107518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380734E2-EE37-64C8-51E7-B7B3F4AB895E}"/>
              </a:ext>
            </a:extLst>
          </p:cNvPr>
          <p:cNvGrpSpPr/>
          <p:nvPr userDrawn="1"/>
        </p:nvGrpSpPr>
        <p:grpSpPr>
          <a:xfrm>
            <a:off x="814557" y="2289019"/>
            <a:ext cx="10621792" cy="1337130"/>
            <a:chOff x="814558" y="2289019"/>
            <a:chExt cx="8485412" cy="1068191"/>
          </a:xfrm>
        </p:grpSpPr>
        <p:sp>
          <p:nvSpPr>
            <p:cNvPr id="50" name="Freeform 49">
              <a:extLst>
                <a:ext uri="{FF2B5EF4-FFF2-40B4-BE49-F238E27FC236}">
                  <a16:creationId xmlns:a16="http://schemas.microsoft.com/office/drawing/2014/main" id="{825967E4-003B-6087-AA86-C2D4BC3742D9}"/>
                </a:ext>
              </a:extLst>
            </p:cNvPr>
            <p:cNvSpPr/>
            <p:nvPr/>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5DB58AC3-1A20-A44C-8422-27B9335BB8C3}"/>
                </a:ext>
              </a:extLst>
            </p:cNvPr>
            <p:cNvSpPr/>
            <p:nvPr/>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18C3EC2-33A3-B497-E1FD-E97BD7C74241}"/>
                </a:ext>
              </a:extLst>
            </p:cNvPr>
            <p:cNvSpPr/>
            <p:nvPr/>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5A5BCE02-9832-3CF9-F3AD-B9F218CDFC14}"/>
                </a:ext>
              </a:extLst>
            </p:cNvPr>
            <p:cNvSpPr/>
            <p:nvPr/>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67" name="Freeform 66">
              <a:extLst>
                <a:ext uri="{FF2B5EF4-FFF2-40B4-BE49-F238E27FC236}">
                  <a16:creationId xmlns:a16="http://schemas.microsoft.com/office/drawing/2014/main" id="{2AA7D64E-1783-6A8F-5DBE-E252297CB2D1}"/>
                </a:ext>
              </a:extLst>
            </p:cNvPr>
            <p:cNvSpPr/>
            <p:nvPr/>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A4849390-0335-E438-0C15-13F926F11AB7}"/>
                </a:ext>
              </a:extLst>
            </p:cNvPr>
            <p:cNvSpPr/>
            <p:nvPr/>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67ADB5B2-3954-03ED-E673-C958885E2976}"/>
                </a:ext>
              </a:extLst>
            </p:cNvPr>
            <p:cNvSpPr/>
            <p:nvPr/>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E46D0D23-79B5-5D12-8E5B-C871F288F9C5}"/>
                </a:ext>
              </a:extLst>
            </p:cNvPr>
            <p:cNvSpPr/>
            <p:nvPr/>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grpSp>
      <p:sp>
        <p:nvSpPr>
          <p:cNvPr id="71" name="Text Placeholder 13">
            <a:extLst>
              <a:ext uri="{FF2B5EF4-FFF2-40B4-BE49-F238E27FC236}">
                <a16:creationId xmlns:a16="http://schemas.microsoft.com/office/drawing/2014/main" id="{5D659581-B672-D7D2-2A0E-B5AA7C8FC763}"/>
              </a:ext>
            </a:extLst>
          </p:cNvPr>
          <p:cNvSpPr>
            <a:spLocks noGrp="1"/>
          </p:cNvSpPr>
          <p:nvPr>
            <p:ph type="body" sz="quarter" idx="22" hasCustomPrompt="1"/>
          </p:nvPr>
        </p:nvSpPr>
        <p:spPr>
          <a:xfrm>
            <a:off x="2174029" y="517983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EA4693B3-8B99-5BD1-7D9D-25730B49C010}"/>
              </a:ext>
            </a:extLst>
          </p:cNvPr>
          <p:cNvSpPr>
            <a:spLocks noGrp="1"/>
          </p:cNvSpPr>
          <p:nvPr>
            <p:ph type="body" sz="quarter" idx="23" hasCustomPrompt="1"/>
          </p:nvPr>
        </p:nvSpPr>
        <p:spPr>
          <a:xfrm>
            <a:off x="3512341" y="459682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704CAD07-CBAD-AEE2-1AB9-A06C046B4B2D}"/>
              </a:ext>
            </a:extLst>
          </p:cNvPr>
          <p:cNvSpPr>
            <a:spLocks noGrp="1"/>
          </p:cNvSpPr>
          <p:nvPr>
            <p:ph type="body" sz="quarter" idx="24" hasCustomPrompt="1"/>
          </p:nvPr>
        </p:nvSpPr>
        <p:spPr>
          <a:xfrm>
            <a:off x="4854016" y="517655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4E3AC183-4430-7808-931E-0B83E62D0F4E}"/>
              </a:ext>
            </a:extLst>
          </p:cNvPr>
          <p:cNvSpPr>
            <a:spLocks noGrp="1"/>
          </p:cNvSpPr>
          <p:nvPr>
            <p:ph type="body" sz="quarter" idx="25" hasCustomPrompt="1"/>
          </p:nvPr>
        </p:nvSpPr>
        <p:spPr>
          <a:xfrm>
            <a:off x="6147478" y="459353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5" name="Text Placeholder 13">
            <a:extLst>
              <a:ext uri="{FF2B5EF4-FFF2-40B4-BE49-F238E27FC236}">
                <a16:creationId xmlns:a16="http://schemas.microsoft.com/office/drawing/2014/main" id="{12CCF4CA-D805-B2F1-01CF-6613FC5D585A}"/>
              </a:ext>
            </a:extLst>
          </p:cNvPr>
          <p:cNvSpPr>
            <a:spLocks noGrp="1"/>
          </p:cNvSpPr>
          <p:nvPr>
            <p:ph type="body" sz="quarter" idx="26" hasCustomPrompt="1"/>
          </p:nvPr>
        </p:nvSpPr>
        <p:spPr>
          <a:xfrm>
            <a:off x="7511151" y="516030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6" name="Text Placeholder 13">
            <a:extLst>
              <a:ext uri="{FF2B5EF4-FFF2-40B4-BE49-F238E27FC236}">
                <a16:creationId xmlns:a16="http://schemas.microsoft.com/office/drawing/2014/main" id="{E530B56E-51F2-371E-B5F0-0B666660C3D6}"/>
              </a:ext>
            </a:extLst>
          </p:cNvPr>
          <p:cNvSpPr>
            <a:spLocks noGrp="1"/>
          </p:cNvSpPr>
          <p:nvPr>
            <p:ph type="body" sz="quarter" idx="27" hasCustomPrompt="1"/>
          </p:nvPr>
        </p:nvSpPr>
        <p:spPr>
          <a:xfrm>
            <a:off x="8829337" y="4603398"/>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7" name="Text Placeholder 13">
            <a:extLst>
              <a:ext uri="{FF2B5EF4-FFF2-40B4-BE49-F238E27FC236}">
                <a16:creationId xmlns:a16="http://schemas.microsoft.com/office/drawing/2014/main" id="{E298A72D-91CD-7257-47C7-A13A202C6866}"/>
              </a:ext>
            </a:extLst>
          </p:cNvPr>
          <p:cNvSpPr>
            <a:spLocks noGrp="1"/>
          </p:cNvSpPr>
          <p:nvPr>
            <p:ph type="body" sz="quarter" idx="28" hasCustomPrompt="1"/>
          </p:nvPr>
        </p:nvSpPr>
        <p:spPr>
          <a:xfrm>
            <a:off x="10187777" y="513099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384214"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701345"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5038473" y="2854091"/>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6375602"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7712731"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9049862"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10395360" y="2786424"/>
            <a:ext cx="836830" cy="278566"/>
          </a:xfrm>
        </p:spPr>
        <p:txBody>
          <a:bodyPr/>
          <a:lstStyle>
            <a:lvl1pPr algn="ctr">
              <a:spcBef>
                <a:spcPts val="0"/>
              </a:spcBef>
              <a:defRPr sz="1600" b="1">
                <a:solidFill>
                  <a:schemeClr val="tx1"/>
                </a:solidFill>
                <a:latin typeface="+mn-lt"/>
              </a:defRPr>
            </a:lvl1pPr>
          </a:lstStyle>
          <a:p>
            <a:pPr lvl="0"/>
            <a:r>
              <a:rPr lang="en-US"/>
              <a:t>Month</a:t>
            </a:r>
          </a:p>
        </p:txBody>
      </p:sp>
      <p:grpSp>
        <p:nvGrpSpPr>
          <p:cNvPr id="4" name="Group 3">
            <a:extLst>
              <a:ext uri="{FF2B5EF4-FFF2-40B4-BE49-F238E27FC236}">
                <a16:creationId xmlns:a16="http://schemas.microsoft.com/office/drawing/2014/main" id="{0A45F78C-E0EC-5257-33E2-572EA89D19A8}"/>
              </a:ext>
            </a:extLst>
          </p:cNvPr>
          <p:cNvGrpSpPr/>
          <p:nvPr userDrawn="1"/>
        </p:nvGrpSpPr>
        <p:grpSpPr>
          <a:xfrm>
            <a:off x="10863102" y="309052"/>
            <a:ext cx="911847" cy="382707"/>
            <a:chOff x="7459170" y="481236"/>
            <a:chExt cx="2697427" cy="1132124"/>
          </a:xfrm>
        </p:grpSpPr>
        <p:sp>
          <p:nvSpPr>
            <p:cNvPr id="6" name="Freeform 9">
              <a:extLst>
                <a:ext uri="{FF2B5EF4-FFF2-40B4-BE49-F238E27FC236}">
                  <a16:creationId xmlns:a16="http://schemas.microsoft.com/office/drawing/2014/main" id="{FF7E9140-F820-D1E5-6822-EC3B3C82B45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11">
              <a:extLst>
                <a:ext uri="{FF2B5EF4-FFF2-40B4-BE49-F238E27FC236}">
                  <a16:creationId xmlns:a16="http://schemas.microsoft.com/office/drawing/2014/main" id="{51D1522A-3880-080A-EF51-005586D4304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9" name="Freeform 14">
              <a:extLst>
                <a:ext uri="{FF2B5EF4-FFF2-40B4-BE49-F238E27FC236}">
                  <a16:creationId xmlns:a16="http://schemas.microsoft.com/office/drawing/2014/main" id="{052FC3D8-BA21-B9E1-AF8B-DCC1C16FB79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18">
              <a:extLst>
                <a:ext uri="{FF2B5EF4-FFF2-40B4-BE49-F238E27FC236}">
                  <a16:creationId xmlns:a16="http://schemas.microsoft.com/office/drawing/2014/main" id="{39231176-BB7D-F78E-746B-1996786C07C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9">
              <a:extLst>
                <a:ext uri="{FF2B5EF4-FFF2-40B4-BE49-F238E27FC236}">
                  <a16:creationId xmlns:a16="http://schemas.microsoft.com/office/drawing/2014/main" id="{E99AFDF9-8AE0-852F-4346-1F117166A08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20">
              <a:extLst>
                <a:ext uri="{FF2B5EF4-FFF2-40B4-BE49-F238E27FC236}">
                  <a16:creationId xmlns:a16="http://schemas.microsoft.com/office/drawing/2014/main" id="{41029F4F-7254-9972-2098-8ED378ABBEC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23">
              <a:extLst>
                <a:ext uri="{FF2B5EF4-FFF2-40B4-BE49-F238E27FC236}">
                  <a16:creationId xmlns:a16="http://schemas.microsoft.com/office/drawing/2014/main" id="{D24F38DE-4B99-507B-9609-8CF605F706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186272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meline layou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48339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75297" y="2705156"/>
            <a:ext cx="703290" cy="359834"/>
          </a:xfrm>
        </p:spPr>
        <p:txBody>
          <a:bodyPr/>
          <a:lstStyle>
            <a:lvl1pPr algn="ctr">
              <a:spcBef>
                <a:spcPts val="0"/>
              </a:spcBef>
              <a:defRPr sz="1600" b="1">
                <a:solidFill>
                  <a:schemeClr val="tx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004223" y="2726946"/>
            <a:ext cx="742555" cy="281841"/>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100411" y="2725269"/>
            <a:ext cx="714556" cy="283517"/>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4137005" y="2711533"/>
            <a:ext cx="746152" cy="278565"/>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5223190" y="2693233"/>
            <a:ext cx="728157" cy="296865"/>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6290907" y="2701306"/>
            <a:ext cx="728631" cy="288792"/>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7340174" y="2701306"/>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8450118" y="2695765"/>
            <a:ext cx="675264" cy="279767"/>
          </a:xfrm>
        </p:spPr>
        <p:txBody>
          <a:bodyPr/>
          <a:lstStyle>
            <a:lvl1pPr algn="ctr">
              <a:spcBef>
                <a:spcPts val="0"/>
              </a:spcBef>
              <a:defRPr sz="1600" b="1">
                <a:solidFill>
                  <a:schemeClr val="tx1"/>
                </a:solidFill>
                <a:latin typeface="+mn-lt"/>
              </a:defRPr>
            </a:lvl1pPr>
          </a:lstStyle>
          <a:p>
            <a:pPr lvl="0"/>
            <a:r>
              <a:rPr lang="en-US"/>
              <a:t>Month</a:t>
            </a:r>
          </a:p>
        </p:txBody>
      </p:sp>
      <p:cxnSp>
        <p:nvCxnSpPr>
          <p:cNvPr id="4" name="Straight Connector 3">
            <a:extLst>
              <a:ext uri="{FF2B5EF4-FFF2-40B4-BE49-F238E27FC236}">
                <a16:creationId xmlns:a16="http://schemas.microsoft.com/office/drawing/2014/main" id="{AE9F1964-41CA-4420-214C-455238CA8BE5}"/>
              </a:ext>
            </a:extLst>
          </p:cNvPr>
          <p:cNvCxnSpPr>
            <a:cxnSpLocks/>
          </p:cNvCxnSpPr>
          <p:nvPr userDrawn="1"/>
        </p:nvCxnSpPr>
        <p:spPr>
          <a:xfrm flipH="1">
            <a:off x="1292650"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69D8EB6-24AB-0C47-A36C-AD4BA9D5B0ED}"/>
              </a:ext>
            </a:extLst>
          </p:cNvPr>
          <p:cNvCxnSpPr>
            <a:cxnSpLocks/>
          </p:cNvCxnSpPr>
          <p:nvPr userDrawn="1"/>
        </p:nvCxnSpPr>
        <p:spPr>
          <a:xfrm flipH="1">
            <a:off x="2345887"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64A5A6-74A9-7300-6FED-5EA0A9B1E5E9}"/>
              </a:ext>
            </a:extLst>
          </p:cNvPr>
          <p:cNvCxnSpPr>
            <a:cxnSpLocks/>
          </p:cNvCxnSpPr>
          <p:nvPr userDrawn="1"/>
        </p:nvCxnSpPr>
        <p:spPr>
          <a:xfrm flipH="1">
            <a:off x="339414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239E9-715A-C94A-6809-01997C546D4A}"/>
              </a:ext>
            </a:extLst>
          </p:cNvPr>
          <p:cNvCxnSpPr>
            <a:cxnSpLocks/>
            <a:stCxn id="29" idx="11"/>
          </p:cNvCxnSpPr>
          <p:nvPr userDrawn="1"/>
        </p:nvCxnSpPr>
        <p:spPr>
          <a:xfrm flipH="1">
            <a:off x="4523168" y="3357210"/>
            <a:ext cx="1" cy="1563212"/>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E38CA4C-1513-E9B6-6CAD-5CFC9BCD83EF}"/>
              </a:ext>
            </a:extLst>
          </p:cNvPr>
          <p:cNvCxnSpPr>
            <a:cxnSpLocks/>
          </p:cNvCxnSpPr>
          <p:nvPr userDrawn="1"/>
        </p:nvCxnSpPr>
        <p:spPr>
          <a:xfrm flipH="1">
            <a:off x="558461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0CF8D4F-3FF0-0019-9E92-6E3598998180}"/>
              </a:ext>
            </a:extLst>
          </p:cNvPr>
          <p:cNvCxnSpPr>
            <a:cxnSpLocks/>
          </p:cNvCxnSpPr>
          <p:nvPr userDrawn="1"/>
        </p:nvCxnSpPr>
        <p:spPr>
          <a:xfrm flipH="1">
            <a:off x="7714076"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DEBFE7-A572-AEBD-84E7-B15D655F97CE}"/>
              </a:ext>
            </a:extLst>
          </p:cNvPr>
          <p:cNvCxnSpPr>
            <a:cxnSpLocks/>
          </p:cNvCxnSpPr>
          <p:nvPr userDrawn="1"/>
        </p:nvCxnSpPr>
        <p:spPr>
          <a:xfrm flipH="1">
            <a:off x="9868225"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95EB653-7589-E527-E6AE-E3EEA77A8770}"/>
              </a:ext>
            </a:extLst>
          </p:cNvPr>
          <p:cNvCxnSpPr>
            <a:cxnSpLocks/>
          </p:cNvCxnSpPr>
          <p:nvPr userDrawn="1"/>
        </p:nvCxnSpPr>
        <p:spPr>
          <a:xfrm flipH="1">
            <a:off x="6629400" y="3268201"/>
            <a:ext cx="11028"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3C217F-1D24-C88D-4254-02A0DE9740D5}"/>
              </a:ext>
            </a:extLst>
          </p:cNvPr>
          <p:cNvCxnSpPr>
            <a:cxnSpLocks/>
          </p:cNvCxnSpPr>
          <p:nvPr userDrawn="1"/>
        </p:nvCxnSpPr>
        <p:spPr>
          <a:xfrm flipH="1">
            <a:off x="8755498"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DCD36F2-0F6A-E9B4-26AB-5C85B995DC83}"/>
              </a:ext>
            </a:extLst>
          </p:cNvPr>
          <p:cNvCxnSpPr>
            <a:cxnSpLocks/>
            <a:stCxn id="23" idx="4"/>
          </p:cNvCxnSpPr>
          <p:nvPr userDrawn="1"/>
        </p:nvCxnSpPr>
        <p:spPr>
          <a:xfrm flipH="1">
            <a:off x="10932308" y="3224592"/>
            <a:ext cx="1" cy="169873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sp>
        <p:nvSpPr>
          <p:cNvPr id="19" name="Freeform 18">
            <a:extLst>
              <a:ext uri="{FF2B5EF4-FFF2-40B4-BE49-F238E27FC236}">
                <a16:creationId xmlns:a16="http://schemas.microsoft.com/office/drawing/2014/main" id="{7CC51C76-3BE9-1754-213A-DDD53D63D6DE}"/>
              </a:ext>
            </a:extLst>
          </p:cNvPr>
          <p:cNvSpPr/>
          <p:nvPr userDrawn="1"/>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7E2B89C7-89E9-6D6B-91BE-B9174231C36C}"/>
              </a:ext>
            </a:extLst>
          </p:cNvPr>
          <p:cNvSpPr/>
          <p:nvPr userDrawn="1"/>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9F22FF9-9BBF-8671-D719-9D527CBDC7E5}"/>
              </a:ext>
            </a:extLst>
          </p:cNvPr>
          <p:cNvSpPr/>
          <p:nvPr userDrawn="1"/>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CF6109F0-5F1B-A48D-C628-626900BDF208}"/>
              </a:ext>
            </a:extLst>
          </p:cNvPr>
          <p:cNvSpPr/>
          <p:nvPr userDrawn="1"/>
        </p:nvSpPr>
        <p:spPr>
          <a:xfrm rot="5400000">
            <a:off x="933002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41990C06-3661-0A11-256F-248AB3E94A07}"/>
              </a:ext>
            </a:extLst>
          </p:cNvPr>
          <p:cNvSpPr/>
          <p:nvPr userDrawn="1"/>
        </p:nvSpPr>
        <p:spPr>
          <a:xfrm rot="5400000">
            <a:off x="1039821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6B79BA07-E715-5C83-C9A2-72A4F9E01992}"/>
              </a:ext>
            </a:extLst>
          </p:cNvPr>
          <p:cNvSpPr/>
          <p:nvPr userDrawn="1"/>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A7EC230C-E19B-A95B-9723-9801CF1E6D08}"/>
              </a:ext>
            </a:extLst>
          </p:cNvPr>
          <p:cNvSpPr/>
          <p:nvPr userDrawn="1"/>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BD935932-9E6C-B194-28FE-9423B0356A12}"/>
              </a:ext>
            </a:extLst>
          </p:cNvPr>
          <p:cNvSpPr/>
          <p:nvPr userDrawn="1"/>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E2943239-69B8-38E0-98F6-991E955934C3}"/>
              </a:ext>
            </a:extLst>
          </p:cNvPr>
          <p:cNvSpPr/>
          <p:nvPr userDrawn="1"/>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A5FCCFE9-7B8E-F288-97D6-49010D2A0F59}"/>
              </a:ext>
            </a:extLst>
          </p:cNvPr>
          <p:cNvSpPr/>
          <p:nvPr userDrawn="1"/>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31" name="Text Placeholder 7">
            <a:extLst>
              <a:ext uri="{FF2B5EF4-FFF2-40B4-BE49-F238E27FC236}">
                <a16:creationId xmlns:a16="http://schemas.microsoft.com/office/drawing/2014/main" id="{0590D450-87F7-FB95-0B7E-1C236D3FF27E}"/>
              </a:ext>
            </a:extLst>
          </p:cNvPr>
          <p:cNvSpPr>
            <a:spLocks noGrp="1"/>
          </p:cNvSpPr>
          <p:nvPr>
            <p:ph type="body" sz="quarter" idx="36" hasCustomPrompt="1"/>
          </p:nvPr>
        </p:nvSpPr>
        <p:spPr>
          <a:xfrm>
            <a:off x="9494448" y="2694503"/>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32" name="Text Placeholder 7">
            <a:extLst>
              <a:ext uri="{FF2B5EF4-FFF2-40B4-BE49-F238E27FC236}">
                <a16:creationId xmlns:a16="http://schemas.microsoft.com/office/drawing/2014/main" id="{9E02B287-4C11-031E-117E-F1E008B2589A}"/>
              </a:ext>
            </a:extLst>
          </p:cNvPr>
          <p:cNvSpPr>
            <a:spLocks noGrp="1"/>
          </p:cNvSpPr>
          <p:nvPr>
            <p:ph type="body" sz="quarter" idx="37" hasCustomPrompt="1"/>
          </p:nvPr>
        </p:nvSpPr>
        <p:spPr>
          <a:xfrm>
            <a:off x="10604392" y="2688962"/>
            <a:ext cx="675264" cy="279767"/>
          </a:xfrm>
        </p:spPr>
        <p:txBody>
          <a:bodyPr/>
          <a:lstStyle>
            <a:lvl1pPr algn="ctr">
              <a:spcBef>
                <a:spcPts val="0"/>
              </a:spcBef>
              <a:defRPr sz="1600" b="1">
                <a:solidFill>
                  <a:schemeClr val="tx1"/>
                </a:solidFill>
                <a:latin typeface="+mn-lt"/>
              </a:defRPr>
            </a:lvl1pPr>
          </a:lstStyle>
          <a:p>
            <a:pPr lvl="0"/>
            <a:r>
              <a:rPr lang="en-US"/>
              <a:t>Month</a:t>
            </a:r>
          </a:p>
        </p:txBody>
      </p:sp>
      <p:sp>
        <p:nvSpPr>
          <p:cNvPr id="33" name="Text Placeholder 13">
            <a:extLst>
              <a:ext uri="{FF2B5EF4-FFF2-40B4-BE49-F238E27FC236}">
                <a16:creationId xmlns:a16="http://schemas.microsoft.com/office/drawing/2014/main" id="{D058A047-4923-04D7-55E5-6ED5AEFEA4CB}"/>
              </a:ext>
            </a:extLst>
          </p:cNvPr>
          <p:cNvSpPr>
            <a:spLocks noGrp="1"/>
          </p:cNvSpPr>
          <p:nvPr>
            <p:ph type="body" sz="quarter" idx="38" hasCustomPrompt="1"/>
          </p:nvPr>
        </p:nvSpPr>
        <p:spPr>
          <a:xfrm>
            <a:off x="1865106" y="500369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46DD8558-EF00-1D5F-8837-8CAC1CBC2050}"/>
              </a:ext>
            </a:extLst>
          </p:cNvPr>
          <p:cNvSpPr>
            <a:spLocks noGrp="1"/>
          </p:cNvSpPr>
          <p:nvPr>
            <p:ph type="body" sz="quarter" idx="39" hasCustomPrompt="1"/>
          </p:nvPr>
        </p:nvSpPr>
        <p:spPr>
          <a:xfrm>
            <a:off x="2937384" y="443810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A702FD9C-A16E-9E70-15B7-BE6EF927643F}"/>
              </a:ext>
            </a:extLst>
          </p:cNvPr>
          <p:cNvSpPr>
            <a:spLocks noGrp="1"/>
          </p:cNvSpPr>
          <p:nvPr>
            <p:ph type="body" sz="quarter" idx="40" hasCustomPrompt="1"/>
          </p:nvPr>
        </p:nvSpPr>
        <p:spPr>
          <a:xfrm>
            <a:off x="4072588" y="5023166"/>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AD38D1E5-5CA9-7733-7F60-A19D7D2027C5}"/>
              </a:ext>
            </a:extLst>
          </p:cNvPr>
          <p:cNvSpPr>
            <a:spLocks noGrp="1"/>
          </p:cNvSpPr>
          <p:nvPr>
            <p:ph type="body" sz="quarter" idx="41" hasCustomPrompt="1"/>
          </p:nvPr>
        </p:nvSpPr>
        <p:spPr>
          <a:xfrm>
            <a:off x="5144866" y="44575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8" name="Text Placeholder 13">
            <a:extLst>
              <a:ext uri="{FF2B5EF4-FFF2-40B4-BE49-F238E27FC236}">
                <a16:creationId xmlns:a16="http://schemas.microsoft.com/office/drawing/2014/main" id="{90B2115A-6911-5957-2E3C-13D5AAEB4B94}"/>
              </a:ext>
            </a:extLst>
          </p:cNvPr>
          <p:cNvSpPr>
            <a:spLocks noGrp="1"/>
          </p:cNvSpPr>
          <p:nvPr>
            <p:ph type="body" sz="quarter" idx="42" hasCustomPrompt="1"/>
          </p:nvPr>
        </p:nvSpPr>
        <p:spPr>
          <a:xfrm>
            <a:off x="6201239" y="50061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9" name="Text Placeholder 13">
            <a:extLst>
              <a:ext uri="{FF2B5EF4-FFF2-40B4-BE49-F238E27FC236}">
                <a16:creationId xmlns:a16="http://schemas.microsoft.com/office/drawing/2014/main" id="{B2272BC2-1508-B933-5537-462D28CAD725}"/>
              </a:ext>
            </a:extLst>
          </p:cNvPr>
          <p:cNvSpPr>
            <a:spLocks noGrp="1"/>
          </p:cNvSpPr>
          <p:nvPr>
            <p:ph type="body" sz="quarter" idx="43" hasCustomPrompt="1"/>
          </p:nvPr>
        </p:nvSpPr>
        <p:spPr>
          <a:xfrm>
            <a:off x="7256835" y="447294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3" name="Text Placeholder 13">
            <a:extLst>
              <a:ext uri="{FF2B5EF4-FFF2-40B4-BE49-F238E27FC236}">
                <a16:creationId xmlns:a16="http://schemas.microsoft.com/office/drawing/2014/main" id="{5AF01362-0715-F46A-0152-3092837441F1}"/>
              </a:ext>
            </a:extLst>
          </p:cNvPr>
          <p:cNvSpPr>
            <a:spLocks noGrp="1"/>
          </p:cNvSpPr>
          <p:nvPr>
            <p:ph type="body" sz="quarter" idx="44" hasCustomPrompt="1"/>
          </p:nvPr>
        </p:nvSpPr>
        <p:spPr>
          <a:xfrm>
            <a:off x="8329890" y="502111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5" name="Text Placeholder 13">
            <a:extLst>
              <a:ext uri="{FF2B5EF4-FFF2-40B4-BE49-F238E27FC236}">
                <a16:creationId xmlns:a16="http://schemas.microsoft.com/office/drawing/2014/main" id="{83AB836A-6D6B-BABC-A01F-F8884EA0ACEB}"/>
              </a:ext>
            </a:extLst>
          </p:cNvPr>
          <p:cNvSpPr>
            <a:spLocks noGrp="1"/>
          </p:cNvSpPr>
          <p:nvPr>
            <p:ph type="body" sz="quarter" idx="45" hasCustomPrompt="1"/>
          </p:nvPr>
        </p:nvSpPr>
        <p:spPr>
          <a:xfrm>
            <a:off x="9385486" y="448788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6" name="Text Placeholder 13">
            <a:extLst>
              <a:ext uri="{FF2B5EF4-FFF2-40B4-BE49-F238E27FC236}">
                <a16:creationId xmlns:a16="http://schemas.microsoft.com/office/drawing/2014/main" id="{E1B01A04-FAFA-AFFD-B3F0-B9E6735A5C46}"/>
              </a:ext>
            </a:extLst>
          </p:cNvPr>
          <p:cNvSpPr>
            <a:spLocks noGrp="1"/>
          </p:cNvSpPr>
          <p:nvPr>
            <p:ph type="body" sz="quarter" idx="46" hasCustomPrompt="1"/>
          </p:nvPr>
        </p:nvSpPr>
        <p:spPr>
          <a:xfrm>
            <a:off x="10505857" y="501914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grpSp>
        <p:nvGrpSpPr>
          <p:cNvPr id="5" name="Group 4">
            <a:extLst>
              <a:ext uri="{FF2B5EF4-FFF2-40B4-BE49-F238E27FC236}">
                <a16:creationId xmlns:a16="http://schemas.microsoft.com/office/drawing/2014/main" id="{4D03EE2A-18C9-631D-FA3A-3884BB6AEAC8}"/>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F3BDDA2-C961-DDFB-541C-1CBAA8B957D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B972998B-0F48-711F-6AA1-FE7F38D83A4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6" name="Freeform 14">
              <a:extLst>
                <a:ext uri="{FF2B5EF4-FFF2-40B4-BE49-F238E27FC236}">
                  <a16:creationId xmlns:a16="http://schemas.microsoft.com/office/drawing/2014/main" id="{B2CD8A56-6A12-2BDF-60C5-86E982A21F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4" name="Freeform 18">
              <a:extLst>
                <a:ext uri="{FF2B5EF4-FFF2-40B4-BE49-F238E27FC236}">
                  <a16:creationId xmlns:a16="http://schemas.microsoft.com/office/drawing/2014/main" id="{7B110A86-F54F-A69C-867F-9DE3D51ECA9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40" name="Freeform 19">
              <a:extLst>
                <a:ext uri="{FF2B5EF4-FFF2-40B4-BE49-F238E27FC236}">
                  <a16:creationId xmlns:a16="http://schemas.microsoft.com/office/drawing/2014/main" id="{CABDD6FC-812D-5F0A-679E-BE61AD54522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41" name="Freeform 20">
              <a:extLst>
                <a:ext uri="{FF2B5EF4-FFF2-40B4-BE49-F238E27FC236}">
                  <a16:creationId xmlns:a16="http://schemas.microsoft.com/office/drawing/2014/main" id="{E5FACE0A-C1F7-0FE4-7379-B8A1F87EC6F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2" name="Freeform 23">
              <a:extLst>
                <a:ext uri="{FF2B5EF4-FFF2-40B4-BE49-F238E27FC236}">
                  <a16:creationId xmlns:a16="http://schemas.microsoft.com/office/drawing/2014/main" id="{7E2A1364-4FA2-CE32-6CE0-4FD6271AEC0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181197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meline journe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Journey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08" name="Right Arrow 107">
            <a:extLst>
              <a:ext uri="{FF2B5EF4-FFF2-40B4-BE49-F238E27FC236}">
                <a16:creationId xmlns:a16="http://schemas.microsoft.com/office/drawing/2014/main" id="{BF6BC53D-4BB0-A096-2ED6-FC5C98AF3326}"/>
              </a:ext>
            </a:extLst>
          </p:cNvPr>
          <p:cNvSpPr/>
          <p:nvPr userDrawn="1"/>
        </p:nvSpPr>
        <p:spPr>
          <a:xfrm>
            <a:off x="-38299" y="3465750"/>
            <a:ext cx="11436338" cy="208309"/>
          </a:xfrm>
          <a:prstGeom prst="rightArrow">
            <a:avLst>
              <a:gd name="adj1" fmla="val 100000"/>
              <a:gd name="adj2" fmla="val 52411"/>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nvGrpSpPr>
          <p:cNvPr id="4" name="Group 3">
            <a:extLst>
              <a:ext uri="{FF2B5EF4-FFF2-40B4-BE49-F238E27FC236}">
                <a16:creationId xmlns:a16="http://schemas.microsoft.com/office/drawing/2014/main" id="{224C94B9-D6D1-5E19-36FB-31C4880E39C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D42D9404-CE00-17A8-520F-56859AC9A40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F1B65EB-6F12-F70C-D2C1-8F78C8D98D1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B5945D3-A3EE-8EE2-FC68-F88F776F0E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8129CACA-077F-CC19-40B6-19EE94B72E6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7AF3A481-678A-C1CE-57F7-0AC64D5F293F}"/>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4EA1D11D-2258-41B5-A282-FDB33F6CAC6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6B39AFC5-1D94-A152-A29D-5967E885051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372131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ECE84-7D9E-7842-A5DF-33CDC07AF1D6}"/>
              </a:ext>
            </a:extLst>
          </p:cNvPr>
          <p:cNvSpPr>
            <a:spLocks noGrp="1"/>
          </p:cNvSpPr>
          <p:nvPr>
            <p:ph type="title" hasCustomPrompt="1"/>
          </p:nvPr>
        </p:nvSpPr>
        <p:spPr>
          <a:xfrm>
            <a:off x="512872" y="232347"/>
            <a:ext cx="11166257" cy="433759"/>
          </a:xfrm>
          <a:prstGeom prst="rect">
            <a:avLst/>
          </a:prstGeom>
        </p:spPr>
        <p:txBody>
          <a:bodyPr wrap="none" lIns="0" tIns="0" rIns="0" bIns="0" anchor="ctr">
            <a:noAutofit/>
          </a:bodyPr>
          <a:lstStyle>
            <a:lvl1pPr>
              <a:defRPr sz="3200">
                <a:solidFill>
                  <a:schemeClr val="accent1"/>
                </a:solidFill>
              </a:defRPr>
            </a:lvl1pPr>
          </a:lstStyle>
          <a:p>
            <a:r>
              <a:rPr lang="en-US"/>
              <a:t>Click to edit master title style</a:t>
            </a:r>
          </a:p>
        </p:txBody>
      </p:sp>
      <p:sp>
        <p:nvSpPr>
          <p:cNvPr id="11" name="Rectangle 10">
            <a:extLst>
              <a:ext uri="{FF2B5EF4-FFF2-40B4-BE49-F238E27FC236}">
                <a16:creationId xmlns:a16="http://schemas.microsoft.com/office/drawing/2014/main" id="{A48EA563-D1FF-8947-8409-47F55C50A67A}"/>
              </a:ext>
            </a:extLst>
          </p:cNvPr>
          <p:cNvSpPr/>
          <p:nvPr userDrawn="1"/>
        </p:nvSpPr>
        <p:spPr>
          <a:xfrm>
            <a:off x="2236303" y="785866"/>
            <a:ext cx="9473184" cy="45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0" rIns="180000" bIns="720000" rtlCol="0" anchor="ctr"/>
          <a:lstStyle/>
          <a:p>
            <a:pPr marL="177800" indent="-177800">
              <a:buFont typeface="Arial" panose="020B0604020202020204" pitchFamily="34" charset="0"/>
              <a:buChar char="•"/>
            </a:pPr>
            <a:endParaRPr lang="en-US" sz="2400" i="1"/>
          </a:p>
        </p:txBody>
      </p:sp>
      <p:sp>
        <p:nvSpPr>
          <p:cNvPr id="12" name="Rectangle 11">
            <a:extLst>
              <a:ext uri="{FF2B5EF4-FFF2-40B4-BE49-F238E27FC236}">
                <a16:creationId xmlns:a16="http://schemas.microsoft.com/office/drawing/2014/main" id="{328F5251-381F-F44D-96DF-69599987BAFE}"/>
              </a:ext>
            </a:extLst>
          </p:cNvPr>
          <p:cNvSpPr/>
          <p:nvPr userDrawn="1"/>
        </p:nvSpPr>
        <p:spPr>
          <a:xfrm>
            <a:off x="0" y="785865"/>
            <a:ext cx="458845"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 name="Rectangle 12">
            <a:extLst>
              <a:ext uri="{FF2B5EF4-FFF2-40B4-BE49-F238E27FC236}">
                <a16:creationId xmlns:a16="http://schemas.microsoft.com/office/drawing/2014/main" id="{937F7F61-966A-1046-BC28-2A71E58CE061}"/>
              </a:ext>
            </a:extLst>
          </p:cNvPr>
          <p:cNvSpPr/>
          <p:nvPr userDrawn="1"/>
        </p:nvSpPr>
        <p:spPr>
          <a:xfrm>
            <a:off x="508001" y="785865"/>
            <a:ext cx="1679146"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7" name="Picture 6">
            <a:extLst>
              <a:ext uri="{FF2B5EF4-FFF2-40B4-BE49-F238E27FC236}">
                <a16:creationId xmlns:a16="http://schemas.microsoft.com/office/drawing/2014/main" id="{F46914AC-2757-904B-87C2-12AE1B5FEE0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75576" y="6208051"/>
            <a:ext cx="1031022" cy="536614"/>
          </a:xfrm>
          <a:prstGeom prst="rect">
            <a:avLst/>
          </a:prstGeom>
        </p:spPr>
      </p:pic>
      <p:sp>
        <p:nvSpPr>
          <p:cNvPr id="9" name="TextBox 8">
            <a:extLst>
              <a:ext uri="{FF2B5EF4-FFF2-40B4-BE49-F238E27FC236}">
                <a16:creationId xmlns:a16="http://schemas.microsoft.com/office/drawing/2014/main" id="{A5E52F43-38AC-6A4D-B2E5-441CD967006F}"/>
              </a:ext>
            </a:extLst>
          </p:cNvPr>
          <p:cNvSpPr txBox="1"/>
          <p:nvPr userDrawn="1"/>
        </p:nvSpPr>
        <p:spPr>
          <a:xfrm>
            <a:off x="507619" y="6457057"/>
            <a:ext cx="3056467" cy="215444"/>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tx1">
                    <a:lumMod val="40000"/>
                    <a:lumOff val="60000"/>
                  </a:schemeClr>
                </a:solidFill>
                <a:latin typeface="Arial" panose="020B0604020202020204" pitchFamily="34" charset="0"/>
                <a:cs typeface="Arial" panose="020B0604020202020204" pitchFamily="34" charset="0"/>
              </a:rPr>
              <a:t>© 2022 RSM US LLP. All Rights Reserved. </a:t>
            </a:r>
          </a:p>
        </p:txBody>
      </p:sp>
      <p:sp>
        <p:nvSpPr>
          <p:cNvPr id="10" name="Slide Number Placeholder 2">
            <a:extLst>
              <a:ext uri="{FF2B5EF4-FFF2-40B4-BE49-F238E27FC236}">
                <a16:creationId xmlns:a16="http://schemas.microsoft.com/office/drawing/2014/main" id="{040EEB06-36D7-1C4E-811A-ED754F0B9D2F}"/>
              </a:ext>
            </a:extLst>
          </p:cNvPr>
          <p:cNvSpPr>
            <a:spLocks noGrp="1"/>
          </p:cNvSpPr>
          <p:nvPr>
            <p:ph type="sldNum" sz="quarter" idx="13"/>
          </p:nvPr>
        </p:nvSpPr>
        <p:spPr>
          <a:xfrm>
            <a:off x="4724400" y="6384893"/>
            <a:ext cx="2743200" cy="276753"/>
          </a:xfrm>
          <a:prstGeom prst="rect">
            <a:avLst/>
          </a:prstGeom>
        </p:spPr>
        <p:txBody>
          <a:bodyPr anchor="ctr"/>
          <a:lstStyle>
            <a:defPPr>
              <a:defRPr lang="en-US"/>
            </a:defPPr>
            <a:lvl1pPr marL="0" algn="ctr" defTabSz="914400" rtl="0" eaLnBrk="1" latinLnBrk="0" hangingPunct="1">
              <a:defRPr sz="800" kern="1200">
                <a:solidFill>
                  <a:schemeClr val="tx1">
                    <a:lumMod val="40000"/>
                    <a:lumOff val="6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6A99BC-3C9D-4DF8-8B8C-E1FD2BDF0AD4}" type="slidenum">
              <a:rPr lang="en-US" smtClean="0"/>
              <a:pPr/>
              <a:t>‹#›</a:t>
            </a:fld>
            <a:endParaRPr lang="en-US"/>
          </a:p>
        </p:txBody>
      </p:sp>
    </p:spTree>
    <p:extLst>
      <p:ext uri="{BB962C8B-B14F-4D97-AF65-F5344CB8AC3E}">
        <p14:creationId xmlns:p14="http://schemas.microsoft.com/office/powerpoint/2010/main" val="1840789035"/>
      </p:ext>
    </p:extLst>
  </p:cSld>
  <p:clrMapOvr>
    <a:masterClrMapping/>
  </p:clrMapOvr>
  <p:extLst>
    <p:ext uri="{DCECCB84-F9BA-43D5-87BE-67443E8EF086}">
      <p15:sldGuideLst xmlns:p15="http://schemas.microsoft.com/office/powerpoint/2012/main">
        <p15:guide id="1" orient="horz" pos="2160">
          <p15:clr>
            <a:srgbClr val="FBAE40"/>
          </p15:clr>
        </p15:guide>
        <p15:guide id="2" pos="7368">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3622958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userDrawn="1"/>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48" name="Group 47">
            <a:extLst>
              <a:ext uri="{FF2B5EF4-FFF2-40B4-BE49-F238E27FC236}">
                <a16:creationId xmlns:a16="http://schemas.microsoft.com/office/drawing/2014/main" id="{5F749ED8-1005-1A68-85FF-0BB1D7AF27CD}"/>
              </a:ext>
            </a:extLst>
          </p:cNvPr>
          <p:cNvGrpSpPr/>
          <p:nvPr userDrawn="1"/>
        </p:nvGrpSpPr>
        <p:grpSpPr>
          <a:xfrm>
            <a:off x="1098600" y="2425597"/>
            <a:ext cx="1639650" cy="2193648"/>
            <a:chOff x="1098600" y="2425597"/>
            <a:chExt cx="1639650" cy="2193648"/>
          </a:xfrm>
        </p:grpSpPr>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0" name="Rectangle 49">
              <a:extLst>
                <a:ext uri="{FF2B5EF4-FFF2-40B4-BE49-F238E27FC236}">
                  <a16:creationId xmlns:a16="http://schemas.microsoft.com/office/drawing/2014/main" id="{E07ECE87-31D9-CBFE-793A-E0EDDDF7BF33}"/>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51" name="Group 50">
            <a:extLst>
              <a:ext uri="{FF2B5EF4-FFF2-40B4-BE49-F238E27FC236}">
                <a16:creationId xmlns:a16="http://schemas.microsoft.com/office/drawing/2014/main" id="{788406FD-B7A2-FF35-2EDC-9117E6714FF3}"/>
              </a:ext>
            </a:extLst>
          </p:cNvPr>
          <p:cNvGrpSpPr/>
          <p:nvPr userDrawn="1"/>
        </p:nvGrpSpPr>
        <p:grpSpPr>
          <a:xfrm>
            <a:off x="3192238" y="2979595"/>
            <a:ext cx="1639650" cy="2193648"/>
            <a:chOff x="3192238" y="2979595"/>
            <a:chExt cx="1639650" cy="2193648"/>
          </a:xfrm>
        </p:grpSpPr>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3" name="Rectangle 52">
              <a:extLst>
                <a:ext uri="{FF2B5EF4-FFF2-40B4-BE49-F238E27FC236}">
                  <a16:creationId xmlns:a16="http://schemas.microsoft.com/office/drawing/2014/main" id="{EF87CE87-D630-0372-4DAD-B00263E7EDB9}"/>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54" name="Group 53">
            <a:extLst>
              <a:ext uri="{FF2B5EF4-FFF2-40B4-BE49-F238E27FC236}">
                <a16:creationId xmlns:a16="http://schemas.microsoft.com/office/drawing/2014/main" id="{C2A4C9AE-39B2-B996-E95C-B203D767E881}"/>
              </a:ext>
            </a:extLst>
          </p:cNvPr>
          <p:cNvGrpSpPr/>
          <p:nvPr userDrawn="1"/>
        </p:nvGrpSpPr>
        <p:grpSpPr>
          <a:xfrm>
            <a:off x="5281263" y="2425597"/>
            <a:ext cx="1639650" cy="2193648"/>
            <a:chOff x="5281263" y="2425597"/>
            <a:chExt cx="1639650" cy="2193648"/>
          </a:xfrm>
        </p:grpSpPr>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6" name="Rectangle 55">
              <a:extLst>
                <a:ext uri="{FF2B5EF4-FFF2-40B4-BE49-F238E27FC236}">
                  <a16:creationId xmlns:a16="http://schemas.microsoft.com/office/drawing/2014/main" id="{80202B90-3BEC-EA4C-C824-2F41115E913E}"/>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57" name="Group 56">
            <a:extLst>
              <a:ext uri="{FF2B5EF4-FFF2-40B4-BE49-F238E27FC236}">
                <a16:creationId xmlns:a16="http://schemas.microsoft.com/office/drawing/2014/main" id="{37D47042-1C56-7671-2C9A-D1436407C7CA}"/>
              </a:ext>
            </a:extLst>
          </p:cNvPr>
          <p:cNvGrpSpPr/>
          <p:nvPr userDrawn="1"/>
        </p:nvGrpSpPr>
        <p:grpSpPr>
          <a:xfrm>
            <a:off x="7363945" y="2979595"/>
            <a:ext cx="1639650" cy="2180164"/>
            <a:chOff x="7363945" y="2979595"/>
            <a:chExt cx="1639650" cy="2180164"/>
          </a:xfrm>
        </p:grpSpPr>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9" name="Rectangle 58">
              <a:extLst>
                <a:ext uri="{FF2B5EF4-FFF2-40B4-BE49-F238E27FC236}">
                  <a16:creationId xmlns:a16="http://schemas.microsoft.com/office/drawing/2014/main" id="{25BBDAA1-4F56-41BD-AD67-5AFD964577D8}"/>
                </a:ext>
              </a:extLst>
            </p:cNvPr>
            <p:cNvSpPr/>
            <p:nvPr/>
          </p:nvSpPr>
          <p:spPr>
            <a:xfrm>
              <a:off x="7926988" y="4605761"/>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60" name="Group 59">
            <a:extLst>
              <a:ext uri="{FF2B5EF4-FFF2-40B4-BE49-F238E27FC236}">
                <a16:creationId xmlns:a16="http://schemas.microsoft.com/office/drawing/2014/main" id="{791C01F6-01E0-EF5A-D98A-823A20014928}"/>
              </a:ext>
            </a:extLst>
          </p:cNvPr>
          <p:cNvGrpSpPr/>
          <p:nvPr userDrawn="1"/>
        </p:nvGrpSpPr>
        <p:grpSpPr>
          <a:xfrm>
            <a:off x="9441696" y="2425597"/>
            <a:ext cx="1639650" cy="2193648"/>
            <a:chOff x="9441696" y="2425597"/>
            <a:chExt cx="1639650" cy="2193648"/>
          </a:xfrm>
        </p:grpSpPr>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62" name="Rectangle 61">
              <a:extLst>
                <a:ext uri="{FF2B5EF4-FFF2-40B4-BE49-F238E27FC236}">
                  <a16:creationId xmlns:a16="http://schemas.microsoft.com/office/drawing/2014/main" id="{C4F5709A-889C-7AB8-738A-A94D4F500368}"/>
                </a:ext>
              </a:extLst>
            </p:cNvPr>
            <p:cNvSpPr/>
            <p:nvPr/>
          </p:nvSpPr>
          <p:spPr>
            <a:xfrm>
              <a:off x="9984522"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ive steps</a:t>
            </a:r>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9570014" y="3031910"/>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3" name="Text Placeholder 13">
            <a:extLst>
              <a:ext uri="{FF2B5EF4-FFF2-40B4-BE49-F238E27FC236}">
                <a16:creationId xmlns:a16="http://schemas.microsoft.com/office/drawing/2014/main" id="{3F12520C-20EB-9611-823C-6FE27C8CC0AA}"/>
              </a:ext>
            </a:extLst>
          </p:cNvPr>
          <p:cNvSpPr>
            <a:spLocks noGrp="1"/>
          </p:cNvSpPr>
          <p:nvPr>
            <p:ph type="body" sz="quarter" idx="19" hasCustomPrompt="1"/>
          </p:nvPr>
        </p:nvSpPr>
        <p:spPr>
          <a:xfrm>
            <a:off x="7502594" y="304930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4" name="Text Placeholder 13">
            <a:extLst>
              <a:ext uri="{FF2B5EF4-FFF2-40B4-BE49-F238E27FC236}">
                <a16:creationId xmlns:a16="http://schemas.microsoft.com/office/drawing/2014/main" id="{7D052B7F-2721-13C1-C404-032445D1B13B}"/>
              </a:ext>
            </a:extLst>
          </p:cNvPr>
          <p:cNvSpPr>
            <a:spLocks noGrp="1"/>
          </p:cNvSpPr>
          <p:nvPr>
            <p:ph type="body" sz="quarter" idx="20" hasCustomPrompt="1"/>
          </p:nvPr>
        </p:nvSpPr>
        <p:spPr>
          <a:xfrm>
            <a:off x="5385019"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5" name="Text Placeholder 13">
            <a:extLst>
              <a:ext uri="{FF2B5EF4-FFF2-40B4-BE49-F238E27FC236}">
                <a16:creationId xmlns:a16="http://schemas.microsoft.com/office/drawing/2014/main" id="{F65EDA93-4503-51CA-F678-63C71EC9623E}"/>
              </a:ext>
            </a:extLst>
          </p:cNvPr>
          <p:cNvSpPr>
            <a:spLocks noGrp="1"/>
          </p:cNvSpPr>
          <p:nvPr>
            <p:ph type="body" sz="quarter" idx="21" hasCustomPrompt="1"/>
          </p:nvPr>
        </p:nvSpPr>
        <p:spPr>
          <a:xfrm>
            <a:off x="3310670"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6" name="Text Placeholder 13">
            <a:extLst>
              <a:ext uri="{FF2B5EF4-FFF2-40B4-BE49-F238E27FC236}">
                <a16:creationId xmlns:a16="http://schemas.microsoft.com/office/drawing/2014/main" id="{60ED96AB-A9DF-CCB0-6A3C-8C2335B359B6}"/>
              </a:ext>
            </a:extLst>
          </p:cNvPr>
          <p:cNvSpPr>
            <a:spLocks noGrp="1"/>
          </p:cNvSpPr>
          <p:nvPr>
            <p:ph type="body" sz="quarter" idx="22" hasCustomPrompt="1"/>
          </p:nvPr>
        </p:nvSpPr>
        <p:spPr>
          <a:xfrm>
            <a:off x="1218581" y="306486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4" name="Group 3">
            <a:extLst>
              <a:ext uri="{FF2B5EF4-FFF2-40B4-BE49-F238E27FC236}">
                <a16:creationId xmlns:a16="http://schemas.microsoft.com/office/drawing/2014/main" id="{3E43F683-1C6F-A88B-EFFC-61BC47677550}"/>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0836860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6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ix steps</a:t>
            </a:r>
          </a:p>
        </p:txBody>
      </p:sp>
      <p:grpSp>
        <p:nvGrpSpPr>
          <p:cNvPr id="4" name="Group 3">
            <a:extLst>
              <a:ext uri="{FF2B5EF4-FFF2-40B4-BE49-F238E27FC236}">
                <a16:creationId xmlns:a16="http://schemas.microsoft.com/office/drawing/2014/main" id="{E2410661-25E7-BC05-F79F-7A1B3B5C2723}"/>
              </a:ext>
            </a:extLst>
          </p:cNvPr>
          <p:cNvGrpSpPr/>
          <p:nvPr userDrawn="1"/>
        </p:nvGrpSpPr>
        <p:grpSpPr>
          <a:xfrm>
            <a:off x="2030682" y="2280627"/>
            <a:ext cx="6609908" cy="1843161"/>
            <a:chOff x="2013336" y="1825825"/>
            <a:chExt cx="6609908" cy="2357252"/>
          </a:xfrm>
        </p:grpSpPr>
        <p:cxnSp>
          <p:nvCxnSpPr>
            <p:cNvPr id="5" name="Straight Connector 4">
              <a:extLst>
                <a:ext uri="{FF2B5EF4-FFF2-40B4-BE49-F238E27FC236}">
                  <a16:creationId xmlns:a16="http://schemas.microsoft.com/office/drawing/2014/main" id="{9FDDAACE-DDD2-7AD0-6D39-7983859DEA4B}"/>
                </a:ext>
              </a:extLst>
            </p:cNvPr>
            <p:cNvCxnSpPr>
              <a:cxnSpLocks/>
            </p:cNvCxnSpPr>
            <p:nvPr/>
          </p:nvCxnSpPr>
          <p:spPr>
            <a:xfrm flipV="1">
              <a:off x="531903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95451CD-AC90-039A-560D-00D23DF21C19}"/>
                </a:ext>
              </a:extLst>
            </p:cNvPr>
            <p:cNvCxnSpPr>
              <a:cxnSpLocks/>
            </p:cNvCxnSpPr>
            <p:nvPr/>
          </p:nvCxnSpPr>
          <p:spPr>
            <a:xfrm flipV="1">
              <a:off x="862324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F6B862-3D97-E7E4-E8D7-D07A5CB23555}"/>
                </a:ext>
              </a:extLst>
            </p:cNvPr>
            <p:cNvCxnSpPr>
              <a:cxnSpLocks/>
            </p:cNvCxnSpPr>
            <p:nvPr/>
          </p:nvCxnSpPr>
          <p:spPr>
            <a:xfrm flipV="1">
              <a:off x="2013336" y="1825825"/>
              <a:ext cx="0" cy="2357252"/>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32E741A1-36F0-35A5-D6AF-BF9437705307}"/>
              </a:ext>
            </a:extLst>
          </p:cNvPr>
          <p:cNvGrpSpPr/>
          <p:nvPr userDrawn="1"/>
        </p:nvGrpSpPr>
        <p:grpSpPr>
          <a:xfrm>
            <a:off x="3636041" y="3400388"/>
            <a:ext cx="6599890" cy="1563386"/>
            <a:chOff x="1973738" y="1825824"/>
            <a:chExt cx="6599890" cy="1824577"/>
          </a:xfrm>
        </p:grpSpPr>
        <p:cxnSp>
          <p:nvCxnSpPr>
            <p:cNvPr id="9" name="Straight Connector 8">
              <a:extLst>
                <a:ext uri="{FF2B5EF4-FFF2-40B4-BE49-F238E27FC236}">
                  <a16:creationId xmlns:a16="http://schemas.microsoft.com/office/drawing/2014/main" id="{1EF9C788-2C3D-7C08-CAB3-D39E6666EC9A}"/>
                </a:ext>
              </a:extLst>
            </p:cNvPr>
            <p:cNvCxnSpPr>
              <a:cxnSpLocks/>
            </p:cNvCxnSpPr>
            <p:nvPr/>
          </p:nvCxnSpPr>
          <p:spPr>
            <a:xfrm flipV="1">
              <a:off x="5303439" y="1825824"/>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BE302A-AA31-3A92-30E2-00CF2A0E89AE}"/>
                </a:ext>
              </a:extLst>
            </p:cNvPr>
            <p:cNvCxnSpPr>
              <a:cxnSpLocks/>
            </p:cNvCxnSpPr>
            <p:nvPr/>
          </p:nvCxnSpPr>
          <p:spPr>
            <a:xfrm flipV="1">
              <a:off x="857362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08CBAF4-4C32-3A25-D613-89773A2F0258}"/>
                </a:ext>
              </a:extLst>
            </p:cNvPr>
            <p:cNvCxnSpPr>
              <a:cxnSpLocks/>
            </p:cNvCxnSpPr>
            <p:nvPr/>
          </p:nvCxnSpPr>
          <p:spPr>
            <a:xfrm flipV="1">
              <a:off x="197373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74D63780-8115-8D3D-24EE-7E948E36E9E1}"/>
              </a:ext>
            </a:extLst>
          </p:cNvPr>
          <p:cNvSpPr/>
          <p:nvPr userDrawn="1"/>
        </p:nvSpPr>
        <p:spPr>
          <a:xfrm>
            <a:off x="6432119"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sp>
        <p:nvSpPr>
          <p:cNvPr id="13" name="Rectangle 12">
            <a:extLst>
              <a:ext uri="{FF2B5EF4-FFF2-40B4-BE49-F238E27FC236}">
                <a16:creationId xmlns:a16="http://schemas.microsoft.com/office/drawing/2014/main" id="{89612DB7-5E79-E814-553D-DF6797AA6016}"/>
              </a:ext>
            </a:extLst>
          </p:cNvPr>
          <p:cNvSpPr/>
          <p:nvPr userDrawn="1"/>
        </p:nvSpPr>
        <p:spPr>
          <a:xfrm>
            <a:off x="482218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sp>
        <p:nvSpPr>
          <p:cNvPr id="14" name="Rectangle 13">
            <a:extLst>
              <a:ext uri="{FF2B5EF4-FFF2-40B4-BE49-F238E27FC236}">
                <a16:creationId xmlns:a16="http://schemas.microsoft.com/office/drawing/2014/main" id="{84875804-D392-3F28-6F27-423910218D1E}"/>
              </a:ext>
            </a:extLst>
          </p:cNvPr>
          <p:cNvSpPr/>
          <p:nvPr userDrawn="1"/>
        </p:nvSpPr>
        <p:spPr>
          <a:xfrm>
            <a:off x="813085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sp>
        <p:nvSpPr>
          <p:cNvPr id="15" name="Rectangle 14">
            <a:extLst>
              <a:ext uri="{FF2B5EF4-FFF2-40B4-BE49-F238E27FC236}">
                <a16:creationId xmlns:a16="http://schemas.microsoft.com/office/drawing/2014/main" id="{14052B3B-A426-9271-A001-5B911C7112CF}"/>
              </a:ext>
            </a:extLst>
          </p:cNvPr>
          <p:cNvSpPr/>
          <p:nvPr userDrawn="1"/>
        </p:nvSpPr>
        <p:spPr>
          <a:xfrm>
            <a:off x="3138004"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sp>
        <p:nvSpPr>
          <p:cNvPr id="17" name="Rectangle 16">
            <a:extLst>
              <a:ext uri="{FF2B5EF4-FFF2-40B4-BE49-F238E27FC236}">
                <a16:creationId xmlns:a16="http://schemas.microsoft.com/office/drawing/2014/main" id="{1D1F476D-1A4F-975C-22BD-6CBA9ADB5D67}"/>
              </a:ext>
            </a:extLst>
          </p:cNvPr>
          <p:cNvSpPr/>
          <p:nvPr userDrawn="1"/>
        </p:nvSpPr>
        <p:spPr>
          <a:xfrm>
            <a:off x="150110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sp>
        <p:nvSpPr>
          <p:cNvPr id="18" name="Freeform 17">
            <a:extLst>
              <a:ext uri="{FF2B5EF4-FFF2-40B4-BE49-F238E27FC236}">
                <a16:creationId xmlns:a16="http://schemas.microsoft.com/office/drawing/2014/main" id="{2F90AA44-A558-D041-048A-DF649593567D}"/>
              </a:ext>
            </a:extLst>
          </p:cNvPr>
          <p:cNvSpPr/>
          <p:nvPr userDrawn="1"/>
        </p:nvSpPr>
        <p:spPr>
          <a:xfrm>
            <a:off x="809471" y="2772455"/>
            <a:ext cx="10626879" cy="1843161"/>
          </a:xfrm>
          <a:custGeom>
            <a:avLst/>
            <a:gdLst>
              <a:gd name="connsiteX0" fmla="*/ 10110574 w 10565864"/>
              <a:gd name="connsiteY0" fmla="*/ 0 h 1832578"/>
              <a:gd name="connsiteX1" fmla="*/ 10286830 w 10565864"/>
              <a:gd name="connsiteY1" fmla="*/ 0 h 1832578"/>
              <a:gd name="connsiteX2" fmla="*/ 10286830 w 10565864"/>
              <a:gd name="connsiteY2" fmla="*/ 452 h 1832578"/>
              <a:gd name="connsiteX3" fmla="*/ 10286831 w 10565864"/>
              <a:gd name="connsiteY3" fmla="*/ 452 h 1832578"/>
              <a:gd name="connsiteX4" fmla="*/ 10286831 w 10565864"/>
              <a:gd name="connsiteY4" fmla="*/ 176709 h 1832578"/>
              <a:gd name="connsiteX5" fmla="*/ 10286830 w 10565864"/>
              <a:gd name="connsiteY5" fmla="*/ 176709 h 1832578"/>
              <a:gd name="connsiteX6" fmla="*/ 10286830 w 10565864"/>
              <a:gd name="connsiteY6" fmla="*/ 1656321 h 1832578"/>
              <a:gd name="connsiteX7" fmla="*/ 10565864 w 10565864"/>
              <a:gd name="connsiteY7" fmla="*/ 1656321 h 1832578"/>
              <a:gd name="connsiteX8" fmla="*/ 10565864 w 10565864"/>
              <a:gd name="connsiteY8" fmla="*/ 1832578 h 1832578"/>
              <a:gd name="connsiteX9" fmla="*/ 10118439 w 10565864"/>
              <a:gd name="connsiteY9" fmla="*/ 1832578 h 1832578"/>
              <a:gd name="connsiteX10" fmla="*/ 10118439 w 10565864"/>
              <a:gd name="connsiteY10" fmla="*/ 1814553 h 1832578"/>
              <a:gd name="connsiteX11" fmla="*/ 10110574 w 10565864"/>
              <a:gd name="connsiteY11" fmla="*/ 1814553 h 1832578"/>
              <a:gd name="connsiteX12" fmla="*/ 10110574 w 10565864"/>
              <a:gd name="connsiteY12" fmla="*/ 176709 h 1832578"/>
              <a:gd name="connsiteX13" fmla="*/ 8658823 w 10565864"/>
              <a:gd name="connsiteY13" fmla="*/ 176709 h 1832578"/>
              <a:gd name="connsiteX14" fmla="*/ 8658823 w 10565864"/>
              <a:gd name="connsiteY14" fmla="*/ 1626887 h 1832578"/>
              <a:gd name="connsiteX15" fmla="*/ 8658823 w 10565864"/>
              <a:gd name="connsiteY15" fmla="*/ 1814552 h 1832578"/>
              <a:gd name="connsiteX16" fmla="*/ 8471157 w 10565864"/>
              <a:gd name="connsiteY16" fmla="*/ 1814552 h 1832578"/>
              <a:gd name="connsiteX17" fmla="*/ 7032390 w 10565864"/>
              <a:gd name="connsiteY17" fmla="*/ 1814552 h 1832578"/>
              <a:gd name="connsiteX18" fmla="*/ 6844727 w 10565864"/>
              <a:gd name="connsiteY18" fmla="*/ 1814552 h 1832578"/>
              <a:gd name="connsiteX19" fmla="*/ 6844727 w 10565864"/>
              <a:gd name="connsiteY19" fmla="*/ 1626887 h 1832578"/>
              <a:gd name="connsiteX20" fmla="*/ 6844727 w 10565864"/>
              <a:gd name="connsiteY20" fmla="*/ 188119 h 1832578"/>
              <a:gd name="connsiteX21" fmla="*/ 5376188 w 10565864"/>
              <a:gd name="connsiteY21" fmla="*/ 188119 h 1832578"/>
              <a:gd name="connsiteX22" fmla="*/ 5376188 w 10565864"/>
              <a:gd name="connsiteY22" fmla="*/ 1626887 h 1832578"/>
              <a:gd name="connsiteX23" fmla="*/ 5376188 w 10565864"/>
              <a:gd name="connsiteY23" fmla="*/ 1814552 h 1832578"/>
              <a:gd name="connsiteX24" fmla="*/ 5188522 w 10565864"/>
              <a:gd name="connsiteY24" fmla="*/ 1814552 h 1832578"/>
              <a:gd name="connsiteX25" fmla="*/ 3749756 w 10565864"/>
              <a:gd name="connsiteY25" fmla="*/ 1814552 h 1832578"/>
              <a:gd name="connsiteX26" fmla="*/ 3562090 w 10565864"/>
              <a:gd name="connsiteY26" fmla="*/ 1814552 h 1832578"/>
              <a:gd name="connsiteX27" fmla="*/ 3562090 w 10565864"/>
              <a:gd name="connsiteY27" fmla="*/ 1626887 h 1832578"/>
              <a:gd name="connsiteX28" fmla="*/ 3562090 w 10565864"/>
              <a:gd name="connsiteY28" fmla="*/ 188119 h 1832578"/>
              <a:gd name="connsiteX29" fmla="*/ 2085683 w 10565864"/>
              <a:gd name="connsiteY29" fmla="*/ 188119 h 1832578"/>
              <a:gd name="connsiteX30" fmla="*/ 2085683 w 10565864"/>
              <a:gd name="connsiteY30" fmla="*/ 1626887 h 1832578"/>
              <a:gd name="connsiteX31" fmla="*/ 2085683 w 10565864"/>
              <a:gd name="connsiteY31" fmla="*/ 1814552 h 1832578"/>
              <a:gd name="connsiteX32" fmla="*/ 1898017 w 10565864"/>
              <a:gd name="connsiteY32" fmla="*/ 1814552 h 1832578"/>
              <a:gd name="connsiteX33" fmla="*/ 459251 w 10565864"/>
              <a:gd name="connsiteY33" fmla="*/ 1814552 h 1832578"/>
              <a:gd name="connsiteX34" fmla="*/ 271585 w 10565864"/>
              <a:gd name="connsiteY34" fmla="*/ 1814552 h 1832578"/>
              <a:gd name="connsiteX35" fmla="*/ 271585 w 10565864"/>
              <a:gd name="connsiteY35" fmla="*/ 1626887 h 1832578"/>
              <a:gd name="connsiteX36" fmla="*/ 271585 w 10565864"/>
              <a:gd name="connsiteY36" fmla="*/ 188119 h 1832578"/>
              <a:gd name="connsiteX37" fmla="*/ 0 w 10565864"/>
              <a:gd name="connsiteY37" fmla="*/ 188119 h 1832578"/>
              <a:gd name="connsiteX38" fmla="*/ 0 w 10565864"/>
              <a:gd name="connsiteY38" fmla="*/ 453 h 1832578"/>
              <a:gd name="connsiteX39" fmla="*/ 459251 w 10565864"/>
              <a:gd name="connsiteY39" fmla="*/ 453 h 1832578"/>
              <a:gd name="connsiteX40" fmla="*/ 459251 w 10565864"/>
              <a:gd name="connsiteY40" fmla="*/ 454 h 1832578"/>
              <a:gd name="connsiteX41" fmla="*/ 459251 w 10565864"/>
              <a:gd name="connsiteY41" fmla="*/ 188119 h 1832578"/>
              <a:gd name="connsiteX42" fmla="*/ 459251 w 10565864"/>
              <a:gd name="connsiteY42" fmla="*/ 1626887 h 1832578"/>
              <a:gd name="connsiteX43" fmla="*/ 1898017 w 10565864"/>
              <a:gd name="connsiteY43" fmla="*/ 1626887 h 1832578"/>
              <a:gd name="connsiteX44" fmla="*/ 1898017 w 10565864"/>
              <a:gd name="connsiteY44" fmla="*/ 454 h 1832578"/>
              <a:gd name="connsiteX45" fmla="*/ 1935658 w 10565864"/>
              <a:gd name="connsiteY45" fmla="*/ 454 h 1832578"/>
              <a:gd name="connsiteX46" fmla="*/ 1935658 w 10565864"/>
              <a:gd name="connsiteY46" fmla="*/ 453 h 1832578"/>
              <a:gd name="connsiteX47" fmla="*/ 3749756 w 10565864"/>
              <a:gd name="connsiteY47" fmla="*/ 453 h 1832578"/>
              <a:gd name="connsiteX48" fmla="*/ 3749756 w 10565864"/>
              <a:gd name="connsiteY48" fmla="*/ 454 h 1832578"/>
              <a:gd name="connsiteX49" fmla="*/ 3749756 w 10565864"/>
              <a:gd name="connsiteY49" fmla="*/ 188119 h 1832578"/>
              <a:gd name="connsiteX50" fmla="*/ 3749756 w 10565864"/>
              <a:gd name="connsiteY50" fmla="*/ 1626887 h 1832578"/>
              <a:gd name="connsiteX51" fmla="*/ 5188522 w 10565864"/>
              <a:gd name="connsiteY51" fmla="*/ 1626887 h 1832578"/>
              <a:gd name="connsiteX52" fmla="*/ 5188522 w 10565864"/>
              <a:gd name="connsiteY52" fmla="*/ 454 h 1832578"/>
              <a:gd name="connsiteX53" fmla="*/ 5218294 w 10565864"/>
              <a:gd name="connsiteY53" fmla="*/ 454 h 1832578"/>
              <a:gd name="connsiteX54" fmla="*/ 5218294 w 10565864"/>
              <a:gd name="connsiteY54" fmla="*/ 453 h 1832578"/>
              <a:gd name="connsiteX55" fmla="*/ 7032390 w 10565864"/>
              <a:gd name="connsiteY55" fmla="*/ 453 h 1832578"/>
              <a:gd name="connsiteX56" fmla="*/ 7032390 w 10565864"/>
              <a:gd name="connsiteY56" fmla="*/ 454 h 1832578"/>
              <a:gd name="connsiteX57" fmla="*/ 7032390 w 10565864"/>
              <a:gd name="connsiteY57" fmla="*/ 188119 h 1832578"/>
              <a:gd name="connsiteX58" fmla="*/ 7032390 w 10565864"/>
              <a:gd name="connsiteY58" fmla="*/ 1626887 h 1832578"/>
              <a:gd name="connsiteX59" fmla="*/ 8471157 w 10565864"/>
              <a:gd name="connsiteY59" fmla="*/ 1626887 h 1832578"/>
              <a:gd name="connsiteX60" fmla="*/ 8471157 w 10565864"/>
              <a:gd name="connsiteY60" fmla="*/ 454 h 1832578"/>
              <a:gd name="connsiteX61" fmla="*/ 8472279 w 10565864"/>
              <a:gd name="connsiteY61" fmla="*/ 454 h 1832578"/>
              <a:gd name="connsiteX62" fmla="*/ 8472279 w 10565864"/>
              <a:gd name="connsiteY62" fmla="*/ 452 h 1832578"/>
              <a:gd name="connsiteX63" fmla="*/ 8508797 w 10565864"/>
              <a:gd name="connsiteY63" fmla="*/ 452 h 1832578"/>
              <a:gd name="connsiteX64" fmla="*/ 8881551 w 10565864"/>
              <a:gd name="connsiteY64" fmla="*/ 452 h 1832578"/>
              <a:gd name="connsiteX65" fmla="*/ 10110574 w 10565864"/>
              <a:gd name="connsiteY65" fmla="*/ 452 h 183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565864" h="1832578">
                <a:moveTo>
                  <a:pt x="10110574" y="0"/>
                </a:moveTo>
                <a:lnTo>
                  <a:pt x="10286830" y="0"/>
                </a:lnTo>
                <a:lnTo>
                  <a:pt x="10286830" y="452"/>
                </a:lnTo>
                <a:lnTo>
                  <a:pt x="10286831" y="452"/>
                </a:lnTo>
                <a:lnTo>
                  <a:pt x="10286831" y="176709"/>
                </a:lnTo>
                <a:lnTo>
                  <a:pt x="10286830" y="176709"/>
                </a:lnTo>
                <a:lnTo>
                  <a:pt x="10286830" y="1656321"/>
                </a:lnTo>
                <a:lnTo>
                  <a:pt x="10565864" y="1656321"/>
                </a:lnTo>
                <a:lnTo>
                  <a:pt x="10565864" y="1832578"/>
                </a:lnTo>
                <a:lnTo>
                  <a:pt x="10118439" y="1832578"/>
                </a:lnTo>
                <a:lnTo>
                  <a:pt x="10118439" y="1814553"/>
                </a:lnTo>
                <a:lnTo>
                  <a:pt x="10110574" y="1814553"/>
                </a:lnTo>
                <a:lnTo>
                  <a:pt x="10110574" y="176709"/>
                </a:lnTo>
                <a:lnTo>
                  <a:pt x="8658823" y="176709"/>
                </a:lnTo>
                <a:lnTo>
                  <a:pt x="8658823" y="1626887"/>
                </a:lnTo>
                <a:lnTo>
                  <a:pt x="8658823" y="1814552"/>
                </a:lnTo>
                <a:lnTo>
                  <a:pt x="8471157" y="1814552"/>
                </a:lnTo>
                <a:lnTo>
                  <a:pt x="7032390" y="1814552"/>
                </a:lnTo>
                <a:lnTo>
                  <a:pt x="6844727" y="1814552"/>
                </a:lnTo>
                <a:lnTo>
                  <a:pt x="6844727" y="1626887"/>
                </a:lnTo>
                <a:lnTo>
                  <a:pt x="6844727" y="188119"/>
                </a:lnTo>
                <a:lnTo>
                  <a:pt x="5376188" y="188119"/>
                </a:lnTo>
                <a:lnTo>
                  <a:pt x="5376188" y="1626887"/>
                </a:lnTo>
                <a:lnTo>
                  <a:pt x="5376188" y="1814552"/>
                </a:lnTo>
                <a:lnTo>
                  <a:pt x="5188522" y="1814552"/>
                </a:lnTo>
                <a:lnTo>
                  <a:pt x="3749756" y="1814552"/>
                </a:lnTo>
                <a:lnTo>
                  <a:pt x="3562090" y="1814552"/>
                </a:lnTo>
                <a:lnTo>
                  <a:pt x="3562090" y="1626887"/>
                </a:lnTo>
                <a:lnTo>
                  <a:pt x="3562090" y="188119"/>
                </a:lnTo>
                <a:lnTo>
                  <a:pt x="2085683" y="188119"/>
                </a:lnTo>
                <a:lnTo>
                  <a:pt x="2085683" y="1626887"/>
                </a:lnTo>
                <a:lnTo>
                  <a:pt x="2085683" y="1814552"/>
                </a:lnTo>
                <a:lnTo>
                  <a:pt x="1898017" y="1814552"/>
                </a:lnTo>
                <a:lnTo>
                  <a:pt x="459251" y="1814552"/>
                </a:lnTo>
                <a:lnTo>
                  <a:pt x="271585" y="1814552"/>
                </a:lnTo>
                <a:lnTo>
                  <a:pt x="271585" y="1626887"/>
                </a:lnTo>
                <a:lnTo>
                  <a:pt x="271585" y="188119"/>
                </a:lnTo>
                <a:lnTo>
                  <a:pt x="0" y="188119"/>
                </a:lnTo>
                <a:lnTo>
                  <a:pt x="0" y="453"/>
                </a:lnTo>
                <a:lnTo>
                  <a:pt x="459251" y="453"/>
                </a:lnTo>
                <a:lnTo>
                  <a:pt x="459251" y="454"/>
                </a:lnTo>
                <a:lnTo>
                  <a:pt x="459251" y="188119"/>
                </a:lnTo>
                <a:lnTo>
                  <a:pt x="459251" y="1626887"/>
                </a:lnTo>
                <a:lnTo>
                  <a:pt x="1898017" y="1626887"/>
                </a:lnTo>
                <a:lnTo>
                  <a:pt x="1898017" y="454"/>
                </a:lnTo>
                <a:lnTo>
                  <a:pt x="1935658" y="454"/>
                </a:lnTo>
                <a:lnTo>
                  <a:pt x="1935658" y="453"/>
                </a:lnTo>
                <a:lnTo>
                  <a:pt x="3749756" y="453"/>
                </a:lnTo>
                <a:lnTo>
                  <a:pt x="3749756" y="454"/>
                </a:lnTo>
                <a:lnTo>
                  <a:pt x="3749756" y="188119"/>
                </a:lnTo>
                <a:lnTo>
                  <a:pt x="3749756" y="1626887"/>
                </a:lnTo>
                <a:lnTo>
                  <a:pt x="5188522" y="1626887"/>
                </a:lnTo>
                <a:lnTo>
                  <a:pt x="5188522" y="454"/>
                </a:lnTo>
                <a:lnTo>
                  <a:pt x="5218294" y="454"/>
                </a:lnTo>
                <a:lnTo>
                  <a:pt x="5218294" y="453"/>
                </a:lnTo>
                <a:lnTo>
                  <a:pt x="7032390" y="453"/>
                </a:lnTo>
                <a:lnTo>
                  <a:pt x="7032390" y="454"/>
                </a:lnTo>
                <a:lnTo>
                  <a:pt x="7032390" y="188119"/>
                </a:lnTo>
                <a:lnTo>
                  <a:pt x="7032390" y="1626887"/>
                </a:lnTo>
                <a:lnTo>
                  <a:pt x="8471157" y="1626887"/>
                </a:lnTo>
                <a:lnTo>
                  <a:pt x="8471157" y="454"/>
                </a:lnTo>
                <a:lnTo>
                  <a:pt x="8472279" y="454"/>
                </a:lnTo>
                <a:lnTo>
                  <a:pt x="8472279" y="452"/>
                </a:lnTo>
                <a:lnTo>
                  <a:pt x="8508797" y="452"/>
                </a:lnTo>
                <a:lnTo>
                  <a:pt x="8881551" y="452"/>
                </a:lnTo>
                <a:lnTo>
                  <a:pt x="10110574" y="452"/>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sp>
        <p:nvSpPr>
          <p:cNvPr id="19" name="Rectangle 18">
            <a:extLst>
              <a:ext uri="{FF2B5EF4-FFF2-40B4-BE49-F238E27FC236}">
                <a16:creationId xmlns:a16="http://schemas.microsoft.com/office/drawing/2014/main" id="{1A532B10-94D2-2983-7A95-ABD9FBD86D9C}"/>
              </a:ext>
            </a:extLst>
          </p:cNvPr>
          <p:cNvSpPr/>
          <p:nvPr userDrawn="1"/>
        </p:nvSpPr>
        <p:spPr>
          <a:xfrm>
            <a:off x="9745250"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1219200" y="1907838"/>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885736" y="503085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633747" y="1921846"/>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203743" y="4994392"/>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7878591" y="1921465"/>
            <a:ext cx="1523997" cy="330340"/>
          </a:xfrm>
        </p:spPr>
        <p:txBody>
          <a:bodyPr rIns="0"/>
          <a:lstStyle>
            <a:lvl1pPr algn="ctr">
              <a:spcBef>
                <a:spcPts val="0"/>
              </a:spcBef>
              <a:defRPr sz="2000">
                <a:solidFill>
                  <a:schemeClr val="tx1"/>
                </a:solidFill>
              </a:defRPr>
            </a:lvl1pPr>
          </a:lstStyle>
          <a:p>
            <a:pPr lvl="0"/>
            <a:r>
              <a:rPr lang="en-GB"/>
              <a:t>Five steps</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523780" y="4963773"/>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20" name="Group 19">
            <a:extLst>
              <a:ext uri="{FF2B5EF4-FFF2-40B4-BE49-F238E27FC236}">
                <a16:creationId xmlns:a16="http://schemas.microsoft.com/office/drawing/2014/main" id="{32A8C1D3-01D9-B985-251B-39ADAE83B9FA}"/>
              </a:ext>
            </a:extLst>
          </p:cNvPr>
          <p:cNvGrpSpPr/>
          <p:nvPr userDrawn="1"/>
        </p:nvGrpSpPr>
        <p:grpSpPr>
          <a:xfrm>
            <a:off x="10863102" y="309052"/>
            <a:ext cx="911847" cy="382707"/>
            <a:chOff x="7459170" y="481236"/>
            <a:chExt cx="2697427" cy="1132124"/>
          </a:xfrm>
        </p:grpSpPr>
        <p:sp>
          <p:nvSpPr>
            <p:cNvPr id="21" name="Freeform 9">
              <a:extLst>
                <a:ext uri="{FF2B5EF4-FFF2-40B4-BE49-F238E27FC236}">
                  <a16:creationId xmlns:a16="http://schemas.microsoft.com/office/drawing/2014/main" id="{D354E2E7-A838-B3A0-8B4C-4D0E7F026AC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2" name="Freeform 11">
              <a:extLst>
                <a:ext uri="{FF2B5EF4-FFF2-40B4-BE49-F238E27FC236}">
                  <a16:creationId xmlns:a16="http://schemas.microsoft.com/office/drawing/2014/main" id="{AE956161-758C-70C9-7CE4-B74CDAE56B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286EE0D6-3C60-65FE-B56C-ED6D5787BA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EAEFB32D-5617-9097-DDAF-07FAEC69A09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FA4363B-DCC7-FAE5-6AB6-7501B7F6063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62EBB3B-C78C-6DE2-EDE1-2DFD7A15DB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ECC38E84-0F92-330C-CFEF-BCD064E01D9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55218593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7 step process square">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4F697B3-5F52-F563-C703-96202FC2B31E}"/>
              </a:ext>
            </a:extLst>
          </p:cNvPr>
          <p:cNvGrpSpPr/>
          <p:nvPr userDrawn="1"/>
        </p:nvGrpSpPr>
        <p:grpSpPr>
          <a:xfrm>
            <a:off x="815974" y="2285999"/>
            <a:ext cx="10620376" cy="2911014"/>
            <a:chOff x="815974" y="2177107"/>
            <a:chExt cx="10531650" cy="2886693"/>
          </a:xfrm>
        </p:grpSpPr>
        <p:grpSp>
          <p:nvGrpSpPr>
            <p:cNvPr id="25" name="Group 24">
              <a:extLst>
                <a:ext uri="{FF2B5EF4-FFF2-40B4-BE49-F238E27FC236}">
                  <a16:creationId xmlns:a16="http://schemas.microsoft.com/office/drawing/2014/main" id="{796CD2C5-04C2-BA40-BCBA-FD69F9120D2C}"/>
                </a:ext>
              </a:extLst>
            </p:cNvPr>
            <p:cNvGrpSpPr/>
            <p:nvPr/>
          </p:nvGrpSpPr>
          <p:grpSpPr>
            <a:xfrm>
              <a:off x="7118880" y="3246448"/>
              <a:ext cx="919869" cy="1817352"/>
              <a:chOff x="7118880" y="3246448"/>
              <a:chExt cx="919869" cy="1817352"/>
            </a:xfrm>
          </p:grpSpPr>
          <p:cxnSp>
            <p:nvCxnSpPr>
              <p:cNvPr id="45" name="Straight Connector 44">
                <a:extLst>
                  <a:ext uri="{FF2B5EF4-FFF2-40B4-BE49-F238E27FC236}">
                    <a16:creationId xmlns:a16="http://schemas.microsoft.com/office/drawing/2014/main" id="{500BE1BA-A902-07AA-FD88-7171A29F7E19}"/>
                  </a:ext>
                </a:extLst>
              </p:cNvPr>
              <p:cNvCxnSpPr>
                <a:cxnSpLocks/>
              </p:cNvCxnSpPr>
              <p:nvPr/>
            </p:nvCxnSpPr>
            <p:spPr>
              <a:xfrm flipV="1">
                <a:off x="7595974"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48748A9-BF15-947A-8C51-594580E9B2A0}"/>
                  </a:ext>
                </a:extLst>
              </p:cNvPr>
              <p:cNvSpPr/>
              <p:nvPr/>
            </p:nvSpPr>
            <p:spPr>
              <a:xfrm>
                <a:off x="7118880"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26" name="Group 25">
              <a:extLst>
                <a:ext uri="{FF2B5EF4-FFF2-40B4-BE49-F238E27FC236}">
                  <a16:creationId xmlns:a16="http://schemas.microsoft.com/office/drawing/2014/main" id="{5D13811C-9CF3-8F26-929A-C09DA2B962C5}"/>
                </a:ext>
              </a:extLst>
            </p:cNvPr>
            <p:cNvGrpSpPr/>
            <p:nvPr/>
          </p:nvGrpSpPr>
          <p:grpSpPr>
            <a:xfrm>
              <a:off x="5666228" y="2177107"/>
              <a:ext cx="919869" cy="1989210"/>
              <a:chOff x="5666228" y="2177107"/>
              <a:chExt cx="919869" cy="1989210"/>
            </a:xfrm>
          </p:grpSpPr>
          <p:cxnSp>
            <p:nvCxnSpPr>
              <p:cNvPr id="43" name="Straight Connector 42">
                <a:extLst>
                  <a:ext uri="{FF2B5EF4-FFF2-40B4-BE49-F238E27FC236}">
                    <a16:creationId xmlns:a16="http://schemas.microsoft.com/office/drawing/2014/main" id="{722A0477-BCDF-F148-2E80-8AE896A9B308}"/>
                  </a:ext>
                </a:extLst>
              </p:cNvPr>
              <p:cNvCxnSpPr>
                <a:cxnSpLocks/>
              </p:cNvCxnSpPr>
              <p:nvPr/>
            </p:nvCxnSpPr>
            <p:spPr>
              <a:xfrm flipV="1">
                <a:off x="6111386"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70A55127-9415-1B5E-B1D8-C809857A8A00}"/>
                  </a:ext>
                </a:extLst>
              </p:cNvPr>
              <p:cNvSpPr/>
              <p:nvPr/>
            </p:nvSpPr>
            <p:spPr>
              <a:xfrm>
                <a:off x="5666228"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27" name="Group 26">
              <a:extLst>
                <a:ext uri="{FF2B5EF4-FFF2-40B4-BE49-F238E27FC236}">
                  <a16:creationId xmlns:a16="http://schemas.microsoft.com/office/drawing/2014/main" id="{A158A236-6964-37B7-7894-267F1AAAF2BE}"/>
                </a:ext>
              </a:extLst>
            </p:cNvPr>
            <p:cNvGrpSpPr/>
            <p:nvPr/>
          </p:nvGrpSpPr>
          <p:grpSpPr>
            <a:xfrm>
              <a:off x="8651667" y="2177107"/>
              <a:ext cx="919869" cy="1989210"/>
              <a:chOff x="8651667" y="2177107"/>
              <a:chExt cx="919869" cy="1989210"/>
            </a:xfrm>
          </p:grpSpPr>
          <p:cxnSp>
            <p:nvCxnSpPr>
              <p:cNvPr id="41" name="Straight Connector 40">
                <a:extLst>
                  <a:ext uri="{FF2B5EF4-FFF2-40B4-BE49-F238E27FC236}">
                    <a16:creationId xmlns:a16="http://schemas.microsoft.com/office/drawing/2014/main" id="{6C4D2E7A-FF23-D414-380A-559D6F4E7FB2}"/>
                  </a:ext>
                </a:extLst>
              </p:cNvPr>
              <p:cNvCxnSpPr>
                <a:cxnSpLocks/>
              </p:cNvCxnSpPr>
              <p:nvPr/>
            </p:nvCxnSpPr>
            <p:spPr>
              <a:xfrm flipV="1">
                <a:off x="90959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9EAFF3CE-15D8-8028-55AC-A70ED2DFF4AA}"/>
                  </a:ext>
                </a:extLst>
              </p:cNvPr>
              <p:cNvSpPr/>
              <p:nvPr/>
            </p:nvSpPr>
            <p:spPr>
              <a:xfrm>
                <a:off x="8651667"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28" name="Group 27">
              <a:extLst>
                <a:ext uri="{FF2B5EF4-FFF2-40B4-BE49-F238E27FC236}">
                  <a16:creationId xmlns:a16="http://schemas.microsoft.com/office/drawing/2014/main" id="{343462AB-D726-BCC0-F10C-82A7AAD6BC2F}"/>
                </a:ext>
              </a:extLst>
            </p:cNvPr>
            <p:cNvGrpSpPr/>
            <p:nvPr/>
          </p:nvGrpSpPr>
          <p:grpSpPr>
            <a:xfrm>
              <a:off x="4146576" y="3246448"/>
              <a:ext cx="919869" cy="1817352"/>
              <a:chOff x="4146576" y="3246448"/>
              <a:chExt cx="919869" cy="1817352"/>
            </a:xfrm>
          </p:grpSpPr>
          <p:cxnSp>
            <p:nvCxnSpPr>
              <p:cNvPr id="39" name="Straight Connector 38">
                <a:extLst>
                  <a:ext uri="{FF2B5EF4-FFF2-40B4-BE49-F238E27FC236}">
                    <a16:creationId xmlns:a16="http://schemas.microsoft.com/office/drawing/2014/main" id="{D4CFDED3-7EB3-EC20-8D54-47B014F8ED8D}"/>
                  </a:ext>
                </a:extLst>
              </p:cNvPr>
              <p:cNvCxnSpPr>
                <a:cxnSpLocks/>
              </p:cNvCxnSpPr>
              <p:nvPr/>
            </p:nvCxnSpPr>
            <p:spPr>
              <a:xfrm flipV="1">
                <a:off x="4596025"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B6D923E-3307-A061-6525-2CEB354956A2}"/>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9" name="Group 28">
              <a:extLst>
                <a:ext uri="{FF2B5EF4-FFF2-40B4-BE49-F238E27FC236}">
                  <a16:creationId xmlns:a16="http://schemas.microsoft.com/office/drawing/2014/main" id="{2C3CF6C4-991A-7D81-9DCE-C410393220B8}"/>
                </a:ext>
              </a:extLst>
            </p:cNvPr>
            <p:cNvGrpSpPr/>
            <p:nvPr/>
          </p:nvGrpSpPr>
          <p:grpSpPr>
            <a:xfrm>
              <a:off x="2669593" y="2177107"/>
              <a:ext cx="919869" cy="1989210"/>
              <a:chOff x="2669593" y="2177107"/>
              <a:chExt cx="919869" cy="1989210"/>
            </a:xfrm>
          </p:grpSpPr>
          <p:cxnSp>
            <p:nvCxnSpPr>
              <p:cNvPr id="37" name="Straight Connector 36">
                <a:extLst>
                  <a:ext uri="{FF2B5EF4-FFF2-40B4-BE49-F238E27FC236}">
                    <a16:creationId xmlns:a16="http://schemas.microsoft.com/office/drawing/2014/main" id="{EA7D4535-785D-F8BB-E136-8C8DBD40D761}"/>
                  </a:ext>
                </a:extLst>
              </p:cNvPr>
              <p:cNvCxnSpPr>
                <a:cxnSpLocks/>
              </p:cNvCxnSpPr>
              <p:nvPr/>
            </p:nvCxnSpPr>
            <p:spPr>
              <a:xfrm flipV="1">
                <a:off x="30960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DB28CAB-F21F-071E-F6BB-CDD0F3B630C4}"/>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30" name="Group 29">
              <a:extLst>
                <a:ext uri="{FF2B5EF4-FFF2-40B4-BE49-F238E27FC236}">
                  <a16:creationId xmlns:a16="http://schemas.microsoft.com/office/drawing/2014/main" id="{8B09DC4C-9526-2970-FD78-4FE6CFE56EE0}"/>
                </a:ext>
              </a:extLst>
            </p:cNvPr>
            <p:cNvGrpSpPr/>
            <p:nvPr/>
          </p:nvGrpSpPr>
          <p:grpSpPr>
            <a:xfrm>
              <a:off x="1209948" y="3251580"/>
              <a:ext cx="919869" cy="1812220"/>
              <a:chOff x="1209948" y="3251580"/>
              <a:chExt cx="919869" cy="1812220"/>
            </a:xfrm>
          </p:grpSpPr>
          <p:cxnSp>
            <p:nvCxnSpPr>
              <p:cNvPr id="35" name="Straight Connector 34">
                <a:extLst>
                  <a:ext uri="{FF2B5EF4-FFF2-40B4-BE49-F238E27FC236}">
                    <a16:creationId xmlns:a16="http://schemas.microsoft.com/office/drawing/2014/main" id="{F0F56E60-BB30-3A6A-4ABF-273AB65C699B}"/>
                  </a:ext>
                </a:extLst>
              </p:cNvPr>
              <p:cNvCxnSpPr>
                <a:cxnSpLocks/>
              </p:cNvCxnSpPr>
              <p:nvPr/>
            </p:nvCxnSpPr>
            <p:spPr>
              <a:xfrm flipV="1">
                <a:off x="1656073"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81430DC5-B598-1944-9387-76EBCDBD536E}"/>
                  </a:ext>
                </a:extLst>
              </p:cNvPr>
              <p:cNvSpPr/>
              <p:nvPr/>
            </p:nvSpPr>
            <p:spPr>
              <a:xfrm>
                <a:off x="1209948" y="3251580"/>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31" name="Group 30">
              <a:extLst>
                <a:ext uri="{FF2B5EF4-FFF2-40B4-BE49-F238E27FC236}">
                  <a16:creationId xmlns:a16="http://schemas.microsoft.com/office/drawing/2014/main" id="{18ED42E0-4F48-A0F0-DB50-880253D5D200}"/>
                </a:ext>
              </a:extLst>
            </p:cNvPr>
            <p:cNvGrpSpPr/>
            <p:nvPr userDrawn="1"/>
          </p:nvGrpSpPr>
          <p:grpSpPr>
            <a:xfrm>
              <a:off x="10058192" y="3246448"/>
              <a:ext cx="927619" cy="1817352"/>
              <a:chOff x="10058192" y="3246448"/>
              <a:chExt cx="927619" cy="1817352"/>
            </a:xfrm>
          </p:grpSpPr>
          <p:cxnSp>
            <p:nvCxnSpPr>
              <p:cNvPr id="33" name="Straight Connector 32">
                <a:extLst>
                  <a:ext uri="{FF2B5EF4-FFF2-40B4-BE49-F238E27FC236}">
                    <a16:creationId xmlns:a16="http://schemas.microsoft.com/office/drawing/2014/main" id="{4298CF7C-794B-5514-14AC-38B1980011F4}"/>
                  </a:ext>
                </a:extLst>
              </p:cNvPr>
              <p:cNvCxnSpPr>
                <a:cxnSpLocks/>
              </p:cNvCxnSpPr>
              <p:nvPr/>
            </p:nvCxnSpPr>
            <p:spPr>
              <a:xfrm flipV="1">
                <a:off x="10535926"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81460A6-2480-5B93-1423-15A406132393}"/>
                  </a:ext>
                </a:extLst>
              </p:cNvPr>
              <p:cNvSpPr/>
              <p:nvPr userDrawn="1"/>
            </p:nvSpPr>
            <p:spPr>
              <a:xfrm>
                <a:off x="10058192" y="3246448"/>
                <a:ext cx="92761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sp>
          <p:nvSpPr>
            <p:cNvPr id="32" name="Freeform 31">
              <a:extLst>
                <a:ext uri="{FF2B5EF4-FFF2-40B4-BE49-F238E27FC236}">
                  <a16:creationId xmlns:a16="http://schemas.microsoft.com/office/drawing/2014/main" id="{2D4E2390-9C46-1ACA-B333-D1E6CF04AFE1}"/>
                </a:ext>
              </a:extLst>
            </p:cNvPr>
            <p:cNvSpPr/>
            <p:nvPr/>
          </p:nvSpPr>
          <p:spPr>
            <a:xfrm flipH="1">
              <a:off x="815974" y="2872185"/>
              <a:ext cx="10531650" cy="1646328"/>
            </a:xfrm>
            <a:custGeom>
              <a:avLst/>
              <a:gdLst>
                <a:gd name="connsiteX0" fmla="*/ 1580213 w 10531650"/>
                <a:gd name="connsiteY0" fmla="*/ 0 h 1646328"/>
                <a:gd name="connsiteX1" fmla="*/ 0 w 10531650"/>
                <a:gd name="connsiteY1" fmla="*/ 0 h 1646328"/>
                <a:gd name="connsiteX2" fmla="*/ 0 w 10531650"/>
                <a:gd name="connsiteY2" fmla="*/ 158733 h 1646328"/>
                <a:gd name="connsiteX3" fmla="*/ 1444062 w 10531650"/>
                <a:gd name="connsiteY3" fmla="*/ 158733 h 1646328"/>
                <a:gd name="connsiteX4" fmla="*/ 1444062 w 10531650"/>
                <a:gd name="connsiteY4" fmla="*/ 1476019 h 1646328"/>
                <a:gd name="connsiteX5" fmla="*/ 1444062 w 10531650"/>
                <a:gd name="connsiteY5" fmla="*/ 1646328 h 1646328"/>
                <a:gd name="connsiteX6" fmla="*/ 1614372 w 10531650"/>
                <a:gd name="connsiteY6" fmla="*/ 1646328 h 1646328"/>
                <a:gd name="connsiteX7" fmla="*/ 2920079 w 10531650"/>
                <a:gd name="connsiteY7" fmla="*/ 1646328 h 1646328"/>
                <a:gd name="connsiteX8" fmla="*/ 3090388 w 10531650"/>
                <a:gd name="connsiteY8" fmla="*/ 1646328 h 1646328"/>
                <a:gd name="connsiteX9" fmla="*/ 3090388 w 10531650"/>
                <a:gd name="connsiteY9" fmla="*/ 1476019 h 1646328"/>
                <a:gd name="connsiteX10" fmla="*/ 3090388 w 10531650"/>
                <a:gd name="connsiteY10" fmla="*/ 170311 h 1646328"/>
                <a:gd name="connsiteX11" fmla="*/ 4423113 w 10531650"/>
                <a:gd name="connsiteY11" fmla="*/ 170311 h 1646328"/>
                <a:gd name="connsiteX12" fmla="*/ 4423113 w 10531650"/>
                <a:gd name="connsiteY12" fmla="*/ 1476019 h 1646328"/>
                <a:gd name="connsiteX13" fmla="*/ 4423113 w 10531650"/>
                <a:gd name="connsiteY13" fmla="*/ 1646328 h 1646328"/>
                <a:gd name="connsiteX14" fmla="*/ 4593423 w 10531650"/>
                <a:gd name="connsiteY14" fmla="*/ 1646328 h 1646328"/>
                <a:gd name="connsiteX15" fmla="*/ 5899130 w 10531650"/>
                <a:gd name="connsiteY15" fmla="*/ 1646328 h 1646328"/>
                <a:gd name="connsiteX16" fmla="*/ 6069440 w 10531650"/>
                <a:gd name="connsiteY16" fmla="*/ 1646328 h 1646328"/>
                <a:gd name="connsiteX17" fmla="*/ 6069440 w 10531650"/>
                <a:gd name="connsiteY17" fmla="*/ 1476019 h 1646328"/>
                <a:gd name="connsiteX18" fmla="*/ 6069440 w 10531650"/>
                <a:gd name="connsiteY18" fmla="*/ 170311 h 1646328"/>
                <a:gd name="connsiteX19" fmla="*/ 7409306 w 10531650"/>
                <a:gd name="connsiteY19" fmla="*/ 170311 h 1646328"/>
                <a:gd name="connsiteX20" fmla="*/ 7409306 w 10531650"/>
                <a:gd name="connsiteY20" fmla="*/ 1476019 h 1646328"/>
                <a:gd name="connsiteX21" fmla="*/ 7409306 w 10531650"/>
                <a:gd name="connsiteY21" fmla="*/ 1646328 h 1646328"/>
                <a:gd name="connsiteX22" fmla="*/ 7579616 w 10531650"/>
                <a:gd name="connsiteY22" fmla="*/ 1646328 h 1646328"/>
                <a:gd name="connsiteX23" fmla="*/ 8885323 w 10531650"/>
                <a:gd name="connsiteY23" fmla="*/ 1646328 h 1646328"/>
                <a:gd name="connsiteX24" fmla="*/ 9055633 w 10531650"/>
                <a:gd name="connsiteY24" fmla="*/ 1646328 h 1646328"/>
                <a:gd name="connsiteX25" fmla="*/ 9055633 w 10531650"/>
                <a:gd name="connsiteY25" fmla="*/ 1476019 h 1646328"/>
                <a:gd name="connsiteX26" fmla="*/ 9055633 w 10531650"/>
                <a:gd name="connsiteY26" fmla="*/ 170311 h 1646328"/>
                <a:gd name="connsiteX27" fmla="*/ 10531650 w 10531650"/>
                <a:gd name="connsiteY27" fmla="*/ 170311 h 1646328"/>
                <a:gd name="connsiteX28" fmla="*/ 10531650 w 10531650"/>
                <a:gd name="connsiteY28" fmla="*/ 1 h 1646328"/>
                <a:gd name="connsiteX29" fmla="*/ 8885323 w 10531650"/>
                <a:gd name="connsiteY29" fmla="*/ 1 h 1646328"/>
                <a:gd name="connsiteX30" fmla="*/ 8885323 w 10531650"/>
                <a:gd name="connsiteY30" fmla="*/ 2 h 1646328"/>
                <a:gd name="connsiteX31" fmla="*/ 8885323 w 10531650"/>
                <a:gd name="connsiteY31" fmla="*/ 170311 h 1646328"/>
                <a:gd name="connsiteX32" fmla="*/ 8885323 w 10531650"/>
                <a:gd name="connsiteY32" fmla="*/ 1476019 h 1646328"/>
                <a:gd name="connsiteX33" fmla="*/ 7579616 w 10531650"/>
                <a:gd name="connsiteY33" fmla="*/ 1476019 h 1646328"/>
                <a:gd name="connsiteX34" fmla="*/ 7579616 w 10531650"/>
                <a:gd name="connsiteY34" fmla="*/ 2 h 1646328"/>
                <a:gd name="connsiteX35" fmla="*/ 7545457 w 10531650"/>
                <a:gd name="connsiteY35" fmla="*/ 2 h 1646328"/>
                <a:gd name="connsiteX36" fmla="*/ 7545457 w 10531650"/>
                <a:gd name="connsiteY36" fmla="*/ 1 h 1646328"/>
                <a:gd name="connsiteX37" fmla="*/ 5899130 w 10531650"/>
                <a:gd name="connsiteY37" fmla="*/ 1 h 1646328"/>
                <a:gd name="connsiteX38" fmla="*/ 5899130 w 10531650"/>
                <a:gd name="connsiteY38" fmla="*/ 2 h 1646328"/>
                <a:gd name="connsiteX39" fmla="*/ 5899130 w 10531650"/>
                <a:gd name="connsiteY39" fmla="*/ 170311 h 1646328"/>
                <a:gd name="connsiteX40" fmla="*/ 5899130 w 10531650"/>
                <a:gd name="connsiteY40" fmla="*/ 1476019 h 1646328"/>
                <a:gd name="connsiteX41" fmla="*/ 4593423 w 10531650"/>
                <a:gd name="connsiteY41" fmla="*/ 1476019 h 1646328"/>
                <a:gd name="connsiteX42" fmla="*/ 4593423 w 10531650"/>
                <a:gd name="connsiteY42" fmla="*/ 2 h 1646328"/>
                <a:gd name="connsiteX43" fmla="*/ 4566405 w 10531650"/>
                <a:gd name="connsiteY43" fmla="*/ 2 h 1646328"/>
                <a:gd name="connsiteX44" fmla="*/ 4566405 w 10531650"/>
                <a:gd name="connsiteY44" fmla="*/ 1 h 1646328"/>
                <a:gd name="connsiteX45" fmla="*/ 2920079 w 10531650"/>
                <a:gd name="connsiteY45" fmla="*/ 1 h 1646328"/>
                <a:gd name="connsiteX46" fmla="*/ 2920079 w 10531650"/>
                <a:gd name="connsiteY46" fmla="*/ 2 h 1646328"/>
                <a:gd name="connsiteX47" fmla="*/ 2920079 w 10531650"/>
                <a:gd name="connsiteY47" fmla="*/ 170311 h 1646328"/>
                <a:gd name="connsiteX48" fmla="*/ 2920079 w 10531650"/>
                <a:gd name="connsiteY48" fmla="*/ 1476019 h 1646328"/>
                <a:gd name="connsiteX49" fmla="*/ 1614372 w 10531650"/>
                <a:gd name="connsiteY49" fmla="*/ 1476019 h 1646328"/>
                <a:gd name="connsiteX50" fmla="*/ 1614372 w 10531650"/>
                <a:gd name="connsiteY50" fmla="*/ 2 h 1646328"/>
                <a:gd name="connsiteX51" fmla="*/ 1580213 w 10531650"/>
                <a:gd name="connsiteY51" fmla="*/ 2 h 1646328"/>
                <a:gd name="connsiteX52" fmla="*/ 1580213 w 10531650"/>
                <a:gd name="connsiteY52" fmla="*/ 0 h 1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531650" h="1646328">
                  <a:moveTo>
                    <a:pt x="1580213" y="0"/>
                  </a:moveTo>
                  <a:lnTo>
                    <a:pt x="0" y="0"/>
                  </a:lnTo>
                  <a:lnTo>
                    <a:pt x="0" y="158733"/>
                  </a:lnTo>
                  <a:lnTo>
                    <a:pt x="1444062" y="158733"/>
                  </a:lnTo>
                  <a:lnTo>
                    <a:pt x="1444062" y="1476019"/>
                  </a:lnTo>
                  <a:lnTo>
                    <a:pt x="1444062" y="1646328"/>
                  </a:lnTo>
                  <a:lnTo>
                    <a:pt x="1614372" y="1646328"/>
                  </a:lnTo>
                  <a:lnTo>
                    <a:pt x="2920079" y="1646328"/>
                  </a:lnTo>
                  <a:lnTo>
                    <a:pt x="3090388" y="1646328"/>
                  </a:lnTo>
                  <a:lnTo>
                    <a:pt x="3090388" y="1476019"/>
                  </a:lnTo>
                  <a:lnTo>
                    <a:pt x="3090388" y="170311"/>
                  </a:lnTo>
                  <a:lnTo>
                    <a:pt x="4423113" y="170311"/>
                  </a:lnTo>
                  <a:lnTo>
                    <a:pt x="4423113" y="1476019"/>
                  </a:lnTo>
                  <a:lnTo>
                    <a:pt x="4423113" y="1646328"/>
                  </a:lnTo>
                  <a:lnTo>
                    <a:pt x="4593423" y="1646328"/>
                  </a:lnTo>
                  <a:lnTo>
                    <a:pt x="5899130" y="1646328"/>
                  </a:lnTo>
                  <a:lnTo>
                    <a:pt x="6069440" y="1646328"/>
                  </a:lnTo>
                  <a:lnTo>
                    <a:pt x="6069440" y="1476019"/>
                  </a:lnTo>
                  <a:lnTo>
                    <a:pt x="6069440" y="170311"/>
                  </a:lnTo>
                  <a:lnTo>
                    <a:pt x="7409306" y="170311"/>
                  </a:lnTo>
                  <a:lnTo>
                    <a:pt x="7409306" y="1476019"/>
                  </a:lnTo>
                  <a:lnTo>
                    <a:pt x="7409306" y="1646328"/>
                  </a:lnTo>
                  <a:lnTo>
                    <a:pt x="7579616" y="1646328"/>
                  </a:lnTo>
                  <a:lnTo>
                    <a:pt x="8885323" y="1646328"/>
                  </a:lnTo>
                  <a:lnTo>
                    <a:pt x="9055633" y="1646328"/>
                  </a:lnTo>
                  <a:lnTo>
                    <a:pt x="9055633" y="1476019"/>
                  </a:lnTo>
                  <a:lnTo>
                    <a:pt x="9055633" y="170311"/>
                  </a:lnTo>
                  <a:lnTo>
                    <a:pt x="10531650" y="170311"/>
                  </a:lnTo>
                  <a:lnTo>
                    <a:pt x="10531650" y="1"/>
                  </a:lnTo>
                  <a:lnTo>
                    <a:pt x="8885323" y="1"/>
                  </a:lnTo>
                  <a:lnTo>
                    <a:pt x="8885323" y="2"/>
                  </a:lnTo>
                  <a:lnTo>
                    <a:pt x="8885323" y="170311"/>
                  </a:lnTo>
                  <a:lnTo>
                    <a:pt x="8885323" y="1476019"/>
                  </a:lnTo>
                  <a:lnTo>
                    <a:pt x="7579616" y="1476019"/>
                  </a:lnTo>
                  <a:lnTo>
                    <a:pt x="7579616" y="2"/>
                  </a:lnTo>
                  <a:lnTo>
                    <a:pt x="7545457" y="2"/>
                  </a:lnTo>
                  <a:lnTo>
                    <a:pt x="7545457" y="1"/>
                  </a:lnTo>
                  <a:lnTo>
                    <a:pt x="5899130" y="1"/>
                  </a:lnTo>
                  <a:lnTo>
                    <a:pt x="5899130" y="2"/>
                  </a:lnTo>
                  <a:lnTo>
                    <a:pt x="5899130" y="170311"/>
                  </a:lnTo>
                  <a:lnTo>
                    <a:pt x="5899130" y="1476019"/>
                  </a:lnTo>
                  <a:lnTo>
                    <a:pt x="4593423" y="1476019"/>
                  </a:lnTo>
                  <a:lnTo>
                    <a:pt x="4593423" y="2"/>
                  </a:lnTo>
                  <a:lnTo>
                    <a:pt x="4566405" y="2"/>
                  </a:lnTo>
                  <a:lnTo>
                    <a:pt x="4566405" y="1"/>
                  </a:lnTo>
                  <a:lnTo>
                    <a:pt x="2920079" y="1"/>
                  </a:lnTo>
                  <a:lnTo>
                    <a:pt x="2920079" y="2"/>
                  </a:lnTo>
                  <a:lnTo>
                    <a:pt x="2920079" y="170311"/>
                  </a:lnTo>
                  <a:lnTo>
                    <a:pt x="2920079" y="1476019"/>
                  </a:lnTo>
                  <a:lnTo>
                    <a:pt x="1614372" y="1476019"/>
                  </a:lnTo>
                  <a:lnTo>
                    <a:pt x="1614372" y="2"/>
                  </a:lnTo>
                  <a:lnTo>
                    <a:pt x="1580213" y="2"/>
                  </a:lnTo>
                  <a:lnTo>
                    <a:pt x="158021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US" sz="14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even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946341" y="5200454"/>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387019"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3876445"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5455115"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403707" y="192146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41773"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6891095" y="5239530"/>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4" name="Group 3">
            <a:extLst>
              <a:ext uri="{FF2B5EF4-FFF2-40B4-BE49-F238E27FC236}">
                <a16:creationId xmlns:a16="http://schemas.microsoft.com/office/drawing/2014/main" id="{585181DB-0517-9CF4-1D46-DDA0FD4A7355}"/>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34244BF1-0440-3239-7DA6-F42B5D63827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F4C481D1-8418-C98F-AC4F-5E4ED80C61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D784029-6A8D-8A7D-DEC6-C6C3324B56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2F1A9E4D-4911-9410-D310-A3422983CAA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EA2F4D4-5BAB-D558-DD75-BAA28860289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81C4EE7E-708B-9057-FB5D-08B6782D4BD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B89D785E-D607-854C-6AAD-9DCC9F5B1BD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95982749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Eight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2175103" y="473998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3451999" y="231449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7238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008693" y="230096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600732" y="234071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21203" y="4715355"/>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72725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 name="Freeform 3">
            <a:extLst>
              <a:ext uri="{FF2B5EF4-FFF2-40B4-BE49-F238E27FC236}">
                <a16:creationId xmlns:a16="http://schemas.microsoft.com/office/drawing/2014/main" id="{668277F2-1F1C-EF28-94A9-AEE2858B159B}"/>
              </a:ext>
            </a:extLst>
          </p:cNvPr>
          <p:cNvSpPr/>
          <p:nvPr userDrawn="1"/>
        </p:nvSpPr>
        <p:spPr>
          <a:xfrm>
            <a:off x="814558" y="2948951"/>
            <a:ext cx="10637451" cy="1404442"/>
          </a:xfrm>
          <a:custGeom>
            <a:avLst/>
            <a:gdLst>
              <a:gd name="connsiteX0" fmla="*/ 7718460 w 12578206"/>
              <a:gd name="connsiteY0" fmla="*/ 0 h 1660676"/>
              <a:gd name="connsiteX1" fmla="*/ 9378657 w 12578206"/>
              <a:gd name="connsiteY1" fmla="*/ 0 h 1660676"/>
              <a:gd name="connsiteX2" fmla="*/ 9378657 w 12578206"/>
              <a:gd name="connsiteY2" fmla="*/ 1 h 1660676"/>
              <a:gd name="connsiteX3" fmla="*/ 9378657 w 12578206"/>
              <a:gd name="connsiteY3" fmla="*/ 171745 h 1660676"/>
              <a:gd name="connsiteX4" fmla="*/ 9378657 w 12578206"/>
              <a:gd name="connsiteY4" fmla="*/ 1488454 h 1660676"/>
              <a:gd name="connsiteX5" fmla="*/ 10695364 w 12578206"/>
              <a:gd name="connsiteY5" fmla="*/ 1488454 h 1660676"/>
              <a:gd name="connsiteX6" fmla="*/ 10695364 w 12578206"/>
              <a:gd name="connsiteY6" fmla="*/ 1 h 1660676"/>
              <a:gd name="connsiteX7" fmla="*/ 10729811 w 12578206"/>
              <a:gd name="connsiteY7" fmla="*/ 1 h 1660676"/>
              <a:gd name="connsiteX8" fmla="*/ 10729811 w 12578206"/>
              <a:gd name="connsiteY8" fmla="*/ 0 h 1660676"/>
              <a:gd name="connsiteX9" fmla="*/ 12390008 w 12578206"/>
              <a:gd name="connsiteY9" fmla="*/ 0 h 1660676"/>
              <a:gd name="connsiteX10" fmla="*/ 12390008 w 12578206"/>
              <a:gd name="connsiteY10" fmla="*/ 1 h 1660676"/>
              <a:gd name="connsiteX11" fmla="*/ 12390008 w 12578206"/>
              <a:gd name="connsiteY11" fmla="*/ 171745 h 1660676"/>
              <a:gd name="connsiteX12" fmla="*/ 12390008 w 12578206"/>
              <a:gd name="connsiteY12" fmla="*/ 1488454 h 1660676"/>
              <a:gd name="connsiteX13" fmla="*/ 12578206 w 12578206"/>
              <a:gd name="connsiteY13" fmla="*/ 1488454 h 1660676"/>
              <a:gd name="connsiteX14" fmla="*/ 12578206 w 12578206"/>
              <a:gd name="connsiteY14" fmla="*/ 1660198 h 1660676"/>
              <a:gd name="connsiteX15" fmla="*/ 12390008 w 12578206"/>
              <a:gd name="connsiteY15" fmla="*/ 1660198 h 1660676"/>
              <a:gd name="connsiteX16" fmla="*/ 12218263 w 12578206"/>
              <a:gd name="connsiteY16" fmla="*/ 1660198 h 1660676"/>
              <a:gd name="connsiteX17" fmla="*/ 12218263 w 12578206"/>
              <a:gd name="connsiteY17" fmla="*/ 1488454 h 1660676"/>
              <a:gd name="connsiteX18" fmla="*/ 12218263 w 12578206"/>
              <a:gd name="connsiteY18" fmla="*/ 171745 h 1660676"/>
              <a:gd name="connsiteX19" fmla="*/ 10867109 w 12578206"/>
              <a:gd name="connsiteY19" fmla="*/ 171745 h 1660676"/>
              <a:gd name="connsiteX20" fmla="*/ 10867109 w 12578206"/>
              <a:gd name="connsiteY20" fmla="*/ 1488454 h 1660676"/>
              <a:gd name="connsiteX21" fmla="*/ 10867109 w 12578206"/>
              <a:gd name="connsiteY21" fmla="*/ 1660198 h 1660676"/>
              <a:gd name="connsiteX22" fmla="*/ 10695364 w 12578206"/>
              <a:gd name="connsiteY22" fmla="*/ 1660198 h 1660676"/>
              <a:gd name="connsiteX23" fmla="*/ 9378657 w 12578206"/>
              <a:gd name="connsiteY23" fmla="*/ 1660198 h 1660676"/>
              <a:gd name="connsiteX24" fmla="*/ 9206912 w 12578206"/>
              <a:gd name="connsiteY24" fmla="*/ 1660198 h 1660676"/>
              <a:gd name="connsiteX25" fmla="*/ 9206912 w 12578206"/>
              <a:gd name="connsiteY25" fmla="*/ 1488454 h 1660676"/>
              <a:gd name="connsiteX26" fmla="*/ 9206912 w 12578206"/>
              <a:gd name="connsiteY26" fmla="*/ 171745 h 1660676"/>
              <a:gd name="connsiteX27" fmla="*/ 7852482 w 12578206"/>
              <a:gd name="connsiteY27" fmla="*/ 171745 h 1660676"/>
              <a:gd name="connsiteX28" fmla="*/ 7852482 w 12578206"/>
              <a:gd name="connsiteY28" fmla="*/ 1488932 h 1660676"/>
              <a:gd name="connsiteX29" fmla="*/ 7852482 w 12578206"/>
              <a:gd name="connsiteY29" fmla="*/ 1660676 h 1660676"/>
              <a:gd name="connsiteX30" fmla="*/ 7680737 w 12578206"/>
              <a:gd name="connsiteY30" fmla="*/ 1660676 h 1660676"/>
              <a:gd name="connsiteX31" fmla="*/ 6364030 w 12578206"/>
              <a:gd name="connsiteY31" fmla="*/ 1660676 h 1660676"/>
              <a:gd name="connsiteX32" fmla="*/ 6192287 w 12578206"/>
              <a:gd name="connsiteY32" fmla="*/ 1660676 h 1660676"/>
              <a:gd name="connsiteX33" fmla="*/ 6192287 w 12578206"/>
              <a:gd name="connsiteY33" fmla="*/ 1488932 h 1660676"/>
              <a:gd name="connsiteX34" fmla="*/ 6192287 w 12578206"/>
              <a:gd name="connsiteY34" fmla="*/ 172223 h 1660676"/>
              <a:gd name="connsiteX35" fmla="*/ 4848333 w 12578206"/>
              <a:gd name="connsiteY35" fmla="*/ 172223 h 1660676"/>
              <a:gd name="connsiteX36" fmla="*/ 4848333 w 12578206"/>
              <a:gd name="connsiteY36" fmla="*/ 1488932 h 1660676"/>
              <a:gd name="connsiteX37" fmla="*/ 4848333 w 12578206"/>
              <a:gd name="connsiteY37" fmla="*/ 1660676 h 1660676"/>
              <a:gd name="connsiteX38" fmla="*/ 4676589 w 12578206"/>
              <a:gd name="connsiteY38" fmla="*/ 1660676 h 1660676"/>
              <a:gd name="connsiteX39" fmla="*/ 3359882 w 12578206"/>
              <a:gd name="connsiteY39" fmla="*/ 1660676 h 1660676"/>
              <a:gd name="connsiteX40" fmla="*/ 3188137 w 12578206"/>
              <a:gd name="connsiteY40" fmla="*/ 1660676 h 1660676"/>
              <a:gd name="connsiteX41" fmla="*/ 3188137 w 12578206"/>
              <a:gd name="connsiteY41" fmla="*/ 1488932 h 1660676"/>
              <a:gd name="connsiteX42" fmla="*/ 3188137 w 12578206"/>
              <a:gd name="connsiteY42" fmla="*/ 172223 h 1660676"/>
              <a:gd name="connsiteX43" fmla="*/ 1836983 w 12578206"/>
              <a:gd name="connsiteY43" fmla="*/ 172223 h 1660676"/>
              <a:gd name="connsiteX44" fmla="*/ 1836983 w 12578206"/>
              <a:gd name="connsiteY44" fmla="*/ 1488932 h 1660676"/>
              <a:gd name="connsiteX45" fmla="*/ 1836983 w 12578206"/>
              <a:gd name="connsiteY45" fmla="*/ 1660676 h 1660676"/>
              <a:gd name="connsiteX46" fmla="*/ 1665238 w 12578206"/>
              <a:gd name="connsiteY46" fmla="*/ 1660676 h 1660676"/>
              <a:gd name="connsiteX47" fmla="*/ 348532 w 12578206"/>
              <a:gd name="connsiteY47" fmla="*/ 1660676 h 1660676"/>
              <a:gd name="connsiteX48" fmla="*/ 176786 w 12578206"/>
              <a:gd name="connsiteY48" fmla="*/ 1660676 h 1660676"/>
              <a:gd name="connsiteX49" fmla="*/ 176786 w 12578206"/>
              <a:gd name="connsiteY49" fmla="*/ 1488932 h 1660676"/>
              <a:gd name="connsiteX50" fmla="*/ 176786 w 12578206"/>
              <a:gd name="connsiteY50" fmla="*/ 172223 h 1660676"/>
              <a:gd name="connsiteX51" fmla="*/ 0 w 12578206"/>
              <a:gd name="connsiteY51" fmla="*/ 172223 h 1660676"/>
              <a:gd name="connsiteX52" fmla="*/ 0 w 12578206"/>
              <a:gd name="connsiteY52" fmla="*/ 478 h 1660676"/>
              <a:gd name="connsiteX53" fmla="*/ 348532 w 12578206"/>
              <a:gd name="connsiteY53" fmla="*/ 478 h 1660676"/>
              <a:gd name="connsiteX54" fmla="*/ 348532 w 12578206"/>
              <a:gd name="connsiteY54" fmla="*/ 479 h 1660676"/>
              <a:gd name="connsiteX55" fmla="*/ 348532 w 12578206"/>
              <a:gd name="connsiteY55" fmla="*/ 172223 h 1660676"/>
              <a:gd name="connsiteX56" fmla="*/ 348532 w 12578206"/>
              <a:gd name="connsiteY56" fmla="*/ 1488932 h 1660676"/>
              <a:gd name="connsiteX57" fmla="*/ 1665238 w 12578206"/>
              <a:gd name="connsiteY57" fmla="*/ 1488932 h 1660676"/>
              <a:gd name="connsiteX58" fmla="*/ 1665238 w 12578206"/>
              <a:gd name="connsiteY58" fmla="*/ 479 h 1660676"/>
              <a:gd name="connsiteX59" fmla="*/ 1699685 w 12578206"/>
              <a:gd name="connsiteY59" fmla="*/ 479 h 1660676"/>
              <a:gd name="connsiteX60" fmla="*/ 1699685 w 12578206"/>
              <a:gd name="connsiteY60" fmla="*/ 478 h 1660676"/>
              <a:gd name="connsiteX61" fmla="*/ 3359882 w 12578206"/>
              <a:gd name="connsiteY61" fmla="*/ 478 h 1660676"/>
              <a:gd name="connsiteX62" fmla="*/ 3359882 w 12578206"/>
              <a:gd name="connsiteY62" fmla="*/ 479 h 1660676"/>
              <a:gd name="connsiteX63" fmla="*/ 3359882 w 12578206"/>
              <a:gd name="connsiteY63" fmla="*/ 172223 h 1660676"/>
              <a:gd name="connsiteX64" fmla="*/ 3359882 w 12578206"/>
              <a:gd name="connsiteY64" fmla="*/ 1488932 h 1660676"/>
              <a:gd name="connsiteX65" fmla="*/ 4676589 w 12578206"/>
              <a:gd name="connsiteY65" fmla="*/ 1488932 h 1660676"/>
              <a:gd name="connsiteX66" fmla="*/ 4676589 w 12578206"/>
              <a:gd name="connsiteY66" fmla="*/ 479 h 1660676"/>
              <a:gd name="connsiteX67" fmla="*/ 4703835 w 12578206"/>
              <a:gd name="connsiteY67" fmla="*/ 479 h 1660676"/>
              <a:gd name="connsiteX68" fmla="*/ 4703835 w 12578206"/>
              <a:gd name="connsiteY68" fmla="*/ 478 h 1660676"/>
              <a:gd name="connsiteX69" fmla="*/ 6364030 w 12578206"/>
              <a:gd name="connsiteY69" fmla="*/ 478 h 1660676"/>
              <a:gd name="connsiteX70" fmla="*/ 6364030 w 12578206"/>
              <a:gd name="connsiteY70" fmla="*/ 479 h 1660676"/>
              <a:gd name="connsiteX71" fmla="*/ 6364030 w 12578206"/>
              <a:gd name="connsiteY71" fmla="*/ 172223 h 1660676"/>
              <a:gd name="connsiteX72" fmla="*/ 6364030 w 12578206"/>
              <a:gd name="connsiteY72" fmla="*/ 1488932 h 1660676"/>
              <a:gd name="connsiteX73" fmla="*/ 7680737 w 12578206"/>
              <a:gd name="connsiteY73" fmla="*/ 1488932 h 1660676"/>
              <a:gd name="connsiteX74" fmla="*/ 7680737 w 12578206"/>
              <a:gd name="connsiteY74" fmla="*/ 479 h 1660676"/>
              <a:gd name="connsiteX75" fmla="*/ 7715184 w 12578206"/>
              <a:gd name="connsiteY75" fmla="*/ 479 h 1660676"/>
              <a:gd name="connsiteX76" fmla="*/ 7715184 w 12578206"/>
              <a:gd name="connsiteY76" fmla="*/ 477 h 1660676"/>
              <a:gd name="connsiteX77" fmla="*/ 7718460 w 12578206"/>
              <a:gd name="connsiteY77" fmla="*/ 477 h 1660676"/>
              <a:gd name="connsiteX78" fmla="*/ 7718460 w 12578206"/>
              <a:gd name="connsiteY78" fmla="*/ 0 h 16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578206" h="1660676">
                <a:moveTo>
                  <a:pt x="7718460" y="0"/>
                </a:moveTo>
                <a:lnTo>
                  <a:pt x="9378657" y="0"/>
                </a:lnTo>
                <a:lnTo>
                  <a:pt x="9378657" y="1"/>
                </a:lnTo>
                <a:lnTo>
                  <a:pt x="9378657" y="171745"/>
                </a:lnTo>
                <a:lnTo>
                  <a:pt x="9378657" y="1488454"/>
                </a:lnTo>
                <a:lnTo>
                  <a:pt x="10695364" y="1488454"/>
                </a:lnTo>
                <a:lnTo>
                  <a:pt x="10695364" y="1"/>
                </a:lnTo>
                <a:lnTo>
                  <a:pt x="10729811" y="1"/>
                </a:lnTo>
                <a:lnTo>
                  <a:pt x="10729811" y="0"/>
                </a:lnTo>
                <a:lnTo>
                  <a:pt x="12390008" y="0"/>
                </a:lnTo>
                <a:lnTo>
                  <a:pt x="12390008" y="1"/>
                </a:lnTo>
                <a:lnTo>
                  <a:pt x="12390008" y="171745"/>
                </a:lnTo>
                <a:lnTo>
                  <a:pt x="12390008" y="1488454"/>
                </a:lnTo>
                <a:lnTo>
                  <a:pt x="12578206" y="1488454"/>
                </a:lnTo>
                <a:lnTo>
                  <a:pt x="12578206" y="1660198"/>
                </a:lnTo>
                <a:lnTo>
                  <a:pt x="12390008" y="1660198"/>
                </a:lnTo>
                <a:lnTo>
                  <a:pt x="12218263" y="1660198"/>
                </a:lnTo>
                <a:lnTo>
                  <a:pt x="12218263" y="1488454"/>
                </a:lnTo>
                <a:lnTo>
                  <a:pt x="12218263" y="171745"/>
                </a:lnTo>
                <a:lnTo>
                  <a:pt x="10867109" y="171745"/>
                </a:lnTo>
                <a:lnTo>
                  <a:pt x="10867109" y="1488454"/>
                </a:lnTo>
                <a:lnTo>
                  <a:pt x="10867109" y="1660198"/>
                </a:lnTo>
                <a:lnTo>
                  <a:pt x="10695364" y="1660198"/>
                </a:lnTo>
                <a:lnTo>
                  <a:pt x="9378657" y="1660198"/>
                </a:lnTo>
                <a:lnTo>
                  <a:pt x="9206912" y="1660198"/>
                </a:lnTo>
                <a:lnTo>
                  <a:pt x="9206912" y="1488454"/>
                </a:lnTo>
                <a:lnTo>
                  <a:pt x="9206912" y="171745"/>
                </a:lnTo>
                <a:lnTo>
                  <a:pt x="7852482" y="171745"/>
                </a:lnTo>
                <a:lnTo>
                  <a:pt x="7852482" y="1488932"/>
                </a:lnTo>
                <a:lnTo>
                  <a:pt x="7852482" y="1660676"/>
                </a:lnTo>
                <a:lnTo>
                  <a:pt x="7680737" y="1660676"/>
                </a:lnTo>
                <a:lnTo>
                  <a:pt x="6364030" y="1660676"/>
                </a:lnTo>
                <a:lnTo>
                  <a:pt x="6192287" y="1660676"/>
                </a:lnTo>
                <a:lnTo>
                  <a:pt x="6192287" y="1488932"/>
                </a:lnTo>
                <a:lnTo>
                  <a:pt x="6192287" y="172223"/>
                </a:lnTo>
                <a:lnTo>
                  <a:pt x="4848333" y="172223"/>
                </a:lnTo>
                <a:lnTo>
                  <a:pt x="4848333" y="1488932"/>
                </a:lnTo>
                <a:lnTo>
                  <a:pt x="4848333" y="1660676"/>
                </a:lnTo>
                <a:lnTo>
                  <a:pt x="4676589" y="1660676"/>
                </a:lnTo>
                <a:lnTo>
                  <a:pt x="3359882" y="1660676"/>
                </a:lnTo>
                <a:lnTo>
                  <a:pt x="3188137" y="1660676"/>
                </a:lnTo>
                <a:lnTo>
                  <a:pt x="3188137" y="1488932"/>
                </a:lnTo>
                <a:lnTo>
                  <a:pt x="3188137" y="172223"/>
                </a:lnTo>
                <a:lnTo>
                  <a:pt x="1836983" y="172223"/>
                </a:lnTo>
                <a:lnTo>
                  <a:pt x="1836983" y="1488932"/>
                </a:lnTo>
                <a:lnTo>
                  <a:pt x="1836983" y="1660676"/>
                </a:lnTo>
                <a:lnTo>
                  <a:pt x="1665238" y="1660676"/>
                </a:lnTo>
                <a:lnTo>
                  <a:pt x="348532" y="1660676"/>
                </a:lnTo>
                <a:lnTo>
                  <a:pt x="176786" y="1660676"/>
                </a:lnTo>
                <a:lnTo>
                  <a:pt x="176786" y="1488932"/>
                </a:lnTo>
                <a:lnTo>
                  <a:pt x="176786" y="172223"/>
                </a:lnTo>
                <a:lnTo>
                  <a:pt x="0" y="172223"/>
                </a:lnTo>
                <a:lnTo>
                  <a:pt x="0" y="478"/>
                </a:lnTo>
                <a:lnTo>
                  <a:pt x="348532" y="478"/>
                </a:lnTo>
                <a:lnTo>
                  <a:pt x="348532" y="479"/>
                </a:lnTo>
                <a:lnTo>
                  <a:pt x="348532" y="172223"/>
                </a:lnTo>
                <a:lnTo>
                  <a:pt x="348532" y="1488932"/>
                </a:lnTo>
                <a:lnTo>
                  <a:pt x="1665238" y="1488932"/>
                </a:lnTo>
                <a:lnTo>
                  <a:pt x="1665238" y="479"/>
                </a:lnTo>
                <a:lnTo>
                  <a:pt x="1699685" y="479"/>
                </a:lnTo>
                <a:lnTo>
                  <a:pt x="1699685" y="478"/>
                </a:lnTo>
                <a:lnTo>
                  <a:pt x="3359882" y="478"/>
                </a:lnTo>
                <a:lnTo>
                  <a:pt x="3359882" y="479"/>
                </a:lnTo>
                <a:lnTo>
                  <a:pt x="3359882" y="172223"/>
                </a:lnTo>
                <a:lnTo>
                  <a:pt x="3359882" y="1488932"/>
                </a:lnTo>
                <a:lnTo>
                  <a:pt x="4676589" y="1488932"/>
                </a:lnTo>
                <a:lnTo>
                  <a:pt x="4676589" y="479"/>
                </a:lnTo>
                <a:lnTo>
                  <a:pt x="4703835" y="479"/>
                </a:lnTo>
                <a:lnTo>
                  <a:pt x="4703835" y="478"/>
                </a:lnTo>
                <a:lnTo>
                  <a:pt x="6364030" y="478"/>
                </a:lnTo>
                <a:lnTo>
                  <a:pt x="6364030" y="479"/>
                </a:lnTo>
                <a:lnTo>
                  <a:pt x="6364030" y="172223"/>
                </a:lnTo>
                <a:lnTo>
                  <a:pt x="6364030" y="1488932"/>
                </a:lnTo>
                <a:lnTo>
                  <a:pt x="7680737" y="1488932"/>
                </a:lnTo>
                <a:lnTo>
                  <a:pt x="7680737" y="479"/>
                </a:lnTo>
                <a:lnTo>
                  <a:pt x="7715184" y="479"/>
                </a:lnTo>
                <a:lnTo>
                  <a:pt x="7715184" y="477"/>
                </a:lnTo>
                <a:lnTo>
                  <a:pt x="7718460" y="477"/>
                </a:lnTo>
                <a:lnTo>
                  <a:pt x="771846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grpSp>
        <p:nvGrpSpPr>
          <p:cNvPr id="6" name="Group 5">
            <a:extLst>
              <a:ext uri="{FF2B5EF4-FFF2-40B4-BE49-F238E27FC236}">
                <a16:creationId xmlns:a16="http://schemas.microsoft.com/office/drawing/2014/main" id="{7FCA0E93-B28A-997E-D36D-AFC0F539C981}"/>
              </a:ext>
            </a:extLst>
          </p:cNvPr>
          <p:cNvGrpSpPr/>
          <p:nvPr/>
        </p:nvGrpSpPr>
        <p:grpSpPr>
          <a:xfrm>
            <a:off x="1227642" y="2681139"/>
            <a:ext cx="864694" cy="1422530"/>
            <a:chOff x="2669593" y="2653019"/>
            <a:chExt cx="919869" cy="1513298"/>
          </a:xfrm>
        </p:grpSpPr>
        <p:cxnSp>
          <p:nvCxnSpPr>
            <p:cNvPr id="8" name="Straight Connector 7">
              <a:extLst>
                <a:ext uri="{FF2B5EF4-FFF2-40B4-BE49-F238E27FC236}">
                  <a16:creationId xmlns:a16="http://schemas.microsoft.com/office/drawing/2014/main" id="{15887902-B131-DB9C-5461-94303A6EECD9}"/>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3FE352B-CBCB-809D-2E1F-E7972095F173}"/>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11" name="Group 10">
            <a:extLst>
              <a:ext uri="{FF2B5EF4-FFF2-40B4-BE49-F238E27FC236}">
                <a16:creationId xmlns:a16="http://schemas.microsoft.com/office/drawing/2014/main" id="{4D4BB7EC-DE11-CC95-4FC6-F1350BC9CA08}"/>
              </a:ext>
            </a:extLst>
          </p:cNvPr>
          <p:cNvGrpSpPr/>
          <p:nvPr/>
        </p:nvGrpSpPr>
        <p:grpSpPr>
          <a:xfrm>
            <a:off x="2523486" y="3238973"/>
            <a:ext cx="864694" cy="1482129"/>
            <a:chOff x="4146576" y="3246448"/>
            <a:chExt cx="919869" cy="1576701"/>
          </a:xfrm>
        </p:grpSpPr>
        <p:cxnSp>
          <p:nvCxnSpPr>
            <p:cNvPr id="13" name="Straight Connector 12">
              <a:extLst>
                <a:ext uri="{FF2B5EF4-FFF2-40B4-BE49-F238E27FC236}">
                  <a16:creationId xmlns:a16="http://schemas.microsoft.com/office/drawing/2014/main" id="{2783499A-9423-70A3-C363-40ABB129A1E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00E3F24-8805-8455-8689-088FC12079A1}"/>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17" name="Group 16">
            <a:extLst>
              <a:ext uri="{FF2B5EF4-FFF2-40B4-BE49-F238E27FC236}">
                <a16:creationId xmlns:a16="http://schemas.microsoft.com/office/drawing/2014/main" id="{76718C39-BD7B-2C3C-677A-09F994F93372}"/>
              </a:ext>
            </a:extLst>
          </p:cNvPr>
          <p:cNvGrpSpPr/>
          <p:nvPr/>
        </p:nvGrpSpPr>
        <p:grpSpPr>
          <a:xfrm>
            <a:off x="3781651" y="2682482"/>
            <a:ext cx="864694" cy="1422530"/>
            <a:chOff x="2669593" y="2653019"/>
            <a:chExt cx="919869" cy="1513298"/>
          </a:xfrm>
        </p:grpSpPr>
        <p:cxnSp>
          <p:nvCxnSpPr>
            <p:cNvPr id="19" name="Straight Connector 18">
              <a:extLst>
                <a:ext uri="{FF2B5EF4-FFF2-40B4-BE49-F238E27FC236}">
                  <a16:creationId xmlns:a16="http://schemas.microsoft.com/office/drawing/2014/main" id="{53814B1F-5D6E-0AA6-9E94-EAAE55DC6687}"/>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1719B15D-94F7-5627-AEC9-3C0E1F75FC31}"/>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2" name="Group 21">
            <a:extLst>
              <a:ext uri="{FF2B5EF4-FFF2-40B4-BE49-F238E27FC236}">
                <a16:creationId xmlns:a16="http://schemas.microsoft.com/office/drawing/2014/main" id="{3B871118-90DE-CA38-DC71-12CFC3C5B8D7}"/>
              </a:ext>
            </a:extLst>
          </p:cNvPr>
          <p:cNvGrpSpPr/>
          <p:nvPr/>
        </p:nvGrpSpPr>
        <p:grpSpPr>
          <a:xfrm>
            <a:off x="5062821" y="3238974"/>
            <a:ext cx="864694" cy="1482129"/>
            <a:chOff x="4146576" y="3246448"/>
            <a:chExt cx="919869" cy="1576701"/>
          </a:xfrm>
        </p:grpSpPr>
        <p:cxnSp>
          <p:nvCxnSpPr>
            <p:cNvPr id="47" name="Straight Connector 46">
              <a:extLst>
                <a:ext uri="{FF2B5EF4-FFF2-40B4-BE49-F238E27FC236}">
                  <a16:creationId xmlns:a16="http://schemas.microsoft.com/office/drawing/2014/main" id="{495DCF87-87B2-8F50-40F7-CA5612A3983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3983F6B-A73B-C0DF-BB95-8888A5EC2404}"/>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51" name="Group 50">
            <a:extLst>
              <a:ext uri="{FF2B5EF4-FFF2-40B4-BE49-F238E27FC236}">
                <a16:creationId xmlns:a16="http://schemas.microsoft.com/office/drawing/2014/main" id="{83F90F72-4149-6659-2D82-3D90403F8BC9}"/>
              </a:ext>
            </a:extLst>
          </p:cNvPr>
          <p:cNvGrpSpPr/>
          <p:nvPr/>
        </p:nvGrpSpPr>
        <p:grpSpPr>
          <a:xfrm>
            <a:off x="6338345" y="2679794"/>
            <a:ext cx="864694" cy="1422530"/>
            <a:chOff x="2669593" y="2653019"/>
            <a:chExt cx="919869" cy="1513298"/>
          </a:xfrm>
        </p:grpSpPr>
        <p:cxnSp>
          <p:nvCxnSpPr>
            <p:cNvPr id="53" name="Straight Connector 52">
              <a:extLst>
                <a:ext uri="{FF2B5EF4-FFF2-40B4-BE49-F238E27FC236}">
                  <a16:creationId xmlns:a16="http://schemas.microsoft.com/office/drawing/2014/main" id="{763DD368-A764-C172-7A15-C8BE15A8171D}"/>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949A3E6B-2C0C-5365-C237-D31DE59313FC}"/>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56" name="Group 55">
            <a:extLst>
              <a:ext uri="{FF2B5EF4-FFF2-40B4-BE49-F238E27FC236}">
                <a16:creationId xmlns:a16="http://schemas.microsoft.com/office/drawing/2014/main" id="{55C37AC7-D208-A0A0-A3CB-5447A0228A97}"/>
              </a:ext>
            </a:extLst>
          </p:cNvPr>
          <p:cNvGrpSpPr/>
          <p:nvPr/>
        </p:nvGrpSpPr>
        <p:grpSpPr>
          <a:xfrm>
            <a:off x="8892353" y="2684309"/>
            <a:ext cx="864694" cy="1422530"/>
            <a:chOff x="2669593" y="2653019"/>
            <a:chExt cx="919869" cy="1513298"/>
          </a:xfrm>
        </p:grpSpPr>
        <p:cxnSp>
          <p:nvCxnSpPr>
            <p:cNvPr id="58" name="Straight Connector 57">
              <a:extLst>
                <a:ext uri="{FF2B5EF4-FFF2-40B4-BE49-F238E27FC236}">
                  <a16:creationId xmlns:a16="http://schemas.microsoft.com/office/drawing/2014/main" id="{2444A611-3D41-150D-7D61-D3C45A26A4A3}"/>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750D4A48-F97C-71AA-15BF-D875DF537C29}"/>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grpSp>
        <p:nvGrpSpPr>
          <p:cNvPr id="61" name="Group 60">
            <a:extLst>
              <a:ext uri="{FF2B5EF4-FFF2-40B4-BE49-F238E27FC236}">
                <a16:creationId xmlns:a16="http://schemas.microsoft.com/office/drawing/2014/main" id="{4A086D71-21EB-43DF-4DC5-E753E96A481B}"/>
              </a:ext>
            </a:extLst>
          </p:cNvPr>
          <p:cNvGrpSpPr/>
          <p:nvPr/>
        </p:nvGrpSpPr>
        <p:grpSpPr>
          <a:xfrm>
            <a:off x="7602155" y="3237629"/>
            <a:ext cx="864694" cy="1482129"/>
            <a:chOff x="4146576" y="3246448"/>
            <a:chExt cx="919869" cy="1576701"/>
          </a:xfrm>
        </p:grpSpPr>
        <p:cxnSp>
          <p:nvCxnSpPr>
            <p:cNvPr id="63" name="Straight Connector 62">
              <a:extLst>
                <a:ext uri="{FF2B5EF4-FFF2-40B4-BE49-F238E27FC236}">
                  <a16:creationId xmlns:a16="http://schemas.microsoft.com/office/drawing/2014/main" id="{1874BD61-F3D4-2F55-6837-55F7CC58219B}"/>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E22AC0A1-01F3-D3BE-0ACD-DED203613837}"/>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66" name="Group 65">
            <a:extLst>
              <a:ext uri="{FF2B5EF4-FFF2-40B4-BE49-F238E27FC236}">
                <a16:creationId xmlns:a16="http://schemas.microsoft.com/office/drawing/2014/main" id="{844E8475-0FBA-E68B-AE48-6FA65F6FF123}"/>
              </a:ext>
            </a:extLst>
          </p:cNvPr>
          <p:cNvGrpSpPr/>
          <p:nvPr/>
        </p:nvGrpSpPr>
        <p:grpSpPr>
          <a:xfrm>
            <a:off x="10150855" y="3237630"/>
            <a:ext cx="864694" cy="1482129"/>
            <a:chOff x="4146576" y="3246448"/>
            <a:chExt cx="919869" cy="1576701"/>
          </a:xfrm>
        </p:grpSpPr>
        <p:cxnSp>
          <p:nvCxnSpPr>
            <p:cNvPr id="68" name="Straight Connector 67">
              <a:extLst>
                <a:ext uri="{FF2B5EF4-FFF2-40B4-BE49-F238E27FC236}">
                  <a16:creationId xmlns:a16="http://schemas.microsoft.com/office/drawing/2014/main" id="{DABC56D4-8F58-F9A4-DD96-8185052F3D39}"/>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0CDC126-FDA6-7A89-7B26-DD25F805A37E}"/>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8</a:t>
              </a:r>
            </a:p>
          </p:txBody>
        </p:sp>
      </p:grpSp>
      <p:sp>
        <p:nvSpPr>
          <p:cNvPr id="70" name="Text Placeholder 5">
            <a:extLst>
              <a:ext uri="{FF2B5EF4-FFF2-40B4-BE49-F238E27FC236}">
                <a16:creationId xmlns:a16="http://schemas.microsoft.com/office/drawing/2014/main" id="{80C2AF0D-8AE2-6410-1D8C-8F6F65D41572}"/>
              </a:ext>
            </a:extLst>
          </p:cNvPr>
          <p:cNvSpPr>
            <a:spLocks noGrp="1"/>
          </p:cNvSpPr>
          <p:nvPr>
            <p:ph type="body" sz="quarter" idx="30" hasCustomPrompt="1"/>
          </p:nvPr>
        </p:nvSpPr>
        <p:spPr>
          <a:xfrm>
            <a:off x="897990" y="2290890"/>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grpSp>
        <p:nvGrpSpPr>
          <p:cNvPr id="5" name="Group 4">
            <a:extLst>
              <a:ext uri="{FF2B5EF4-FFF2-40B4-BE49-F238E27FC236}">
                <a16:creationId xmlns:a16="http://schemas.microsoft.com/office/drawing/2014/main" id="{8D1A135C-122C-D4E9-0E4C-0B7752CCA1FA}"/>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26DFB05C-C398-934E-1579-37FBEA54A2A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11">
              <a:extLst>
                <a:ext uri="{FF2B5EF4-FFF2-40B4-BE49-F238E27FC236}">
                  <a16:creationId xmlns:a16="http://schemas.microsoft.com/office/drawing/2014/main" id="{9C6B55DA-1A14-9140-7336-3FA4B70871F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9FF6D5C5-946A-6EE3-2611-9FC465C1F6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02DDF947-CD3E-4F5D-33BF-940C453A3A8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9">
              <a:extLst>
                <a:ext uri="{FF2B5EF4-FFF2-40B4-BE49-F238E27FC236}">
                  <a16:creationId xmlns:a16="http://schemas.microsoft.com/office/drawing/2014/main" id="{DD295D2C-E8F1-4A69-21EF-CBF88CCBC85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EC07E15-5621-D582-B746-ED160407E2B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3" name="Freeform 23">
              <a:extLst>
                <a:ext uri="{FF2B5EF4-FFF2-40B4-BE49-F238E27FC236}">
                  <a16:creationId xmlns:a16="http://schemas.microsoft.com/office/drawing/2014/main" id="{EDA4967B-6C72-903E-9C58-C05AB3465B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930248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hre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87" name="Group 86">
            <a:extLst>
              <a:ext uri="{FF2B5EF4-FFF2-40B4-BE49-F238E27FC236}">
                <a16:creationId xmlns:a16="http://schemas.microsoft.com/office/drawing/2014/main" id="{50E56023-7719-78BB-85BC-7730790FC20C}"/>
              </a:ext>
            </a:extLst>
          </p:cNvPr>
          <p:cNvGrpSpPr/>
          <p:nvPr userDrawn="1">
            <p:custDataLst>
              <p:tags r:id="rId1"/>
            </p:custDataLst>
          </p:nvPr>
        </p:nvGrpSpPr>
        <p:grpSpPr>
          <a:xfrm>
            <a:off x="815975" y="2176588"/>
            <a:ext cx="10620375" cy="3405067"/>
            <a:chOff x="550862" y="2343533"/>
            <a:chExt cx="11090275" cy="3555725"/>
          </a:xfrm>
        </p:grpSpPr>
        <p:grpSp>
          <p:nvGrpSpPr>
            <p:cNvPr id="89" name="Group 88">
              <a:extLst>
                <a:ext uri="{FF2B5EF4-FFF2-40B4-BE49-F238E27FC236}">
                  <a16:creationId xmlns:a16="http://schemas.microsoft.com/office/drawing/2014/main" id="{9B5124E5-19AE-DA52-930A-A4692BB47E1C}"/>
                </a:ext>
              </a:extLst>
            </p:cNvPr>
            <p:cNvGrpSpPr/>
            <p:nvPr/>
          </p:nvGrpSpPr>
          <p:grpSpPr>
            <a:xfrm>
              <a:off x="550862" y="2358059"/>
              <a:ext cx="3541199" cy="3541199"/>
              <a:chOff x="1703512" y="3068960"/>
              <a:chExt cx="2709172" cy="2709172"/>
            </a:xfrm>
          </p:grpSpPr>
          <p:sp>
            <p:nvSpPr>
              <p:cNvPr id="96" name="Oval 95">
                <a:extLst>
                  <a:ext uri="{FF2B5EF4-FFF2-40B4-BE49-F238E27FC236}">
                    <a16:creationId xmlns:a16="http://schemas.microsoft.com/office/drawing/2014/main" id="{3CEFFC78-F999-B9E9-284C-1586DE438559}"/>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7" name="Freeform 96">
                <a:extLst>
                  <a:ext uri="{FF2B5EF4-FFF2-40B4-BE49-F238E27FC236}">
                    <a16:creationId xmlns:a16="http://schemas.microsoft.com/office/drawing/2014/main" id="{F200F3B7-231C-CF34-2CA2-8A84E014C522}"/>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90" name="Group 89">
              <a:extLst>
                <a:ext uri="{FF2B5EF4-FFF2-40B4-BE49-F238E27FC236}">
                  <a16:creationId xmlns:a16="http://schemas.microsoft.com/office/drawing/2014/main" id="{8889A68D-427E-E597-7251-1E596CA65F6A}"/>
                </a:ext>
              </a:extLst>
            </p:cNvPr>
            <p:cNvGrpSpPr/>
            <p:nvPr/>
          </p:nvGrpSpPr>
          <p:grpSpPr>
            <a:xfrm>
              <a:off x="8099938" y="2343533"/>
              <a:ext cx="3541199" cy="3541199"/>
              <a:chOff x="7752184" y="3067326"/>
              <a:chExt cx="2709172" cy="2709172"/>
            </a:xfrm>
          </p:grpSpPr>
          <p:sp>
            <p:nvSpPr>
              <p:cNvPr id="94" name="Oval 93">
                <a:extLst>
                  <a:ext uri="{FF2B5EF4-FFF2-40B4-BE49-F238E27FC236}">
                    <a16:creationId xmlns:a16="http://schemas.microsoft.com/office/drawing/2014/main" id="{E7BD4974-D5AD-D84B-1F11-D314C9109668}"/>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5" name="Freeform 94">
                <a:extLst>
                  <a:ext uri="{FF2B5EF4-FFF2-40B4-BE49-F238E27FC236}">
                    <a16:creationId xmlns:a16="http://schemas.microsoft.com/office/drawing/2014/main" id="{27B03874-91AD-B269-95FE-1E134C35D8D7}"/>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91" name="Group 90">
              <a:extLst>
                <a:ext uri="{FF2B5EF4-FFF2-40B4-BE49-F238E27FC236}">
                  <a16:creationId xmlns:a16="http://schemas.microsoft.com/office/drawing/2014/main" id="{32D3E273-5904-BD92-0B59-1488F79E5EE9}"/>
                </a:ext>
              </a:extLst>
            </p:cNvPr>
            <p:cNvGrpSpPr/>
            <p:nvPr/>
          </p:nvGrpSpPr>
          <p:grpSpPr>
            <a:xfrm>
              <a:off x="4325401" y="2343533"/>
              <a:ext cx="3541199" cy="3541199"/>
              <a:chOff x="4741414" y="1689100"/>
              <a:chExt cx="2709172" cy="2709172"/>
            </a:xfrm>
          </p:grpSpPr>
          <p:sp>
            <p:nvSpPr>
              <p:cNvPr id="92" name="Oval 91">
                <a:extLst>
                  <a:ext uri="{FF2B5EF4-FFF2-40B4-BE49-F238E27FC236}">
                    <a16:creationId xmlns:a16="http://schemas.microsoft.com/office/drawing/2014/main" id="{4FF66ECD-E019-AC11-782A-DAB7773AFFE9}"/>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3" name="Freeform 92">
                <a:extLst>
                  <a:ext uri="{FF2B5EF4-FFF2-40B4-BE49-F238E27FC236}">
                    <a16:creationId xmlns:a16="http://schemas.microsoft.com/office/drawing/2014/main" id="{27F9B042-AC97-3CE9-DA82-2DB42A1DCF15}"/>
                  </a:ext>
                </a:extLst>
              </p:cNvPr>
              <p:cNvSpPr/>
              <p:nvPr/>
            </p:nvSpPr>
            <p:spPr>
              <a:xfrm>
                <a:off x="4741448" y="2161629"/>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sp>
        <p:nvSpPr>
          <p:cNvPr id="98" name="Text Placeholder 49">
            <a:extLst>
              <a:ext uri="{FF2B5EF4-FFF2-40B4-BE49-F238E27FC236}">
                <a16:creationId xmlns:a16="http://schemas.microsoft.com/office/drawing/2014/main" id="{571D4D14-23F8-A182-5746-3F1ADFDFB4BB}"/>
              </a:ext>
            </a:extLst>
          </p:cNvPr>
          <p:cNvSpPr>
            <a:spLocks noGrp="1"/>
          </p:cNvSpPr>
          <p:nvPr>
            <p:ph type="body" sz="quarter" idx="74" hasCustomPrompt="1"/>
          </p:nvPr>
        </p:nvSpPr>
        <p:spPr>
          <a:xfrm>
            <a:off x="1735438"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99" name="Text Placeholder 49">
            <a:extLst>
              <a:ext uri="{FF2B5EF4-FFF2-40B4-BE49-F238E27FC236}">
                <a16:creationId xmlns:a16="http://schemas.microsoft.com/office/drawing/2014/main" id="{61D7CD2D-2E4B-A9CA-3740-93238B8F6E0C}"/>
              </a:ext>
            </a:extLst>
          </p:cNvPr>
          <p:cNvSpPr>
            <a:spLocks noGrp="1"/>
          </p:cNvSpPr>
          <p:nvPr>
            <p:ph type="body" sz="quarter" idx="75" hasCustomPrompt="1"/>
          </p:nvPr>
        </p:nvSpPr>
        <p:spPr>
          <a:xfrm>
            <a:off x="1735438"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0" name="Text Placeholder 49">
            <a:extLst>
              <a:ext uri="{FF2B5EF4-FFF2-40B4-BE49-F238E27FC236}">
                <a16:creationId xmlns:a16="http://schemas.microsoft.com/office/drawing/2014/main" id="{40713DBB-91D0-E556-A262-B28C61D1B570}"/>
              </a:ext>
            </a:extLst>
          </p:cNvPr>
          <p:cNvSpPr>
            <a:spLocks noGrp="1"/>
          </p:cNvSpPr>
          <p:nvPr>
            <p:ph type="body" sz="quarter" idx="76" hasCustomPrompt="1"/>
          </p:nvPr>
        </p:nvSpPr>
        <p:spPr>
          <a:xfrm>
            <a:off x="5334000" y="3205117"/>
            <a:ext cx="2226962" cy="238235"/>
          </a:xfrm>
        </p:spPr>
        <p:txBody>
          <a:bodyPr>
            <a:noAutofit/>
          </a:bodyPr>
          <a:lstStyle>
            <a:lvl1pPr algn="ctr">
              <a:defRPr sz="1600" b="1">
                <a:solidFill>
                  <a:schemeClr val="bg1"/>
                </a:solidFill>
              </a:defRPr>
            </a:lvl1pPr>
          </a:lstStyle>
          <a:p>
            <a:pPr lvl="0"/>
            <a:r>
              <a:rPr lang="en-US"/>
              <a:t>Lorem ipsum dolor</a:t>
            </a:r>
          </a:p>
        </p:txBody>
      </p:sp>
      <p:sp>
        <p:nvSpPr>
          <p:cNvPr id="101" name="Text Placeholder 49">
            <a:extLst>
              <a:ext uri="{FF2B5EF4-FFF2-40B4-BE49-F238E27FC236}">
                <a16:creationId xmlns:a16="http://schemas.microsoft.com/office/drawing/2014/main" id="{4D8D3453-DCDE-4E0A-ABE9-8F36EBAEC565}"/>
              </a:ext>
            </a:extLst>
          </p:cNvPr>
          <p:cNvSpPr>
            <a:spLocks noGrp="1"/>
          </p:cNvSpPr>
          <p:nvPr>
            <p:ph type="body" sz="quarter" idx="77" hasCustomPrompt="1"/>
          </p:nvPr>
        </p:nvSpPr>
        <p:spPr>
          <a:xfrm>
            <a:off x="5334000" y="3542889"/>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4" name="Text Placeholder 49">
            <a:extLst>
              <a:ext uri="{FF2B5EF4-FFF2-40B4-BE49-F238E27FC236}">
                <a16:creationId xmlns:a16="http://schemas.microsoft.com/office/drawing/2014/main" id="{304B3A9C-00C5-4F52-D60C-4A81421CB60B}"/>
              </a:ext>
            </a:extLst>
          </p:cNvPr>
          <p:cNvSpPr>
            <a:spLocks noGrp="1"/>
          </p:cNvSpPr>
          <p:nvPr>
            <p:ph type="body" sz="quarter" idx="78" hasCustomPrompt="1"/>
          </p:nvPr>
        </p:nvSpPr>
        <p:spPr>
          <a:xfrm>
            <a:off x="8942757"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105" name="Text Placeholder 49">
            <a:extLst>
              <a:ext uri="{FF2B5EF4-FFF2-40B4-BE49-F238E27FC236}">
                <a16:creationId xmlns:a16="http://schemas.microsoft.com/office/drawing/2014/main" id="{E8FD661D-D294-B74D-94DC-537FCE5703D9}"/>
              </a:ext>
            </a:extLst>
          </p:cNvPr>
          <p:cNvSpPr>
            <a:spLocks noGrp="1"/>
          </p:cNvSpPr>
          <p:nvPr>
            <p:ph type="body" sz="quarter" idx="79" hasCustomPrompt="1"/>
          </p:nvPr>
        </p:nvSpPr>
        <p:spPr>
          <a:xfrm>
            <a:off x="8942757"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364882758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our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5D568D05-1CC6-BDC6-29AB-4A636DF99405}"/>
              </a:ext>
            </a:extLst>
          </p:cNvPr>
          <p:cNvGrpSpPr/>
          <p:nvPr userDrawn="1">
            <p:custDataLst>
              <p:tags r:id="rId1"/>
            </p:custDataLst>
          </p:nvPr>
        </p:nvGrpSpPr>
        <p:grpSpPr>
          <a:xfrm>
            <a:off x="815976" y="2829010"/>
            <a:ext cx="10628834" cy="2596719"/>
            <a:chOff x="550863" y="2716558"/>
            <a:chExt cx="11089125" cy="2709172"/>
          </a:xfrm>
        </p:grpSpPr>
        <p:grpSp>
          <p:nvGrpSpPr>
            <p:cNvPr id="9" name="Group 8">
              <a:extLst>
                <a:ext uri="{FF2B5EF4-FFF2-40B4-BE49-F238E27FC236}">
                  <a16:creationId xmlns:a16="http://schemas.microsoft.com/office/drawing/2014/main" id="{C30DD33B-3EEF-F253-8DB3-68D80676032E}"/>
                </a:ext>
              </a:extLst>
            </p:cNvPr>
            <p:cNvGrpSpPr/>
            <p:nvPr/>
          </p:nvGrpSpPr>
          <p:grpSpPr>
            <a:xfrm>
              <a:off x="550863" y="2716558"/>
              <a:ext cx="2709172" cy="2709172"/>
              <a:chOff x="1703512" y="3068960"/>
              <a:chExt cx="2709172" cy="2709172"/>
            </a:xfrm>
          </p:grpSpPr>
          <p:sp>
            <p:nvSpPr>
              <p:cNvPr id="25" name="Oval 24">
                <a:extLst>
                  <a:ext uri="{FF2B5EF4-FFF2-40B4-BE49-F238E27FC236}">
                    <a16:creationId xmlns:a16="http://schemas.microsoft.com/office/drawing/2014/main" id="{C9309ADA-466F-AEF4-2CB9-01E4D033B368}"/>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6" name="Freeform 25">
                <a:extLst>
                  <a:ext uri="{FF2B5EF4-FFF2-40B4-BE49-F238E27FC236}">
                    <a16:creationId xmlns:a16="http://schemas.microsoft.com/office/drawing/2014/main" id="{52D71E61-B86C-E54E-F05A-83882E3F5561}"/>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10" name="Group 9">
              <a:extLst>
                <a:ext uri="{FF2B5EF4-FFF2-40B4-BE49-F238E27FC236}">
                  <a16:creationId xmlns:a16="http://schemas.microsoft.com/office/drawing/2014/main" id="{779E4D83-E09A-D84B-2C85-B11FBCB242AA}"/>
                </a:ext>
              </a:extLst>
            </p:cNvPr>
            <p:cNvGrpSpPr/>
            <p:nvPr/>
          </p:nvGrpSpPr>
          <p:grpSpPr>
            <a:xfrm>
              <a:off x="6137499" y="2716558"/>
              <a:ext cx="2709172" cy="2709172"/>
              <a:chOff x="7752184" y="3067326"/>
              <a:chExt cx="2709172" cy="2709172"/>
            </a:xfrm>
          </p:grpSpPr>
          <p:sp>
            <p:nvSpPr>
              <p:cNvPr id="23" name="Oval 22">
                <a:extLst>
                  <a:ext uri="{FF2B5EF4-FFF2-40B4-BE49-F238E27FC236}">
                    <a16:creationId xmlns:a16="http://schemas.microsoft.com/office/drawing/2014/main" id="{5368A6CA-F3FD-7E61-8070-899BE43203CD}"/>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5A487362-9377-9271-3B80-A8A9842B5232}"/>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16" name="Group 15">
              <a:extLst>
                <a:ext uri="{FF2B5EF4-FFF2-40B4-BE49-F238E27FC236}">
                  <a16:creationId xmlns:a16="http://schemas.microsoft.com/office/drawing/2014/main" id="{423E33F0-3799-1D35-77A5-926C78E45F30}"/>
                </a:ext>
              </a:extLst>
            </p:cNvPr>
            <p:cNvGrpSpPr/>
            <p:nvPr/>
          </p:nvGrpSpPr>
          <p:grpSpPr>
            <a:xfrm>
              <a:off x="3344181" y="2716558"/>
              <a:ext cx="2709172" cy="2709172"/>
              <a:chOff x="4741414" y="1689100"/>
              <a:chExt cx="2709172" cy="2709172"/>
            </a:xfrm>
          </p:grpSpPr>
          <p:sp>
            <p:nvSpPr>
              <p:cNvPr id="21" name="Oval 20">
                <a:extLst>
                  <a:ext uri="{FF2B5EF4-FFF2-40B4-BE49-F238E27FC236}">
                    <a16:creationId xmlns:a16="http://schemas.microsoft.com/office/drawing/2014/main" id="{E609FEA0-889D-8AED-4CFE-635C53665FDE}"/>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B1EA09F2-0C0B-80F1-3032-B48287307B4E}"/>
                  </a:ext>
                </a:extLst>
              </p:cNvPr>
              <p:cNvSpPr/>
              <p:nvPr/>
            </p:nvSpPr>
            <p:spPr>
              <a:xfrm>
                <a:off x="4744419" y="215646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nvGrpSpPr>
            <p:cNvPr id="17" name="Group 16">
              <a:extLst>
                <a:ext uri="{FF2B5EF4-FFF2-40B4-BE49-F238E27FC236}">
                  <a16:creationId xmlns:a16="http://schemas.microsoft.com/office/drawing/2014/main" id="{E2F105EF-152C-3194-0777-0A279C93C7BE}"/>
                </a:ext>
              </a:extLst>
            </p:cNvPr>
            <p:cNvGrpSpPr/>
            <p:nvPr/>
          </p:nvGrpSpPr>
          <p:grpSpPr>
            <a:xfrm>
              <a:off x="8930518" y="2716558"/>
              <a:ext cx="2709470" cy="2709172"/>
              <a:chOff x="4741116" y="1689100"/>
              <a:chExt cx="2709470" cy="2709172"/>
            </a:xfrm>
          </p:grpSpPr>
          <p:sp>
            <p:nvSpPr>
              <p:cNvPr id="18" name="Oval 17">
                <a:extLst>
                  <a:ext uri="{FF2B5EF4-FFF2-40B4-BE49-F238E27FC236}">
                    <a16:creationId xmlns:a16="http://schemas.microsoft.com/office/drawing/2014/main" id="{A100FDDA-2572-60E9-0A12-5E112C5AA870}"/>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B3760E66-B127-49B2-CF3C-B1805C7CEAB3}"/>
                  </a:ext>
                </a:extLst>
              </p:cNvPr>
              <p:cNvSpPr/>
              <p:nvPr/>
            </p:nvSpPr>
            <p:spPr>
              <a:xfrm>
                <a:off x="4741116" y="215739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grpSp>
      </p:grpSp>
      <p:sp>
        <p:nvSpPr>
          <p:cNvPr id="27" name="Text Placeholder 49">
            <a:extLst>
              <a:ext uri="{FF2B5EF4-FFF2-40B4-BE49-F238E27FC236}">
                <a16:creationId xmlns:a16="http://schemas.microsoft.com/office/drawing/2014/main" id="{6CA232C7-5965-4D0B-55C5-AB6D6B6C194A}"/>
              </a:ext>
            </a:extLst>
          </p:cNvPr>
          <p:cNvSpPr>
            <a:spLocks noGrp="1"/>
          </p:cNvSpPr>
          <p:nvPr>
            <p:ph type="body" sz="quarter" idx="74" hasCustomPrompt="1"/>
          </p:nvPr>
        </p:nvSpPr>
        <p:spPr>
          <a:xfrm>
            <a:off x="1522611"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FE9ECF06-0C21-57F1-EB90-E10C31D88A18}"/>
              </a:ext>
            </a:extLst>
          </p:cNvPr>
          <p:cNvSpPr>
            <a:spLocks noGrp="1"/>
          </p:cNvSpPr>
          <p:nvPr>
            <p:ph type="body" sz="quarter" idx="75" hasCustomPrompt="1"/>
          </p:nvPr>
        </p:nvSpPr>
        <p:spPr>
          <a:xfrm>
            <a:off x="1522611"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9ABF9AD9-B7D5-53F3-E223-B3FC95C80D58}"/>
              </a:ext>
            </a:extLst>
          </p:cNvPr>
          <p:cNvSpPr>
            <a:spLocks noGrp="1"/>
          </p:cNvSpPr>
          <p:nvPr>
            <p:ph type="body" sz="quarter" idx="76" hasCustomPrompt="1"/>
          </p:nvPr>
        </p:nvSpPr>
        <p:spPr>
          <a:xfrm>
            <a:off x="4207072"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EB175A93-5B2A-B2A1-ADA0-BDF90303EF4E}"/>
              </a:ext>
            </a:extLst>
          </p:cNvPr>
          <p:cNvSpPr>
            <a:spLocks noGrp="1"/>
          </p:cNvSpPr>
          <p:nvPr>
            <p:ph type="body" sz="quarter" idx="77" hasCustomPrompt="1"/>
          </p:nvPr>
        </p:nvSpPr>
        <p:spPr>
          <a:xfrm>
            <a:off x="4207072"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24ED67CC-8D40-D99A-6209-10714E2030BD}"/>
              </a:ext>
            </a:extLst>
          </p:cNvPr>
          <p:cNvSpPr>
            <a:spLocks noGrp="1"/>
          </p:cNvSpPr>
          <p:nvPr>
            <p:ph type="body" sz="quarter" idx="78" hasCustomPrompt="1"/>
          </p:nvPr>
        </p:nvSpPr>
        <p:spPr>
          <a:xfrm>
            <a:off x="6884158"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3279C1A5-9FAE-58C9-9DB5-9968C714D772}"/>
              </a:ext>
            </a:extLst>
          </p:cNvPr>
          <p:cNvSpPr>
            <a:spLocks noGrp="1"/>
          </p:cNvSpPr>
          <p:nvPr>
            <p:ph type="body" sz="quarter" idx="79" hasCustomPrompt="1"/>
          </p:nvPr>
        </p:nvSpPr>
        <p:spPr>
          <a:xfrm>
            <a:off x="6884158"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83C0F080-8015-AB42-3977-CC3B859AF0A1}"/>
              </a:ext>
            </a:extLst>
          </p:cNvPr>
          <p:cNvSpPr>
            <a:spLocks noGrp="1"/>
          </p:cNvSpPr>
          <p:nvPr>
            <p:ph type="body" sz="quarter" idx="80" hasCustomPrompt="1"/>
          </p:nvPr>
        </p:nvSpPr>
        <p:spPr>
          <a:xfrm>
            <a:off x="9561529"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1BCE9A3D-2D19-D602-DF64-9BAA63C5F590}"/>
              </a:ext>
            </a:extLst>
          </p:cNvPr>
          <p:cNvSpPr>
            <a:spLocks noGrp="1"/>
          </p:cNvSpPr>
          <p:nvPr>
            <p:ph type="body" sz="quarter" idx="81" hasCustomPrompt="1"/>
          </p:nvPr>
        </p:nvSpPr>
        <p:spPr>
          <a:xfrm>
            <a:off x="9561529"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24984696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iv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iv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E89FA00A-36B3-2CEE-AF63-82B50483854C}"/>
              </a:ext>
            </a:extLst>
          </p:cNvPr>
          <p:cNvGrpSpPr/>
          <p:nvPr userDrawn="1"/>
        </p:nvGrpSpPr>
        <p:grpSpPr>
          <a:xfrm>
            <a:off x="815976" y="1868488"/>
            <a:ext cx="10656988" cy="4413920"/>
            <a:chOff x="550863" y="1859809"/>
            <a:chExt cx="11090275" cy="4593379"/>
          </a:xfrm>
        </p:grpSpPr>
        <p:sp>
          <p:nvSpPr>
            <p:cNvPr id="9" name="Oval 8">
              <a:extLst>
                <a:ext uri="{FF2B5EF4-FFF2-40B4-BE49-F238E27FC236}">
                  <a16:creationId xmlns:a16="http://schemas.microsoft.com/office/drawing/2014/main" id="{F3AFBB32-FD81-64B0-BC9D-D4169E5A5974}"/>
                </a:ext>
              </a:extLst>
            </p:cNvPr>
            <p:cNvSpPr/>
            <p:nvPr/>
          </p:nvSpPr>
          <p:spPr>
            <a:xfrm>
              <a:off x="550863"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0" name="Freeform 9">
              <a:extLst>
                <a:ext uri="{FF2B5EF4-FFF2-40B4-BE49-F238E27FC236}">
                  <a16:creationId xmlns:a16="http://schemas.microsoft.com/office/drawing/2014/main" id="{C0A84A66-255E-7D04-A51F-6CF9167C2342}"/>
                </a:ext>
              </a:extLst>
            </p:cNvPr>
            <p:cNvSpPr/>
            <p:nvPr/>
          </p:nvSpPr>
          <p:spPr>
            <a:xfrm>
              <a:off x="550863"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sp>
          <p:nvSpPr>
            <p:cNvPr id="16" name="Oval 15">
              <a:extLst>
                <a:ext uri="{FF2B5EF4-FFF2-40B4-BE49-F238E27FC236}">
                  <a16:creationId xmlns:a16="http://schemas.microsoft.com/office/drawing/2014/main" id="{9E37F8D3-42E2-4050-511B-F67FA5F20E77}"/>
                </a:ext>
              </a:extLst>
            </p:cNvPr>
            <p:cNvSpPr/>
            <p:nvPr/>
          </p:nvSpPr>
          <p:spPr>
            <a:xfrm>
              <a:off x="4741415" y="3742382"/>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7" name="Freeform 16">
              <a:extLst>
                <a:ext uri="{FF2B5EF4-FFF2-40B4-BE49-F238E27FC236}">
                  <a16:creationId xmlns:a16="http://schemas.microsoft.com/office/drawing/2014/main" id="{775C6648-8363-DD8C-31B2-B3C91ACB86F3}"/>
                </a:ext>
              </a:extLst>
            </p:cNvPr>
            <p:cNvSpPr/>
            <p:nvPr/>
          </p:nvSpPr>
          <p:spPr>
            <a:xfrm>
              <a:off x="4741415"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sp>
          <p:nvSpPr>
            <p:cNvPr id="18" name="Oval 17">
              <a:extLst>
                <a:ext uri="{FF2B5EF4-FFF2-40B4-BE49-F238E27FC236}">
                  <a16:creationId xmlns:a16="http://schemas.microsoft.com/office/drawing/2014/main" id="{A3D9C885-1DD4-F08D-B6DF-BF20BD0FDE55}"/>
                </a:ext>
              </a:extLst>
            </p:cNvPr>
            <p:cNvSpPr/>
            <p:nvPr/>
          </p:nvSpPr>
          <p:spPr>
            <a:xfrm>
              <a:off x="2646139"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FEDAEAAD-8070-88F7-EAB6-5FEE005CA068}"/>
                </a:ext>
              </a:extLst>
            </p:cNvPr>
            <p:cNvSpPr/>
            <p:nvPr/>
          </p:nvSpPr>
          <p:spPr>
            <a:xfrm>
              <a:off x="2649227"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sp>
          <p:nvSpPr>
            <p:cNvPr id="21" name="Oval 20">
              <a:extLst>
                <a:ext uri="{FF2B5EF4-FFF2-40B4-BE49-F238E27FC236}">
                  <a16:creationId xmlns:a16="http://schemas.microsoft.com/office/drawing/2014/main" id="{6F79A4DD-9A48-A358-8F6A-5788D6CBC781}"/>
                </a:ext>
              </a:extLst>
            </p:cNvPr>
            <p:cNvSpPr/>
            <p:nvPr/>
          </p:nvSpPr>
          <p:spPr>
            <a:xfrm>
              <a:off x="6836691"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C64E2125-3F79-F249-E7CD-66DDA2AC17C5}"/>
                </a:ext>
              </a:extLst>
            </p:cNvPr>
            <p:cNvSpPr/>
            <p:nvPr/>
          </p:nvSpPr>
          <p:spPr>
            <a:xfrm>
              <a:off x="6839779"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sp>
          <p:nvSpPr>
            <p:cNvPr id="23" name="Oval 22">
              <a:extLst>
                <a:ext uri="{FF2B5EF4-FFF2-40B4-BE49-F238E27FC236}">
                  <a16:creationId xmlns:a16="http://schemas.microsoft.com/office/drawing/2014/main" id="{934361DF-C74E-159C-F0BB-CD42F96D2B43}"/>
                </a:ext>
              </a:extLst>
            </p:cNvPr>
            <p:cNvSpPr/>
            <p:nvPr/>
          </p:nvSpPr>
          <p:spPr>
            <a:xfrm>
              <a:off x="8931966"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08067F68-7D54-7FB1-C6E3-F9EC10AAA316}"/>
                </a:ext>
              </a:extLst>
            </p:cNvPr>
            <p:cNvSpPr/>
            <p:nvPr/>
          </p:nvSpPr>
          <p:spPr>
            <a:xfrm>
              <a:off x="8931966"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solidFill>
                    <a:schemeClr val="bg1"/>
                  </a:solidFill>
                </a:rPr>
                <a:t>05</a:t>
              </a:r>
              <a:endParaRPr lang="en-US" sz="1400" b="1">
                <a:solidFill>
                  <a:schemeClr val="bg1"/>
                </a:solidFill>
              </a:endParaRPr>
            </a:p>
          </p:txBody>
        </p:sp>
      </p:grpSp>
      <p:sp>
        <p:nvSpPr>
          <p:cNvPr id="25" name="Text Placeholder 49">
            <a:extLst>
              <a:ext uri="{FF2B5EF4-FFF2-40B4-BE49-F238E27FC236}">
                <a16:creationId xmlns:a16="http://schemas.microsoft.com/office/drawing/2014/main" id="{DEEB9827-7ADD-A0F8-25EC-E99372CA0905}"/>
              </a:ext>
            </a:extLst>
          </p:cNvPr>
          <p:cNvSpPr>
            <a:spLocks noGrp="1"/>
          </p:cNvSpPr>
          <p:nvPr>
            <p:ph type="body" sz="quarter" idx="74" hasCustomPrompt="1"/>
          </p:nvPr>
        </p:nvSpPr>
        <p:spPr>
          <a:xfrm>
            <a:off x="3537038" y="2514600"/>
            <a:ext cx="1722280" cy="183643"/>
          </a:xfrm>
        </p:spPr>
        <p:txBody>
          <a:bodyPr>
            <a:normAutofit/>
          </a:bodyPr>
          <a:lstStyle>
            <a:lvl1pPr algn="ctr">
              <a:defRPr sz="1200" b="1">
                <a:solidFill>
                  <a:schemeClr val="bg1"/>
                </a:solidFill>
              </a:defRPr>
            </a:lvl1pPr>
          </a:lstStyle>
          <a:p>
            <a:pPr lvl="0"/>
            <a:r>
              <a:rPr lang="en-US"/>
              <a:t>Lorem ipsum dolor</a:t>
            </a:r>
          </a:p>
        </p:txBody>
      </p:sp>
      <p:sp>
        <p:nvSpPr>
          <p:cNvPr id="26" name="Text Placeholder 49">
            <a:extLst>
              <a:ext uri="{FF2B5EF4-FFF2-40B4-BE49-F238E27FC236}">
                <a16:creationId xmlns:a16="http://schemas.microsoft.com/office/drawing/2014/main" id="{9E0D1F3E-3FE3-24C8-0C13-4D3EEDB346AC}"/>
              </a:ext>
            </a:extLst>
          </p:cNvPr>
          <p:cNvSpPr>
            <a:spLocks noGrp="1"/>
          </p:cNvSpPr>
          <p:nvPr>
            <p:ph type="body" sz="quarter" idx="75" hasCustomPrompt="1"/>
          </p:nvPr>
        </p:nvSpPr>
        <p:spPr>
          <a:xfrm>
            <a:off x="3537038" y="280741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7" name="Text Placeholder 49">
            <a:extLst>
              <a:ext uri="{FF2B5EF4-FFF2-40B4-BE49-F238E27FC236}">
                <a16:creationId xmlns:a16="http://schemas.microsoft.com/office/drawing/2014/main" id="{03B66352-E567-CB12-9381-9D2DA529C85B}"/>
              </a:ext>
            </a:extLst>
          </p:cNvPr>
          <p:cNvSpPr>
            <a:spLocks noGrp="1"/>
          </p:cNvSpPr>
          <p:nvPr>
            <p:ph type="body" sz="quarter" idx="76" hasCustomPrompt="1"/>
          </p:nvPr>
        </p:nvSpPr>
        <p:spPr>
          <a:xfrm>
            <a:off x="5544851" y="4427255"/>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247A7AED-DDC6-AD64-86A1-54A7CA0FC464}"/>
              </a:ext>
            </a:extLst>
          </p:cNvPr>
          <p:cNvSpPr>
            <a:spLocks noGrp="1"/>
          </p:cNvSpPr>
          <p:nvPr>
            <p:ph type="body" sz="quarter" idx="77" hasCustomPrompt="1"/>
          </p:nvPr>
        </p:nvSpPr>
        <p:spPr>
          <a:xfrm>
            <a:off x="5544851" y="4720070"/>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D09B0CCF-3C79-B967-C48F-CAF8012E3D56}"/>
              </a:ext>
            </a:extLst>
          </p:cNvPr>
          <p:cNvSpPr>
            <a:spLocks noGrp="1"/>
          </p:cNvSpPr>
          <p:nvPr>
            <p:ph type="body" sz="quarter" idx="78" hasCustomPrompt="1"/>
          </p:nvPr>
        </p:nvSpPr>
        <p:spPr>
          <a:xfrm>
            <a:off x="7563869" y="2519654"/>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9E8A228E-D940-D534-7617-5143E9AE665D}"/>
              </a:ext>
            </a:extLst>
          </p:cNvPr>
          <p:cNvSpPr>
            <a:spLocks noGrp="1"/>
          </p:cNvSpPr>
          <p:nvPr>
            <p:ph type="body" sz="quarter" idx="79" hasCustomPrompt="1"/>
          </p:nvPr>
        </p:nvSpPr>
        <p:spPr>
          <a:xfrm>
            <a:off x="7563869" y="281246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69D19286-5D7E-ACD1-7F62-98802CD3F95E}"/>
              </a:ext>
            </a:extLst>
          </p:cNvPr>
          <p:cNvSpPr>
            <a:spLocks noGrp="1"/>
          </p:cNvSpPr>
          <p:nvPr>
            <p:ph type="body" sz="quarter" idx="80" hasCustomPrompt="1"/>
          </p:nvPr>
        </p:nvSpPr>
        <p:spPr>
          <a:xfrm>
            <a:off x="9566466"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E9E8745B-1797-E835-9919-525F2C2AE092}"/>
              </a:ext>
            </a:extLst>
          </p:cNvPr>
          <p:cNvSpPr>
            <a:spLocks noGrp="1"/>
          </p:cNvSpPr>
          <p:nvPr>
            <p:ph type="body" sz="quarter" idx="81" hasCustomPrompt="1"/>
          </p:nvPr>
        </p:nvSpPr>
        <p:spPr>
          <a:xfrm>
            <a:off x="9566466"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4C288387-77A2-5C0D-774C-8D6CFA10ADAD}"/>
              </a:ext>
            </a:extLst>
          </p:cNvPr>
          <p:cNvSpPr>
            <a:spLocks noGrp="1"/>
          </p:cNvSpPr>
          <p:nvPr>
            <p:ph type="body" sz="quarter" idx="82" hasCustomPrompt="1"/>
          </p:nvPr>
        </p:nvSpPr>
        <p:spPr>
          <a:xfrm>
            <a:off x="1525107"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767D65E4-F896-DA48-DBE3-B4C9C8B3B481}"/>
              </a:ext>
            </a:extLst>
          </p:cNvPr>
          <p:cNvSpPr>
            <a:spLocks noGrp="1"/>
          </p:cNvSpPr>
          <p:nvPr>
            <p:ph type="body" sz="quarter" idx="83" hasCustomPrompt="1"/>
          </p:nvPr>
        </p:nvSpPr>
        <p:spPr>
          <a:xfrm>
            <a:off x="1525107"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76227543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1FE31BF3-CCB3-0476-E671-E61F6C4B8D39}"/>
              </a:ext>
            </a:extLst>
          </p:cNvPr>
          <p:cNvGrpSpPr/>
          <p:nvPr userDrawn="1">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a:defRPr sz="800"/>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a:defRPr sz="800"/>
            </a:lvl1pPr>
          </a:lstStyle>
          <a:p>
            <a:r>
              <a:rPr lang="en-US"/>
              <a:t>Click icon to add picture</a:t>
            </a:r>
          </a:p>
        </p:txBody>
      </p:sp>
      <p:sp>
        <p:nvSpPr>
          <p:cNvPr id="30" name="Text Placeholder 49">
            <a:extLst>
              <a:ext uri="{FF2B5EF4-FFF2-40B4-BE49-F238E27FC236}">
                <a16:creationId xmlns:a16="http://schemas.microsoft.com/office/drawing/2014/main" id="{9A45610E-0514-298A-946B-221F2B90BEEB}"/>
              </a:ext>
            </a:extLst>
          </p:cNvPr>
          <p:cNvSpPr>
            <a:spLocks noGrp="1"/>
          </p:cNvSpPr>
          <p:nvPr>
            <p:ph type="body" sz="quarter" idx="55" hasCustomPrompt="1"/>
          </p:nvPr>
        </p:nvSpPr>
        <p:spPr>
          <a:xfrm>
            <a:off x="967438" y="3275733"/>
            <a:ext cx="4823761"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algn="ctr">
              <a:defRPr sz="14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0DCBCC06-4032-201E-9B9A-D4399A75E079}"/>
              </a:ext>
            </a:extLst>
          </p:cNvPr>
          <p:cNvSpPr>
            <a:spLocks noGrp="1"/>
          </p:cNvSpPr>
          <p:nvPr>
            <p:ph type="body" sz="quarter" idx="59" hasCustomPrompt="1"/>
          </p:nvPr>
        </p:nvSpPr>
        <p:spPr>
          <a:xfrm>
            <a:off x="6524455" y="3275733"/>
            <a:ext cx="4700106"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524454" y="3023170"/>
            <a:ext cx="4700106"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357276093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our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squar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6524454" y="247441"/>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28" name="Group 27">
            <a:extLst>
              <a:ext uri="{FF2B5EF4-FFF2-40B4-BE49-F238E27FC236}">
                <a16:creationId xmlns:a16="http://schemas.microsoft.com/office/drawing/2014/main" id="{23D23077-067B-355F-A19A-785EDFC78D28}"/>
              </a:ext>
            </a:extLst>
          </p:cNvPr>
          <p:cNvGrpSpPr/>
          <p:nvPr/>
        </p:nvGrpSpPr>
        <p:grpSpPr>
          <a:xfrm>
            <a:off x="3595583" y="1749278"/>
            <a:ext cx="2640725" cy="4499121"/>
            <a:chOff x="550863" y="1689100"/>
            <a:chExt cx="3563625" cy="4764088"/>
          </a:xfrm>
        </p:grpSpPr>
        <p:sp>
          <p:nvSpPr>
            <p:cNvPr id="30" name="Rounded Rectangle 29">
              <a:extLst>
                <a:ext uri="{FF2B5EF4-FFF2-40B4-BE49-F238E27FC236}">
                  <a16:creationId xmlns:a16="http://schemas.microsoft.com/office/drawing/2014/main" id="{608C5F4C-B2B7-0701-0856-8A66F5728E7C}"/>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Freeform 30">
              <a:extLst>
                <a:ext uri="{FF2B5EF4-FFF2-40B4-BE49-F238E27FC236}">
                  <a16:creationId xmlns:a16="http://schemas.microsoft.com/office/drawing/2014/main" id="{C8BC7858-0F20-EDCE-2CFE-C0106D308EC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3" name="Group 32">
            <a:extLst>
              <a:ext uri="{FF2B5EF4-FFF2-40B4-BE49-F238E27FC236}">
                <a16:creationId xmlns:a16="http://schemas.microsoft.com/office/drawing/2014/main" id="{AD5B8053-4E75-4399-C82F-E3F4661DB607}"/>
              </a:ext>
            </a:extLst>
          </p:cNvPr>
          <p:cNvGrpSpPr/>
          <p:nvPr/>
        </p:nvGrpSpPr>
        <p:grpSpPr>
          <a:xfrm>
            <a:off x="6372183" y="1749278"/>
            <a:ext cx="2640725" cy="4499121"/>
            <a:chOff x="550863" y="1689100"/>
            <a:chExt cx="3563625" cy="4764088"/>
          </a:xfrm>
        </p:grpSpPr>
        <p:sp>
          <p:nvSpPr>
            <p:cNvPr id="35" name="Rounded Rectangle 34">
              <a:extLst>
                <a:ext uri="{FF2B5EF4-FFF2-40B4-BE49-F238E27FC236}">
                  <a16:creationId xmlns:a16="http://schemas.microsoft.com/office/drawing/2014/main" id="{F12A0933-3646-E53F-0280-017B6BDFEC95}"/>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6" name="Freeform 35">
              <a:extLst>
                <a:ext uri="{FF2B5EF4-FFF2-40B4-BE49-F238E27FC236}">
                  <a16:creationId xmlns:a16="http://schemas.microsoft.com/office/drawing/2014/main" id="{8206766B-97D4-A9D0-6594-037F969AEEB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8" name="Group 37">
            <a:extLst>
              <a:ext uri="{FF2B5EF4-FFF2-40B4-BE49-F238E27FC236}">
                <a16:creationId xmlns:a16="http://schemas.microsoft.com/office/drawing/2014/main" id="{6B46A026-965D-14E1-C61A-17C36E5254F5}"/>
              </a:ext>
            </a:extLst>
          </p:cNvPr>
          <p:cNvGrpSpPr/>
          <p:nvPr/>
        </p:nvGrpSpPr>
        <p:grpSpPr>
          <a:xfrm>
            <a:off x="9115383" y="1749278"/>
            <a:ext cx="2640725" cy="4499121"/>
            <a:chOff x="550863" y="1689100"/>
            <a:chExt cx="3563625" cy="4764088"/>
          </a:xfrm>
        </p:grpSpPr>
        <p:sp>
          <p:nvSpPr>
            <p:cNvPr id="40" name="Rounded Rectangle 39">
              <a:extLst>
                <a:ext uri="{FF2B5EF4-FFF2-40B4-BE49-F238E27FC236}">
                  <a16:creationId xmlns:a16="http://schemas.microsoft.com/office/drawing/2014/main" id="{9C02F54B-1591-4B69-7F9C-D4E464B48D93}"/>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Freeform 40">
              <a:extLst>
                <a:ext uri="{FF2B5EF4-FFF2-40B4-BE49-F238E27FC236}">
                  <a16:creationId xmlns:a16="http://schemas.microsoft.com/office/drawing/2014/main" id="{18F80DC1-3986-92AA-96C5-0DE8A3E4621B}"/>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43" name="Group 42">
            <a:extLst>
              <a:ext uri="{FF2B5EF4-FFF2-40B4-BE49-F238E27FC236}">
                <a16:creationId xmlns:a16="http://schemas.microsoft.com/office/drawing/2014/main" id="{E117BD00-D8B4-10C9-2298-26D36C50CFCB}"/>
              </a:ext>
            </a:extLst>
          </p:cNvPr>
          <p:cNvGrpSpPr/>
          <p:nvPr/>
        </p:nvGrpSpPr>
        <p:grpSpPr>
          <a:xfrm>
            <a:off x="814558" y="1749278"/>
            <a:ext cx="2640725" cy="4499121"/>
            <a:chOff x="550863" y="1689100"/>
            <a:chExt cx="3563625" cy="4764088"/>
          </a:xfrm>
        </p:grpSpPr>
        <p:sp>
          <p:nvSpPr>
            <p:cNvPr id="45" name="Rounded Rectangle 44">
              <a:extLst>
                <a:ext uri="{FF2B5EF4-FFF2-40B4-BE49-F238E27FC236}">
                  <a16:creationId xmlns:a16="http://schemas.microsoft.com/office/drawing/2014/main" id="{CD49B2D2-AF50-CA7C-1E82-37436754D389}"/>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6" name="Freeform 45">
              <a:extLst>
                <a:ext uri="{FF2B5EF4-FFF2-40B4-BE49-F238E27FC236}">
                  <a16:creationId xmlns:a16="http://schemas.microsoft.com/office/drawing/2014/main" id="{B1450038-70C7-1C56-541F-2B98802CE28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47" name="Picture Placeholder 9">
            <a:extLst>
              <a:ext uri="{FF2B5EF4-FFF2-40B4-BE49-F238E27FC236}">
                <a16:creationId xmlns:a16="http://schemas.microsoft.com/office/drawing/2014/main" id="{8B5F629A-676B-0B8A-3F7B-9A19500236D1}"/>
              </a:ext>
            </a:extLst>
          </p:cNvPr>
          <p:cNvSpPr>
            <a:spLocks noGrp="1"/>
          </p:cNvSpPr>
          <p:nvPr>
            <p:ph type="pic" sz="quarter" idx="19"/>
          </p:nvPr>
        </p:nvSpPr>
        <p:spPr>
          <a:xfrm>
            <a:off x="1752600" y="1892238"/>
            <a:ext cx="730250" cy="730250"/>
          </a:xfrm>
        </p:spPr>
        <p:txBody>
          <a:bodyPr>
            <a:normAutofit/>
          </a:bodyPr>
          <a:lstStyle>
            <a:lvl1pPr>
              <a:defRPr sz="800"/>
            </a:lvl1pPr>
          </a:lstStyle>
          <a:p>
            <a:r>
              <a:rPr lang="en-US"/>
              <a:t>Click icon to add picture</a:t>
            </a:r>
          </a:p>
        </p:txBody>
      </p:sp>
      <p:sp>
        <p:nvSpPr>
          <p:cNvPr id="48" name="Picture Placeholder 9">
            <a:extLst>
              <a:ext uri="{FF2B5EF4-FFF2-40B4-BE49-F238E27FC236}">
                <a16:creationId xmlns:a16="http://schemas.microsoft.com/office/drawing/2014/main" id="{92BDB2D9-C349-2E3C-CEC5-89A5F72EA62A}"/>
              </a:ext>
            </a:extLst>
          </p:cNvPr>
          <p:cNvSpPr>
            <a:spLocks noGrp="1"/>
          </p:cNvSpPr>
          <p:nvPr>
            <p:ph type="pic" sz="quarter" idx="20"/>
          </p:nvPr>
        </p:nvSpPr>
        <p:spPr>
          <a:xfrm>
            <a:off x="4550820" y="1892238"/>
            <a:ext cx="730250" cy="730250"/>
          </a:xfrm>
        </p:spPr>
        <p:txBody>
          <a:bodyPr>
            <a:normAutofit/>
          </a:bodyPr>
          <a:lstStyle>
            <a:lvl1pPr>
              <a:defRPr sz="800"/>
            </a:lvl1pPr>
          </a:lstStyle>
          <a:p>
            <a:r>
              <a:rPr lang="en-US"/>
              <a:t>Click icon to add picture</a:t>
            </a:r>
          </a:p>
        </p:txBody>
      </p:sp>
      <p:sp>
        <p:nvSpPr>
          <p:cNvPr id="49" name="Picture Placeholder 9">
            <a:extLst>
              <a:ext uri="{FF2B5EF4-FFF2-40B4-BE49-F238E27FC236}">
                <a16:creationId xmlns:a16="http://schemas.microsoft.com/office/drawing/2014/main" id="{1DA535B3-C9C2-B740-88B6-2C47E75161FF}"/>
              </a:ext>
            </a:extLst>
          </p:cNvPr>
          <p:cNvSpPr>
            <a:spLocks noGrp="1"/>
          </p:cNvSpPr>
          <p:nvPr>
            <p:ph type="pic" sz="quarter" idx="21"/>
          </p:nvPr>
        </p:nvSpPr>
        <p:spPr>
          <a:xfrm>
            <a:off x="7327420" y="1892238"/>
            <a:ext cx="730250" cy="730250"/>
          </a:xfrm>
        </p:spPr>
        <p:txBody>
          <a:bodyPr>
            <a:normAutofit/>
          </a:bodyPr>
          <a:lstStyle>
            <a:lvl1pPr>
              <a:defRPr sz="800"/>
            </a:lvl1pPr>
          </a:lstStyle>
          <a:p>
            <a:r>
              <a:rPr lang="en-US"/>
              <a:t>Click icon to add picture</a:t>
            </a:r>
          </a:p>
        </p:txBody>
      </p:sp>
      <p:sp>
        <p:nvSpPr>
          <p:cNvPr id="50" name="Picture Placeholder 9">
            <a:extLst>
              <a:ext uri="{FF2B5EF4-FFF2-40B4-BE49-F238E27FC236}">
                <a16:creationId xmlns:a16="http://schemas.microsoft.com/office/drawing/2014/main" id="{E66525DC-C554-D9E5-3453-7FF8251B7EE9}"/>
              </a:ext>
            </a:extLst>
          </p:cNvPr>
          <p:cNvSpPr>
            <a:spLocks noGrp="1"/>
          </p:cNvSpPr>
          <p:nvPr>
            <p:ph type="pic" sz="quarter" idx="22"/>
          </p:nvPr>
        </p:nvSpPr>
        <p:spPr>
          <a:xfrm>
            <a:off x="10070620" y="1890781"/>
            <a:ext cx="730250" cy="730250"/>
          </a:xfrm>
        </p:spPr>
        <p:txBody>
          <a:bodyPr>
            <a:normAutofit/>
          </a:bodyPr>
          <a:lstStyle>
            <a:lvl1pPr>
              <a:defRPr sz="800"/>
            </a:lvl1pPr>
          </a:lstStyle>
          <a:p>
            <a:r>
              <a:rPr lang="en-US"/>
              <a:t>Click icon to add picture</a:t>
            </a:r>
          </a:p>
        </p:txBody>
      </p:sp>
      <p:sp>
        <p:nvSpPr>
          <p:cNvPr id="53" name="Text Placeholder 49">
            <a:extLst>
              <a:ext uri="{FF2B5EF4-FFF2-40B4-BE49-F238E27FC236}">
                <a16:creationId xmlns:a16="http://schemas.microsoft.com/office/drawing/2014/main" id="{C98C21F0-7487-639D-9449-C72DDCDC899E}"/>
              </a:ext>
            </a:extLst>
          </p:cNvPr>
          <p:cNvSpPr>
            <a:spLocks noGrp="1"/>
          </p:cNvSpPr>
          <p:nvPr>
            <p:ph type="body" sz="quarter" idx="55" hasCustomPrompt="1"/>
          </p:nvPr>
        </p:nvSpPr>
        <p:spPr>
          <a:xfrm>
            <a:off x="967439"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4" name="Text Placeholder 49">
            <a:extLst>
              <a:ext uri="{FF2B5EF4-FFF2-40B4-BE49-F238E27FC236}">
                <a16:creationId xmlns:a16="http://schemas.microsoft.com/office/drawing/2014/main" id="{C79EF3E2-525B-F042-9A31-2F488FBB19A9}"/>
              </a:ext>
            </a:extLst>
          </p:cNvPr>
          <p:cNvSpPr>
            <a:spLocks noGrp="1"/>
          </p:cNvSpPr>
          <p:nvPr>
            <p:ph type="body" sz="quarter" idx="56" hasCustomPrompt="1"/>
          </p:nvPr>
        </p:nvSpPr>
        <p:spPr>
          <a:xfrm>
            <a:off x="967438"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5" name="Text Placeholder 49">
            <a:extLst>
              <a:ext uri="{FF2B5EF4-FFF2-40B4-BE49-F238E27FC236}">
                <a16:creationId xmlns:a16="http://schemas.microsoft.com/office/drawing/2014/main" id="{DA7945B3-212F-0A17-F76F-532DC0FB105E}"/>
              </a:ext>
            </a:extLst>
          </p:cNvPr>
          <p:cNvSpPr>
            <a:spLocks noGrp="1"/>
          </p:cNvSpPr>
          <p:nvPr>
            <p:ph type="body" sz="quarter" idx="57" hasCustomPrompt="1"/>
          </p:nvPr>
        </p:nvSpPr>
        <p:spPr>
          <a:xfrm>
            <a:off x="3727890" y="3278875"/>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6" name="Text Placeholder 49">
            <a:extLst>
              <a:ext uri="{FF2B5EF4-FFF2-40B4-BE49-F238E27FC236}">
                <a16:creationId xmlns:a16="http://schemas.microsoft.com/office/drawing/2014/main" id="{82146C51-8620-DD88-786E-508A54648A98}"/>
              </a:ext>
            </a:extLst>
          </p:cNvPr>
          <p:cNvSpPr>
            <a:spLocks noGrp="1"/>
          </p:cNvSpPr>
          <p:nvPr>
            <p:ph type="body" sz="quarter" idx="58" hasCustomPrompt="1"/>
          </p:nvPr>
        </p:nvSpPr>
        <p:spPr>
          <a:xfrm>
            <a:off x="3727889" y="3026312"/>
            <a:ext cx="2385888" cy="287245"/>
          </a:xfrm>
        </p:spPr>
        <p:txBody>
          <a:bodyPr>
            <a:normAutofit/>
          </a:bodyPr>
          <a:lstStyle>
            <a:lvl1pPr algn="ctr">
              <a:defRPr sz="1400" b="1">
                <a:solidFill>
                  <a:schemeClr val="bg1"/>
                </a:solidFill>
              </a:defRPr>
            </a:lvl1pPr>
          </a:lstStyle>
          <a:p>
            <a:pPr lvl="0"/>
            <a:r>
              <a:rPr lang="en-US"/>
              <a:t>Lorem ipsum dolor</a:t>
            </a:r>
          </a:p>
        </p:txBody>
      </p:sp>
      <p:sp>
        <p:nvSpPr>
          <p:cNvPr id="57" name="Text Placeholder 49">
            <a:extLst>
              <a:ext uri="{FF2B5EF4-FFF2-40B4-BE49-F238E27FC236}">
                <a16:creationId xmlns:a16="http://schemas.microsoft.com/office/drawing/2014/main" id="{AE68AA31-8CE1-636D-8E54-FA2E69509ED2}"/>
              </a:ext>
            </a:extLst>
          </p:cNvPr>
          <p:cNvSpPr>
            <a:spLocks noGrp="1"/>
          </p:cNvSpPr>
          <p:nvPr>
            <p:ph type="body" sz="quarter" idx="59" hasCustomPrompt="1"/>
          </p:nvPr>
        </p:nvSpPr>
        <p:spPr>
          <a:xfrm>
            <a:off x="6524455"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8" name="Text Placeholder 49">
            <a:extLst>
              <a:ext uri="{FF2B5EF4-FFF2-40B4-BE49-F238E27FC236}">
                <a16:creationId xmlns:a16="http://schemas.microsoft.com/office/drawing/2014/main" id="{9EF07A78-E7D1-9CA8-22CF-ECE9C94B9AE2}"/>
              </a:ext>
            </a:extLst>
          </p:cNvPr>
          <p:cNvSpPr>
            <a:spLocks noGrp="1"/>
          </p:cNvSpPr>
          <p:nvPr>
            <p:ph type="body" sz="quarter" idx="60" hasCustomPrompt="1"/>
          </p:nvPr>
        </p:nvSpPr>
        <p:spPr>
          <a:xfrm>
            <a:off x="6524454"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9" name="Text Placeholder 49">
            <a:extLst>
              <a:ext uri="{FF2B5EF4-FFF2-40B4-BE49-F238E27FC236}">
                <a16:creationId xmlns:a16="http://schemas.microsoft.com/office/drawing/2014/main" id="{FBED0B17-DAA9-B5C8-C44C-9DF24B8DFD6F}"/>
              </a:ext>
            </a:extLst>
          </p:cNvPr>
          <p:cNvSpPr>
            <a:spLocks noGrp="1"/>
          </p:cNvSpPr>
          <p:nvPr>
            <p:ph type="body" sz="quarter" idx="61" hasCustomPrompt="1"/>
          </p:nvPr>
        </p:nvSpPr>
        <p:spPr>
          <a:xfrm>
            <a:off x="9272712" y="3296952"/>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60" name="Text Placeholder 49">
            <a:extLst>
              <a:ext uri="{FF2B5EF4-FFF2-40B4-BE49-F238E27FC236}">
                <a16:creationId xmlns:a16="http://schemas.microsoft.com/office/drawing/2014/main" id="{FE6DB75D-E91B-3426-852B-18F98449A508}"/>
              </a:ext>
            </a:extLst>
          </p:cNvPr>
          <p:cNvSpPr>
            <a:spLocks noGrp="1"/>
          </p:cNvSpPr>
          <p:nvPr>
            <p:ph type="body" sz="quarter" idx="62" hasCustomPrompt="1"/>
          </p:nvPr>
        </p:nvSpPr>
        <p:spPr>
          <a:xfrm>
            <a:off x="9272711" y="3044389"/>
            <a:ext cx="2385888"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31858907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Layout_N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a:pPr/>
              <a:t>‹#›</a:t>
            </a:fld>
            <a:endParaRPr lang="en-US"/>
          </a:p>
        </p:txBody>
      </p:sp>
    </p:spTree>
    <p:extLst>
      <p:ext uri="{BB962C8B-B14F-4D97-AF65-F5344CB8AC3E}">
        <p14:creationId xmlns:p14="http://schemas.microsoft.com/office/powerpoint/2010/main" val="109243916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Thank you layout 1">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1833849794"/>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Thank you layout 2">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2948506514"/>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a:t>
            </a:r>
            <a:r>
              <a:rPr lang="en-US" sz="800" err="1">
                <a:solidFill>
                  <a:schemeClr val="bg1"/>
                </a:solidFill>
                <a:latin typeface="Arial" panose="020B0604020202020204" pitchFamily="34" charset="0"/>
                <a:cs typeface="Arial" panose="020B0604020202020204" pitchFamily="34" charset="0"/>
              </a:rPr>
              <a:t>rsmus.com</a:t>
            </a:r>
            <a:r>
              <a:rPr lang="en-US" sz="800">
                <a:solidFill>
                  <a:schemeClr val="bg1"/>
                </a:solidFill>
                <a:latin typeface="Arial" panose="020B0604020202020204" pitchFamily="34" charset="0"/>
                <a:cs typeface="Arial" panose="020B0604020202020204" pitchFamily="34" charset="0"/>
              </a:rPr>
              <a:t>/</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5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4" name="Graphic 3">
            <a:extLst>
              <a:ext uri="{FF2B5EF4-FFF2-40B4-BE49-F238E27FC236}">
                <a16:creationId xmlns:a16="http://schemas.microsoft.com/office/drawing/2014/main" id="{A0D3969D-5BFA-C9B5-8F23-FED16ABD0C7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8200" y="4191000"/>
            <a:ext cx="2264219" cy="273593"/>
          </a:xfrm>
          <a:prstGeom prst="rect">
            <a:avLst/>
          </a:prstGeom>
        </p:spPr>
      </p:pic>
    </p:spTree>
    <p:extLst>
      <p:ext uri="{BB962C8B-B14F-4D97-AF65-F5344CB8AC3E}">
        <p14:creationId xmlns:p14="http://schemas.microsoft.com/office/powerpoint/2010/main" val="583084137"/>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slide layout">
    <p:spTree>
      <p:nvGrpSpPr>
        <p:cNvPr id="1" name=""/>
        <p:cNvGrpSpPr/>
        <p:nvPr/>
      </p:nvGrpSpPr>
      <p:grpSpPr>
        <a:xfrm>
          <a:off x="0" y="0"/>
          <a:ext cx="0" cy="0"/>
          <a:chOff x="0" y="0"/>
          <a:chExt cx="0" cy="0"/>
        </a:xfrm>
      </p:grpSpPr>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09594954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DC06A7-7D61-4E38-9287-71210F455C8E}" type="slidenum">
              <a:rPr lang="en-US" smtClean="0"/>
              <a:t>‹#›</a:t>
            </a:fld>
            <a:endParaRPr lang="en-US"/>
          </a:p>
        </p:txBody>
      </p:sp>
    </p:spTree>
    <p:extLst>
      <p:ext uri="{BB962C8B-B14F-4D97-AF65-F5344CB8AC3E}">
        <p14:creationId xmlns:p14="http://schemas.microsoft.com/office/powerpoint/2010/main" val="37407279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cSld name="Agenda">
    <p:bg>
      <p:bgPr>
        <a:solidFill>
          <a:srgbClr val="FFFFFF"/>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3141A9E-4CD8-97CF-A895-A909ABB41D0B}"/>
              </a:ext>
            </a:extLst>
          </p:cNvPr>
          <p:cNvPicPr>
            <a:picLocks noChangeAspect="1"/>
          </p:cNvPicPr>
          <p:nvPr>
            <p:custDataLst>
              <p:tags r:id="rId1"/>
            </p:custDataLst>
          </p:nvPr>
        </p:nvPicPr>
        <p:blipFill rotWithShape="1">
          <a:blip r:embed="rId3">
            <a:extLst>
              <a:ext uri="{96DAC541-7B7A-43D3-8B79-37D633B846F1}">
                <asvg:svgBlip xmlns:asvg="http://schemas.microsoft.com/office/drawing/2016/SVG/main" r:embed="rId4"/>
              </a:ext>
            </a:extLst>
          </a:blip>
          <a:srcRect r="1592" b="1592"/>
          <a:stretch/>
        </p:blipFill>
        <p:spPr bwMode="ltGray">
          <a:xfrm>
            <a:off x="0" y="0"/>
            <a:ext cx="12192000" cy="6865039"/>
          </a:xfrm>
          <a:prstGeom prst="rect">
            <a:avLst/>
          </a:prstGeom>
        </p:spPr>
      </p:pic>
      <p:sp>
        <p:nvSpPr>
          <p:cNvPr id="2" name="Title 1">
            <a:extLst>
              <a:ext uri="{FF2B5EF4-FFF2-40B4-BE49-F238E27FC236}">
                <a16:creationId xmlns:a16="http://schemas.microsoft.com/office/drawing/2014/main" id="{38338FB2-C183-D6B7-9264-764B51F4094F}"/>
              </a:ext>
            </a:extLst>
          </p:cNvPr>
          <p:cNvSpPr>
            <a:spLocks noGrp="1"/>
          </p:cNvSpPr>
          <p:nvPr>
            <p:ph type="title"/>
          </p:nvPr>
        </p:nvSpPr>
        <p:spPr>
          <a:xfrm>
            <a:off x="5310000" y="1170000"/>
            <a:ext cx="6120000" cy="553998"/>
          </a:xfrm>
          <a:prstGeom prst="rect">
            <a:avLst/>
          </a:prstGeom>
        </p:spPr>
        <p:txBody>
          <a:bodyPr/>
          <a:lstStyle>
            <a:lvl1pPr>
              <a:defRPr>
                <a:solidFill>
                  <a:schemeClr val="tx1"/>
                </a:solidFill>
              </a:defRPr>
            </a:lvl1pPr>
          </a:lstStyle>
          <a:p>
            <a:r>
              <a:rPr lang="en-US"/>
              <a:t>Click to edit Master title style</a:t>
            </a:r>
            <a:endParaRPr lang="en-GB"/>
          </a:p>
        </p:txBody>
      </p:sp>
      <p:sp>
        <p:nvSpPr>
          <p:cNvPr id="6" name="Date">
            <a:extLst>
              <a:ext uri="{FF2B5EF4-FFF2-40B4-BE49-F238E27FC236}">
                <a16:creationId xmlns:a16="http://schemas.microsoft.com/office/drawing/2014/main" id="{89A49C02-5543-54D4-D03D-215E1FC26571}"/>
              </a:ext>
            </a:extLst>
          </p:cNvPr>
          <p:cNvSpPr txBox="1"/>
          <p:nvPr/>
        </p:nvSpPr>
        <p:spPr>
          <a:xfrm>
            <a:off x="785813" y="6362189"/>
            <a:ext cx="1401750" cy="153888"/>
          </a:xfrm>
          <a:prstGeom prst="rect">
            <a:avLst/>
          </a:prstGeom>
          <a:noFill/>
        </p:spPr>
        <p:txBody>
          <a:bodyPr wrap="square" lIns="0" tIns="0" rIns="0" bIns="0" rtlCol="0">
            <a:noAutofit/>
          </a:bodyPr>
          <a:lstStyle/>
          <a:p>
            <a:pPr algn="l"/>
            <a:r>
              <a:rPr lang="en-GB" sz="1000">
                <a:solidFill>
                  <a:schemeClr val="tx1"/>
                </a:solidFill>
                <a:latin typeface="+mn-lt"/>
                <a:cs typeface="Arial" pitchFamily="34" charset="0"/>
              </a:rPr>
              <a:t>March 2024</a:t>
            </a:r>
          </a:p>
        </p:txBody>
      </p:sp>
      <p:grpSp>
        <p:nvGrpSpPr>
          <p:cNvPr id="27" name="Group 26">
            <a:extLst>
              <a:ext uri="{FF2B5EF4-FFF2-40B4-BE49-F238E27FC236}">
                <a16:creationId xmlns:a16="http://schemas.microsoft.com/office/drawing/2014/main" id="{6AD4BF8B-5C79-1B62-BCA0-7847B21B00D1}"/>
              </a:ext>
            </a:extLst>
          </p:cNvPr>
          <p:cNvGrpSpPr/>
          <p:nvPr/>
        </p:nvGrpSpPr>
        <p:grpSpPr bwMode="black">
          <a:xfrm>
            <a:off x="10863102" y="309052"/>
            <a:ext cx="911847" cy="382707"/>
            <a:chOff x="7459170" y="481236"/>
            <a:chExt cx="2697427" cy="1132124"/>
          </a:xfrm>
        </p:grpSpPr>
        <p:sp>
          <p:nvSpPr>
            <p:cNvPr id="28" name="Freeform 9">
              <a:extLst>
                <a:ext uri="{FF2B5EF4-FFF2-40B4-BE49-F238E27FC236}">
                  <a16:creationId xmlns:a16="http://schemas.microsoft.com/office/drawing/2014/main" id="{D185F479-3636-5E1E-5439-59EC57EE1C1F}"/>
                </a:ext>
              </a:extLst>
            </p:cNvPr>
            <p:cNvSpPr/>
            <p:nvPr/>
          </p:nvSpPr>
          <p:spPr bwMode="black">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rgbClr val="009CDE"/>
            </a:solidFill>
            <a:ln w="94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41439"/>
                </a:solidFill>
                <a:effectLst/>
                <a:uLnTx/>
                <a:uFillTx/>
              </a:endParaRPr>
            </a:p>
          </p:txBody>
        </p:sp>
        <p:sp>
          <p:nvSpPr>
            <p:cNvPr id="29" name="Freeform 15">
              <a:extLst>
                <a:ext uri="{FF2B5EF4-FFF2-40B4-BE49-F238E27FC236}">
                  <a16:creationId xmlns:a16="http://schemas.microsoft.com/office/drawing/2014/main" id="{E091E24D-240C-5282-07F4-AAE7A2196488}"/>
                </a:ext>
              </a:extLst>
            </p:cNvPr>
            <p:cNvSpPr/>
            <p:nvPr/>
          </p:nvSpPr>
          <p:spPr bwMode="black">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rgbClr val="888B8D"/>
            </a:solidFill>
            <a:ln w="94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41439"/>
                </a:solidFill>
                <a:effectLst/>
                <a:uLnTx/>
                <a:uFillTx/>
              </a:endParaRPr>
            </a:p>
          </p:txBody>
        </p:sp>
        <p:sp>
          <p:nvSpPr>
            <p:cNvPr id="30" name="Freeform 16">
              <a:extLst>
                <a:ext uri="{FF2B5EF4-FFF2-40B4-BE49-F238E27FC236}">
                  <a16:creationId xmlns:a16="http://schemas.microsoft.com/office/drawing/2014/main" id="{36C81441-7AB7-49D3-8698-2B711424F445}"/>
                </a:ext>
              </a:extLst>
            </p:cNvPr>
            <p:cNvSpPr/>
            <p:nvPr/>
          </p:nvSpPr>
          <p:spPr bwMode="black">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rgbClr val="3F9C35"/>
            </a:solidFill>
            <a:ln w="94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41439"/>
                </a:solidFill>
                <a:effectLst/>
                <a:uLnTx/>
                <a:uFillTx/>
              </a:endParaRPr>
            </a:p>
          </p:txBody>
        </p:sp>
        <p:sp>
          <p:nvSpPr>
            <p:cNvPr id="31" name="Freeform 17">
              <a:extLst>
                <a:ext uri="{FF2B5EF4-FFF2-40B4-BE49-F238E27FC236}">
                  <a16:creationId xmlns:a16="http://schemas.microsoft.com/office/drawing/2014/main" id="{1B86C97F-0981-ADB4-A5B9-7A4A8C02CAA6}"/>
                </a:ext>
              </a:extLst>
            </p:cNvPr>
            <p:cNvSpPr/>
            <p:nvPr/>
          </p:nvSpPr>
          <p:spPr bwMode="black">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rgbClr val="FFFFFF"/>
            </a:solidFill>
            <a:ln w="94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41439"/>
                </a:solidFill>
                <a:effectLst/>
                <a:uLnTx/>
                <a:uFillTx/>
              </a:endParaRPr>
            </a:p>
          </p:txBody>
        </p:sp>
        <p:sp>
          <p:nvSpPr>
            <p:cNvPr id="32" name="Freeform 18">
              <a:extLst>
                <a:ext uri="{FF2B5EF4-FFF2-40B4-BE49-F238E27FC236}">
                  <a16:creationId xmlns:a16="http://schemas.microsoft.com/office/drawing/2014/main" id="{0EA37A13-4699-E388-4A82-C6B5D0BEC8DE}"/>
                </a:ext>
              </a:extLst>
            </p:cNvPr>
            <p:cNvSpPr/>
            <p:nvPr/>
          </p:nvSpPr>
          <p:spPr bwMode="black">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rgbClr val="FFFFFF"/>
            </a:solidFill>
            <a:ln w="94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41439"/>
                </a:solidFill>
                <a:effectLst/>
                <a:uLnTx/>
                <a:uFillTx/>
              </a:endParaRPr>
            </a:p>
          </p:txBody>
        </p:sp>
        <p:sp>
          <p:nvSpPr>
            <p:cNvPr id="33" name="Freeform 19">
              <a:extLst>
                <a:ext uri="{FF2B5EF4-FFF2-40B4-BE49-F238E27FC236}">
                  <a16:creationId xmlns:a16="http://schemas.microsoft.com/office/drawing/2014/main" id="{3A5A37BE-E431-607B-17C9-378EB2FCD43C}"/>
                </a:ext>
              </a:extLst>
            </p:cNvPr>
            <p:cNvSpPr/>
            <p:nvPr/>
          </p:nvSpPr>
          <p:spPr bwMode="black">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rgbClr val="FFFFFF"/>
            </a:solidFill>
            <a:ln w="94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41439"/>
                </a:solidFill>
                <a:effectLst/>
                <a:uLnTx/>
                <a:uFillTx/>
              </a:endParaRPr>
            </a:p>
          </p:txBody>
        </p:sp>
        <p:sp>
          <p:nvSpPr>
            <p:cNvPr id="34" name="Freeform 20">
              <a:extLst>
                <a:ext uri="{FF2B5EF4-FFF2-40B4-BE49-F238E27FC236}">
                  <a16:creationId xmlns:a16="http://schemas.microsoft.com/office/drawing/2014/main" id="{3E4A46B0-C81B-D875-6334-AAF92AC6A836}"/>
                </a:ext>
              </a:extLst>
            </p:cNvPr>
            <p:cNvSpPr/>
            <p:nvPr/>
          </p:nvSpPr>
          <p:spPr bwMode="black">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rgbClr val="FFFFFF"/>
            </a:solidFill>
            <a:ln w="94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41439"/>
                </a:solidFill>
                <a:effectLst/>
                <a:uLnTx/>
                <a:uFillTx/>
              </a:endParaRPr>
            </a:p>
          </p:txBody>
        </p:sp>
      </p:grpSp>
      <p:sp>
        <p:nvSpPr>
          <p:cNvPr id="3" name="Slide Number Placeholder 5">
            <a:extLst>
              <a:ext uri="{FF2B5EF4-FFF2-40B4-BE49-F238E27FC236}">
                <a16:creationId xmlns:a16="http://schemas.microsoft.com/office/drawing/2014/main" id="{4ED96DE4-FBEA-A8B9-F967-6CE170523F76}"/>
              </a:ext>
            </a:extLst>
          </p:cNvPr>
          <p:cNvSpPr>
            <a:spLocks noGrp="1"/>
          </p:cNvSpPr>
          <p:nvPr>
            <p:ph type="sldNum" sz="quarter" idx="4"/>
          </p:nvPr>
        </p:nvSpPr>
        <p:spPr>
          <a:xfrm>
            <a:off x="11456963" y="6325200"/>
            <a:ext cx="278147" cy="162000"/>
          </a:xfrm>
          <a:prstGeom prst="rect">
            <a:avLst/>
          </a:prstGeom>
        </p:spPr>
        <p:txBody>
          <a:bodyPr vert="horz" wrap="none" lIns="90000" tIns="0" rIns="0" bIns="0" rtlCol="0" anchor="ctr">
            <a:noAutofit/>
          </a:bodyPr>
          <a:lstStyle>
            <a:lvl1pPr algn="l">
              <a:defRPr sz="1000">
                <a:solidFill>
                  <a:schemeClr val="tx1"/>
                </a:solidFill>
              </a:defRPr>
            </a:lvl1pPr>
          </a:lstStyle>
          <a:p>
            <a:fld id="{6686A102-957E-47D3-A22D-E8508A8052D6}" type="slidenum">
              <a:rPr lang="en-GB" smtClean="0"/>
              <a:pPr/>
              <a:t>‹#›</a:t>
            </a:fld>
            <a:endParaRPr lang="en-GB"/>
          </a:p>
        </p:txBody>
      </p:sp>
      <p:sp>
        <p:nvSpPr>
          <p:cNvPr id="4" name="RSM">
            <a:extLst>
              <a:ext uri="{FF2B5EF4-FFF2-40B4-BE49-F238E27FC236}">
                <a16:creationId xmlns:a16="http://schemas.microsoft.com/office/drawing/2014/main" id="{34541428-8EBC-C312-85E5-9C3CF6FA4722}"/>
              </a:ext>
            </a:extLst>
          </p:cNvPr>
          <p:cNvSpPr txBox="1">
            <a:spLocks/>
          </p:cNvSpPr>
          <p:nvPr/>
        </p:nvSpPr>
        <p:spPr>
          <a:xfrm>
            <a:off x="10956054" y="6335062"/>
            <a:ext cx="450005" cy="16200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1000"/>
              <a:t>RSM</a:t>
            </a:r>
            <a:endParaRPr sz="1000"/>
          </a:p>
        </p:txBody>
      </p:sp>
      <p:sp>
        <p:nvSpPr>
          <p:cNvPr id="9" name="Vertical bar">
            <a:extLst>
              <a:ext uri="{FF2B5EF4-FFF2-40B4-BE49-F238E27FC236}">
                <a16:creationId xmlns:a16="http://schemas.microsoft.com/office/drawing/2014/main" id="{4FF202F8-31E8-FE84-F616-8E4BD7DAE93B}"/>
              </a:ext>
            </a:extLst>
          </p:cNvPr>
          <p:cNvSpPr txBox="1">
            <a:spLocks/>
          </p:cNvSpPr>
          <p:nvPr/>
        </p:nvSpPr>
        <p:spPr>
          <a:xfrm>
            <a:off x="11431894" y="6320317"/>
            <a:ext cx="50557" cy="176751"/>
          </a:xfrm>
          <a:prstGeom prst="rect">
            <a:avLst/>
          </a:prstGeom>
        </p:spPr>
        <p:txBody>
          <a:bodyPr t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1000"/>
              <a:t>|</a:t>
            </a:r>
            <a:endParaRPr sz="1000"/>
          </a:p>
        </p:txBody>
      </p:sp>
    </p:spTree>
    <p:extLst>
      <p:ext uri="{BB962C8B-B14F-4D97-AF65-F5344CB8AC3E}">
        <p14:creationId xmlns:p14="http://schemas.microsoft.com/office/powerpoint/2010/main" val="807772659"/>
      </p:ext>
    </p:extLst>
  </p:cSld>
  <p:clrMapOvr>
    <a:overrideClrMapping bg1="dk1" tx1="lt1" bg2="dk2" tx2="lt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Two column layout 2">
    <p:bg>
      <p:bgPr>
        <a:solidFill>
          <a:srgbClr val="00143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a:prstGeom prst="rect">
            <a:avLst/>
          </a:prstGeom>
        </p:spPr>
        <p:txBody>
          <a:bodyPr anchor="b">
            <a:normAutofit/>
          </a:bodyPr>
          <a:lstStyle>
            <a:lvl1pPr marL="0" indent="0">
              <a:buNone/>
              <a:defRPr sz="2400" b="1">
                <a:solidFill>
                  <a:schemeClr val="bg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a:prstGeom prst="rect">
            <a:avLst/>
          </a:prstGeom>
        </p:spPr>
        <p:txBody>
          <a:bodyPr anchor="b">
            <a:normAutofit/>
          </a:bodyPr>
          <a:lstStyle>
            <a:lvl1pPr marL="0" indent="0">
              <a:buNone/>
              <a:defRPr sz="2400" b="1">
                <a:solidFill>
                  <a:schemeClr val="bg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465003" y="306001"/>
            <a:ext cx="10620375" cy="613309"/>
          </a:xfrm>
          <a:prstGeom prst="rect">
            <a:avLst/>
          </a:prstGeom>
        </p:spPr>
        <p:txBody>
          <a:bodyPr vert="horz" wrap="square" lIns="0" tIns="0" rIns="0" bIns="0" rtlCol="0" anchor="t" anchorCtr="0">
            <a:spAutoFit/>
          </a:bodyPr>
          <a:lstStyle>
            <a:lvl1pPr>
              <a:defRPr>
                <a:solidFill>
                  <a:schemeClr val="bg2"/>
                </a:solidFill>
              </a:defRPr>
            </a:lvl1pPr>
          </a:lstStyle>
          <a:p>
            <a:r>
              <a:rPr lang="en-US"/>
              <a:t>Two column</a:t>
            </a:r>
            <a:endParaRPr lang="en-GB"/>
          </a:p>
        </p:txBody>
      </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a:prstGeom prst="rect">
            <a:avLst/>
          </a:prstGeo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76E4936-B714-2B4B-2E2F-7DE308A8C3D7}"/>
              </a:ext>
            </a:extLst>
          </p:cNvPr>
          <p:cNvSpPr>
            <a:spLocks noGrp="1"/>
          </p:cNvSpPr>
          <p:nvPr>
            <p:ph sz="quarter" idx="17"/>
          </p:nvPr>
        </p:nvSpPr>
        <p:spPr>
          <a:xfrm>
            <a:off x="6208776" y="1993392"/>
            <a:ext cx="5181600" cy="4408401"/>
          </a:xfrm>
          <a:prstGeom prst="rect">
            <a:avLst/>
          </a:prstGeo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a:extLst>
              <a:ext uri="{FF2B5EF4-FFF2-40B4-BE49-F238E27FC236}">
                <a16:creationId xmlns:a16="http://schemas.microsoft.com/office/drawing/2014/main" id="{98DD4B66-83E4-B392-1FED-61D29DA44C0E}"/>
              </a:ext>
            </a:extLst>
          </p:cNvPr>
          <p:cNvSpPr>
            <a:spLocks noGrp="1"/>
          </p:cNvSpPr>
          <p:nvPr>
            <p:ph type="sldNum" sz="quarter" idx="18"/>
          </p:nvPr>
        </p:nvSpPr>
        <p:spPr>
          <a:xfrm>
            <a:off x="11341289" y="6404844"/>
            <a:ext cx="476534" cy="153632"/>
          </a:xfrm>
          <a:prstGeom prst="rect">
            <a:avLst/>
          </a:prstGeom>
        </p:spPr>
        <p:txBody>
          <a:bodyPr/>
          <a:lstStyle/>
          <a:p>
            <a:fld id="{9E74224C-F5B0-D04D-98A9-64EC68DC7E07}" type="slidenum">
              <a:rPr lang="en-US" smtClean="0"/>
              <a:pPr/>
              <a:t>‹#›</a:t>
            </a:fld>
            <a:endParaRPr lang="en-US"/>
          </a:p>
        </p:txBody>
      </p:sp>
      <p:sp>
        <p:nvSpPr>
          <p:cNvPr id="3" name="Rectangle 2">
            <a:extLst>
              <a:ext uri="{FF2B5EF4-FFF2-40B4-BE49-F238E27FC236}">
                <a16:creationId xmlns:a16="http://schemas.microsoft.com/office/drawing/2014/main" id="{EACA6D3C-CA8C-A296-DC82-936AE9CEF94D}"/>
              </a:ext>
            </a:extLst>
          </p:cNvPr>
          <p:cNvSpPr/>
          <p:nvPr userDrawn="1"/>
        </p:nvSpPr>
        <p:spPr>
          <a:xfrm>
            <a:off x="4879731" y="6629400"/>
            <a:ext cx="1485900" cy="14946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pic>
        <p:nvPicPr>
          <p:cNvPr id="11" name="Picture 10" descr="A black background with white text&#10;&#10;AI-generated content may be incorrect.">
            <a:extLst>
              <a:ext uri="{FF2B5EF4-FFF2-40B4-BE49-F238E27FC236}">
                <a16:creationId xmlns:a16="http://schemas.microsoft.com/office/drawing/2014/main" id="{720154AE-A8BB-ACF9-E754-940AA0593C91}"/>
              </a:ext>
            </a:extLst>
          </p:cNvPr>
          <p:cNvPicPr>
            <a:picLocks noChangeAspect="1"/>
          </p:cNvPicPr>
          <p:nvPr userDrawn="1"/>
        </p:nvPicPr>
        <p:blipFill>
          <a:blip r:embed="rId2"/>
          <a:stretch>
            <a:fillRect/>
          </a:stretch>
        </p:blipFill>
        <p:spPr>
          <a:xfrm>
            <a:off x="10484913" y="128270"/>
            <a:ext cx="1531620" cy="765810"/>
          </a:xfrm>
          <a:prstGeom prst="rect">
            <a:avLst/>
          </a:prstGeom>
        </p:spPr>
      </p:pic>
    </p:spTree>
    <p:extLst>
      <p:ext uri="{BB962C8B-B14F-4D97-AF65-F5344CB8AC3E}">
        <p14:creationId xmlns:p14="http://schemas.microsoft.com/office/powerpoint/2010/main" val="329423013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Agenda layout 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4" name="Title Placeholder 13">
            <a:extLst>
              <a:ext uri="{FF2B5EF4-FFF2-40B4-BE49-F238E27FC236}">
                <a16:creationId xmlns:a16="http://schemas.microsoft.com/office/drawing/2014/main" id="{6EB62A34-548B-BEDA-D7A4-52B80F28F6F6}"/>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65" name="Straight Connector 64">
            <a:extLst>
              <a:ext uri="{FF2B5EF4-FFF2-40B4-BE49-F238E27FC236}">
                <a16:creationId xmlns:a16="http://schemas.microsoft.com/office/drawing/2014/main" id="{E7C0E53A-2A85-E8F8-E26B-976181F90D07}"/>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6" name="Straight Connector 65">
            <a:extLst>
              <a:ext uri="{FF2B5EF4-FFF2-40B4-BE49-F238E27FC236}">
                <a16:creationId xmlns:a16="http://schemas.microsoft.com/office/drawing/2014/main" id="{5DC6CB0C-179F-81EB-02CE-0106DE1166AC}"/>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C8128A8F-98D7-3341-3CA5-E7A3743FDCDD}"/>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55CC3607-E7CC-FDEC-B87C-D626258DA100}"/>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72" name="Text Placeholder 39">
            <a:extLst>
              <a:ext uri="{FF2B5EF4-FFF2-40B4-BE49-F238E27FC236}">
                <a16:creationId xmlns:a16="http://schemas.microsoft.com/office/drawing/2014/main" id="{07E73D03-5863-56DB-D568-6AB72894412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73" name="Text Placeholder 39">
            <a:extLst>
              <a:ext uri="{FF2B5EF4-FFF2-40B4-BE49-F238E27FC236}">
                <a16:creationId xmlns:a16="http://schemas.microsoft.com/office/drawing/2014/main" id="{EE959897-51AA-1BAA-0F53-BDCF2828B8C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74" name="Text Placeholder 39">
            <a:extLst>
              <a:ext uri="{FF2B5EF4-FFF2-40B4-BE49-F238E27FC236}">
                <a16:creationId xmlns:a16="http://schemas.microsoft.com/office/drawing/2014/main" id="{B456E000-7E49-11B1-C77A-0DA997F4D5EB}"/>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75" name="Text Placeholder 39">
            <a:extLst>
              <a:ext uri="{FF2B5EF4-FFF2-40B4-BE49-F238E27FC236}">
                <a16:creationId xmlns:a16="http://schemas.microsoft.com/office/drawing/2014/main" id="{3C4EF879-36E0-FF43-913F-0E9A02BA1201}"/>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76" name="Text Placeholder 39">
            <a:extLst>
              <a:ext uri="{FF2B5EF4-FFF2-40B4-BE49-F238E27FC236}">
                <a16:creationId xmlns:a16="http://schemas.microsoft.com/office/drawing/2014/main" id="{518D1BC5-FA3F-4F93-FEE1-CB7B86723DE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80" name="Text Placeholder 39">
            <a:extLst>
              <a:ext uri="{FF2B5EF4-FFF2-40B4-BE49-F238E27FC236}">
                <a16:creationId xmlns:a16="http://schemas.microsoft.com/office/drawing/2014/main" id="{3909EADE-A5FA-971F-AF65-A48123991355}"/>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1" name="Text Placeholder 39">
            <a:extLst>
              <a:ext uri="{FF2B5EF4-FFF2-40B4-BE49-F238E27FC236}">
                <a16:creationId xmlns:a16="http://schemas.microsoft.com/office/drawing/2014/main" id="{8E045A1E-A07D-3C8A-C6B9-FA131E0B3B38}"/>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2" name="Text Placeholder 39">
            <a:extLst>
              <a:ext uri="{FF2B5EF4-FFF2-40B4-BE49-F238E27FC236}">
                <a16:creationId xmlns:a16="http://schemas.microsoft.com/office/drawing/2014/main" id="{FDF63BA5-591D-F3A6-BB3D-C74753EE1120}"/>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3" name="Text Placeholder 39">
            <a:extLst>
              <a:ext uri="{FF2B5EF4-FFF2-40B4-BE49-F238E27FC236}">
                <a16:creationId xmlns:a16="http://schemas.microsoft.com/office/drawing/2014/main" id="{5F96C7D4-5F77-30AD-13E2-6D08A59A5B11}"/>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4" name="Text Placeholder 39">
            <a:extLst>
              <a:ext uri="{FF2B5EF4-FFF2-40B4-BE49-F238E27FC236}">
                <a16:creationId xmlns:a16="http://schemas.microsoft.com/office/drawing/2014/main" id="{C8CDEF22-E859-45D9-BF9C-BBB18933EF4C}"/>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62936357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wo column layout 2">
    <p:bg>
      <p:bgPr>
        <a:solidFill>
          <a:schemeClr val="tx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grpSp>
        <p:nvGrpSpPr>
          <p:cNvPr id="4" name="Group 3">
            <a:extLst>
              <a:ext uri="{FF2B5EF4-FFF2-40B4-BE49-F238E27FC236}">
                <a16:creationId xmlns:a16="http://schemas.microsoft.com/office/drawing/2014/main" id="{65B9153A-9F04-345A-4CA1-963B01DA3273}"/>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76E4936-B714-2B4B-2E2F-7DE308A8C3D7}"/>
              </a:ext>
            </a:extLst>
          </p:cNvPr>
          <p:cNvSpPr>
            <a:spLocks noGrp="1"/>
          </p:cNvSpPr>
          <p:nvPr>
            <p:ph sz="quarter" idx="17"/>
          </p:nvPr>
        </p:nvSpPr>
        <p:spPr>
          <a:xfrm>
            <a:off x="6208776" y="1993392"/>
            <a:ext cx="5181600" cy="4408401"/>
          </a:xfr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a:extLst>
              <a:ext uri="{FF2B5EF4-FFF2-40B4-BE49-F238E27FC236}">
                <a16:creationId xmlns:a16="http://schemas.microsoft.com/office/drawing/2014/main" id="{98DD4B66-83E4-B392-1FED-61D29DA44C0E}"/>
              </a:ext>
            </a:extLst>
          </p:cNvPr>
          <p:cNvSpPr>
            <a:spLocks noGrp="1"/>
          </p:cNvSpPr>
          <p:nvPr>
            <p:ph type="sldNum" sz="quarter" idx="18"/>
          </p:nvPr>
        </p:nvSpPr>
        <p:spPr/>
        <p:txBody>
          <a:bodyPr/>
          <a:lstStyle/>
          <a:p>
            <a:fld id="{9E74224C-F5B0-D04D-98A9-64EC68DC7E07}" type="slidenum">
              <a:rPr lang="en-US" smtClean="0"/>
              <a:pPr/>
              <a:t>‹#›</a:t>
            </a:fld>
            <a:endParaRPr lang="en-US"/>
          </a:p>
        </p:txBody>
      </p:sp>
    </p:spTree>
    <p:extLst>
      <p:ext uri="{BB962C8B-B14F-4D97-AF65-F5344CB8AC3E}">
        <p14:creationId xmlns:p14="http://schemas.microsoft.com/office/powerpoint/2010/main" val="302527855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Splash scree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4E6D35C-A1A3-6C6A-D39F-9B022E8B20E4}"/>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1528363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with text">
    <p:spTree>
      <p:nvGrpSpPr>
        <p:cNvPr id="1" name=""/>
        <p:cNvGrpSpPr/>
        <p:nvPr/>
      </p:nvGrpSpPr>
      <p:grpSpPr>
        <a:xfrm>
          <a:off x="0" y="0"/>
          <a:ext cx="0" cy="0"/>
          <a:chOff x="0" y="0"/>
          <a:chExt cx="0" cy="0"/>
        </a:xfrm>
      </p:grpSpPr>
      <p:sp>
        <p:nvSpPr>
          <p:cNvPr id="2" name="Title 1"/>
          <p:cNvSpPr>
            <a:spLocks noGrp="1"/>
          </p:cNvSpPr>
          <p:nvPr>
            <p:ph type="title"/>
          </p:nvPr>
        </p:nvSpPr>
        <p:spPr>
          <a:xfrm>
            <a:off x="499532" y="237068"/>
            <a:ext cx="10854268" cy="443970"/>
          </a:xfrm>
        </p:spPr>
        <p:txBody>
          <a:bodyPr/>
          <a:lstStyle/>
          <a:p>
            <a:r>
              <a:rPr lang="en-US"/>
              <a:t>Click to edit Master title style</a:t>
            </a:r>
          </a:p>
        </p:txBody>
      </p:sp>
      <p:sp>
        <p:nvSpPr>
          <p:cNvPr id="4" name="Content Placeholder 3"/>
          <p:cNvSpPr>
            <a:spLocks noGrp="1"/>
          </p:cNvSpPr>
          <p:nvPr>
            <p:ph sz="half" idx="2"/>
          </p:nvPr>
        </p:nvSpPr>
        <p:spPr>
          <a:xfrm>
            <a:off x="6019800" y="802257"/>
            <a:ext cx="5334000" cy="537470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499533" y="6191781"/>
            <a:ext cx="2743200" cy="279664"/>
          </a:xfrm>
          <a:prstGeom prst="rect">
            <a:avLst/>
          </a:prstGeom>
        </p:spPr>
        <p:txBody>
          <a:bodyPr/>
          <a:lstStyle/>
          <a:p>
            <a:fld id="{936A99BC-3C9D-4DF8-8B8C-E1FD2BDF0AD4}" type="slidenum">
              <a:rPr lang="en-US"/>
              <a:t>‹#›</a:t>
            </a:fld>
            <a:endParaRPr lang="en-US"/>
          </a:p>
        </p:txBody>
      </p:sp>
    </p:spTree>
    <p:extLst>
      <p:ext uri="{BB962C8B-B14F-4D97-AF65-F5344CB8AC3E}">
        <p14:creationId xmlns:p14="http://schemas.microsoft.com/office/powerpoint/2010/main" val="7107525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Infographic_P00003">
    <p:spTree>
      <p:nvGrpSpPr>
        <p:cNvPr id="1" name=""/>
        <p:cNvGrpSpPr/>
        <p:nvPr/>
      </p:nvGrpSpPr>
      <p:grpSpPr>
        <a:xfrm>
          <a:off x="0" y="0"/>
          <a:ext cx="0" cy="0"/>
          <a:chOff x="0" y="0"/>
          <a:chExt cx="0" cy="0"/>
        </a:xfrm>
      </p:grpSpPr>
      <p:sp>
        <p:nvSpPr>
          <p:cNvPr id="25" name="Text Placeholder 3"/>
          <p:cNvSpPr>
            <a:spLocks noGrp="1"/>
          </p:cNvSpPr>
          <p:nvPr>
            <p:ph type="body" sz="half" idx="2" hasCustomPrompt="1"/>
          </p:nvPr>
        </p:nvSpPr>
        <p:spPr>
          <a:xfrm>
            <a:off x="508001" y="901143"/>
            <a:ext cx="11157817" cy="231007"/>
          </a:xfrm>
          <a:prstGeom prst="rect">
            <a:avLst/>
          </a:prstGeom>
        </p:spPr>
        <p:txBody>
          <a:bodyPr wrap="none" lIns="0" tIns="0" rIns="0" bIns="0" anchor="ctr">
            <a:noAutofit/>
          </a:bodyPr>
          <a:lstStyle>
            <a:lvl1pPr marL="0" indent="0" algn="ctr">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26" name="Title 2"/>
          <p:cNvSpPr>
            <a:spLocks noGrp="1"/>
          </p:cNvSpPr>
          <p:nvPr>
            <p:ph type="title"/>
          </p:nvPr>
        </p:nvSpPr>
        <p:spPr>
          <a:xfrm>
            <a:off x="508001" y="177801"/>
            <a:ext cx="11157817" cy="660511"/>
          </a:xfrm>
          <a:prstGeom prst="rect">
            <a:avLst/>
          </a:prstGeom>
        </p:spPr>
        <p:txBody>
          <a:bodyPr lIns="0" tIns="0" rIns="0" bIns="0" anchor="ctr"/>
          <a:lstStyle>
            <a:lvl1pPr algn="ctr">
              <a:defRPr sz="3733">
                <a:solidFill>
                  <a:schemeClr val="tx1">
                    <a:lumMod val="50000"/>
                    <a:lumOff val="50000"/>
                  </a:schemeClr>
                </a:solidFill>
              </a:defRPr>
            </a:lvl1pPr>
          </a:lstStyle>
          <a:p>
            <a:r>
              <a:rPr lang="en-US"/>
              <a:t>Click to edit Master title style</a:t>
            </a:r>
          </a:p>
        </p:txBody>
      </p:sp>
    </p:spTree>
    <p:extLst>
      <p:ext uri="{BB962C8B-B14F-4D97-AF65-F5344CB8AC3E}">
        <p14:creationId xmlns:p14="http://schemas.microsoft.com/office/powerpoint/2010/main" val="292713318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Divider layout 1">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0C19CBB-7A17-F828-49FA-F58783A11E60}"/>
              </a:ext>
            </a:extLst>
          </p:cNvPr>
          <p:cNvSpPr/>
          <p:nvPr userDrawn="1"/>
        </p:nvSpPr>
        <p:spPr>
          <a:xfrm>
            <a:off x="0" y="0"/>
            <a:ext cx="12192000" cy="6858000"/>
          </a:xfrm>
          <a:prstGeom prst="rect">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0"/>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bg1">
              <a:alpha val="0"/>
            </a:schemeClr>
          </a:solidFill>
        </p:spPr>
        <p:txBody>
          <a:bodyPr wrap="square" anchor="ctr">
            <a:noAutofit/>
          </a:bodyPr>
          <a:lstStyle>
            <a:lvl1pPr algn="ctr">
              <a:defRPr b="1">
                <a:solidFill>
                  <a:schemeClr val="bg1"/>
                </a:solidFill>
              </a:defRPr>
            </a:lvl1pPr>
          </a:lstStyle>
          <a:p>
            <a:r>
              <a:rPr lang="en-US"/>
              <a:t>Click icon to add picture</a:t>
            </a:r>
          </a:p>
        </p:txBody>
      </p:sp>
      <p:grpSp>
        <p:nvGrpSpPr>
          <p:cNvPr id="28" name="Group 27">
            <a:extLst>
              <a:ext uri="{FF2B5EF4-FFF2-40B4-BE49-F238E27FC236}">
                <a16:creationId xmlns:a16="http://schemas.microsoft.com/office/drawing/2014/main" id="{E73B626C-A155-F346-D8EF-9E56183B06F8}"/>
              </a:ext>
            </a:extLst>
          </p:cNvPr>
          <p:cNvGrpSpPr/>
          <p:nvPr/>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2" name="Text Placeholder 5">
            <a:extLst>
              <a:ext uri="{FF2B5EF4-FFF2-40B4-BE49-F238E27FC236}">
                <a16:creationId xmlns:a16="http://schemas.microsoft.com/office/drawing/2014/main" id="{1C4FC05B-B1F0-A1F3-9303-7FE5AB99D57D}"/>
              </a:ext>
            </a:extLst>
          </p:cNvPr>
          <p:cNvSpPr>
            <a:spLocks noGrp="1"/>
          </p:cNvSpPr>
          <p:nvPr>
            <p:ph type="body" sz="quarter" idx="13" hasCustomPrompt="1"/>
          </p:nvPr>
        </p:nvSpPr>
        <p:spPr>
          <a:xfrm>
            <a:off x="694944" y="5339715"/>
            <a:ext cx="7467602" cy="984885"/>
          </a:xfrm>
        </p:spPr>
        <p:txBody>
          <a:bodyPr/>
          <a:lstStyle>
            <a:lvl1pPr marL="0" indent="0">
              <a:spcBef>
                <a:spcPts val="0"/>
              </a:spcBef>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5" name="Title Placeholder 13">
            <a:extLst>
              <a:ext uri="{FF2B5EF4-FFF2-40B4-BE49-F238E27FC236}">
                <a16:creationId xmlns:a16="http://schemas.microsoft.com/office/drawing/2014/main" id="{CAE6CBB4-1580-5D1E-ED2D-0CD62E751223}"/>
              </a:ext>
            </a:extLst>
          </p:cNvPr>
          <p:cNvSpPr>
            <a:spLocks noGrp="1"/>
          </p:cNvSpPr>
          <p:nvPr>
            <p:ph type="title" hasCustomPrompt="1"/>
          </p:nvPr>
        </p:nvSpPr>
        <p:spPr>
          <a:xfrm>
            <a:off x="694944" y="3657600"/>
            <a:ext cx="7467600" cy="1354217"/>
          </a:xfrm>
          <a:prstGeom prst="rect">
            <a:avLst/>
          </a:prstGeom>
        </p:spPr>
        <p:txBody>
          <a:bodyPr vert="horz" wrap="square" lIns="0" tIns="0" rIns="0" bIns="0" rtlCol="0" anchor="b" anchorCtr="0">
            <a:spAutoFit/>
          </a:bodyPr>
          <a:lstStyle>
            <a:lvl1pPr>
              <a:defRPr sz="4400">
                <a:solidFill>
                  <a:schemeClr val="bg1"/>
                </a:solidFill>
              </a:defRPr>
            </a:lvl1pPr>
          </a:lstStyle>
          <a:p>
            <a:r>
              <a:rPr lang="en-US"/>
              <a:t>Divider slide</a:t>
            </a:r>
            <a:br>
              <a:rPr lang="en-US"/>
            </a:br>
            <a:r>
              <a:rPr lang="en-US"/>
              <a:t>Max two lines</a:t>
            </a:r>
            <a:endParaRPr lang="en-GB"/>
          </a:p>
        </p:txBody>
      </p:sp>
      <p:sp>
        <p:nvSpPr>
          <p:cNvPr id="3" name="Slide Number Placeholder 2">
            <a:extLst>
              <a:ext uri="{FF2B5EF4-FFF2-40B4-BE49-F238E27FC236}">
                <a16:creationId xmlns:a16="http://schemas.microsoft.com/office/drawing/2014/main" id="{2F443219-2EFB-BC42-D6F4-FFDC9C115115}"/>
              </a:ext>
            </a:extLst>
          </p:cNvPr>
          <p:cNvSpPr>
            <a:spLocks noGrp="1"/>
          </p:cNvSpPr>
          <p:nvPr>
            <p:ph type="sldNum" sz="quarter" idx="14"/>
          </p:nvPr>
        </p:nvSpPr>
        <p:spPr/>
        <p:txBody>
          <a:bodyPr/>
          <a:lstStyle>
            <a:lvl1pPr>
              <a:defRPr>
                <a:solidFill>
                  <a:schemeClr val="bg1"/>
                </a:solidFill>
              </a:defRPr>
            </a:lvl1pPr>
          </a:lstStyle>
          <a:p>
            <a:fld id="{9E74224C-F5B0-D04D-98A9-64EC68DC7E07}" type="slidenum">
              <a:rPr lang="en-US" smtClean="0"/>
              <a:pPr/>
              <a:t>‹#›</a:t>
            </a:fld>
            <a:endParaRPr lang="en-US"/>
          </a:p>
        </p:txBody>
      </p:sp>
    </p:spTree>
    <p:extLst>
      <p:ext uri="{BB962C8B-B14F-4D97-AF65-F5344CB8AC3E}">
        <p14:creationId xmlns:p14="http://schemas.microsoft.com/office/powerpoint/2010/main" val="320639387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4_Divider Photo layout">
    <p:bg>
      <p:bgPr>
        <a:solidFill>
          <a:srgbClr val="141439"/>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endParaRPr lang="en-US"/>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24247"/>
            <a:ext cx="4319587" cy="1231106"/>
          </a:xfrm>
          <a:prstGeom prst="rect">
            <a:avLst/>
          </a:prstGeom>
        </p:spPr>
        <p:txBody>
          <a:bodyPr vert="horz" wrap="square" lIns="0" tIns="0" rIns="0" bIns="0" rtlCol="0" anchor="ctr" anchorCtr="0">
            <a:noAutofit/>
          </a:bodyPr>
          <a:lstStyle>
            <a:lvl1pPr>
              <a:lnSpc>
                <a:spcPct val="100000"/>
              </a:lnSpc>
              <a:defRPr sz="4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229537518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4_One column">
    <p:bg>
      <p:bgPr>
        <a:solidFill>
          <a:schemeClr val="tx1"/>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5" name="Title 4">
            <a:extLst>
              <a:ext uri="{FF2B5EF4-FFF2-40B4-BE49-F238E27FC236}">
                <a16:creationId xmlns:a16="http://schemas.microsoft.com/office/drawing/2014/main" id="{8DE20856-61F3-C84C-F4F5-6AEC11801511}"/>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PoP">
            <a:extLst>
              <a:ext uri="{FF2B5EF4-FFF2-40B4-BE49-F238E27FC236}">
                <a16:creationId xmlns:a16="http://schemas.microsoft.com/office/drawing/2014/main" id="{56257D63-D01E-2991-24DE-CE1500B12934}"/>
              </a:ext>
            </a:extLst>
          </p:cNvPr>
          <p:cNvSpPr>
            <a:spLocks noChangeAspect="1"/>
          </p:cNvSpPr>
          <p:nvPr userDrawn="1">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18499701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Disclaimer slide – non-marketing">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boutus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a:t>
            </a:r>
            <a:r>
              <a:rPr lang="en-US" sz="800" kern="1200" baseline="30000">
                <a:solidFill>
                  <a:schemeClr val="bg1"/>
                </a:solidFill>
                <a:effectLst/>
                <a:latin typeface="+mn-lt"/>
                <a:ea typeface="+mn-ea"/>
                <a:cs typeface="+mn-cs"/>
              </a:rPr>
              <a:t>®</a:t>
            </a:r>
            <a:r>
              <a:rPr lang="en-US" sz="800" kern="1200">
                <a:solidFill>
                  <a:schemeClr val="bg1"/>
                </a:solidFill>
                <a:effectLst/>
                <a:latin typeface="+mn-lt"/>
                <a:ea typeface="+mn-ea"/>
                <a:cs typeface="+mn-cs"/>
              </a:rPr>
              <a:t>,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a:t>
            </a:r>
            <a:fld id="{AD14D0EA-4971-4294-AA6E-B450ADDDB240}" type="datetimeyyyy">
              <a:rPr lang="en-US" sz="800" smtClean="0">
                <a:solidFill>
                  <a:schemeClr val="bg1"/>
                </a:solidFill>
                <a:latin typeface="Arial" panose="020B0604020202020204" pitchFamily="34" charset="0"/>
                <a:cs typeface="Arial" panose="020B0604020202020204" pitchFamily="34" charset="0"/>
              </a:rPr>
              <a:t>2025</a:t>
            </a:fld>
            <a:r>
              <a:rPr lang="en-US" sz="800">
                <a:solidFill>
                  <a:schemeClr val="bg1"/>
                </a:solidFill>
                <a:latin typeface="Arial" panose="020B0604020202020204" pitchFamily="34" charset="0"/>
                <a:cs typeface="Arial" panose="020B0604020202020204" pitchFamily="34" charset="0"/>
              </a:rPr>
              <a:t>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3853863817"/>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itle and content layout 1">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2A51CCD9-EE1C-6E4E-3062-32FDB9DF76D6}"/>
              </a:ext>
            </a:extLst>
          </p:cNvPr>
          <p:cNvSpPr>
            <a:spLocks noGrp="1"/>
          </p:cNvSpPr>
          <p:nvPr>
            <p:ph type="sldNum" sz="quarter" idx="11"/>
          </p:nvPr>
        </p:nvSpPr>
        <p:spPr/>
        <p:txBody>
          <a:bodyPr/>
          <a:lstStyle/>
          <a:p>
            <a:fld id="{9E74224C-F5B0-D04D-98A9-64EC68DC7E07}" type="slidenum">
              <a:rPr lang="en-US" smtClean="0"/>
              <a:pPr/>
              <a:t>‹#›</a:t>
            </a:fld>
            <a:endParaRPr lang="en-US"/>
          </a:p>
        </p:txBody>
      </p:sp>
    </p:spTree>
    <p:extLst>
      <p:ext uri="{BB962C8B-B14F-4D97-AF65-F5344CB8AC3E}">
        <p14:creationId xmlns:p14="http://schemas.microsoft.com/office/powerpoint/2010/main" val="1513996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cSld name="Midnight blue">
    <p:bg>
      <p:bgRef idx="1001">
        <a:schemeClr val="bg1"/>
      </p:bgRef>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579E8E5-5088-E85D-E2AB-43A7DB98B25E}"/>
              </a:ext>
            </a:extLst>
          </p:cNvPr>
          <p:cNvSpPr>
            <a:spLocks noGrp="1"/>
          </p:cNvSpPr>
          <p:nvPr>
            <p:ph type="sldNum" sz="quarter" idx="4"/>
          </p:nvPr>
        </p:nvSpPr>
        <p:spPr>
          <a:xfrm>
            <a:off x="11456963" y="6325200"/>
            <a:ext cx="278147" cy="162000"/>
          </a:xfrm>
          <a:prstGeom prst="rect">
            <a:avLst/>
          </a:prstGeom>
        </p:spPr>
        <p:txBody>
          <a:bodyPr vert="horz" wrap="none" lIns="90000" tIns="0" rIns="0" bIns="0" rtlCol="0" anchor="ctr">
            <a:noAutofit/>
          </a:bodyPr>
          <a:lstStyle>
            <a:lvl1pPr algn="l">
              <a:defRPr sz="1000">
                <a:solidFill>
                  <a:schemeClr val="bg1"/>
                </a:solidFill>
              </a:defRPr>
            </a:lvl1pPr>
          </a:lstStyle>
          <a:p>
            <a:fld id="{6686A102-957E-47D3-A22D-E8508A8052D6}" type="slidenum">
              <a:rPr lang="en-GB" smtClean="0"/>
              <a:pPr/>
              <a:t>‹#›</a:t>
            </a:fld>
            <a:endParaRPr lang="en-GB"/>
          </a:p>
        </p:txBody>
      </p:sp>
      <p:pic>
        <p:nvPicPr>
          <p:cNvPr id="11" name="Picture 10">
            <a:extLst>
              <a:ext uri="{FF2B5EF4-FFF2-40B4-BE49-F238E27FC236}">
                <a16:creationId xmlns:a16="http://schemas.microsoft.com/office/drawing/2014/main" id="{005E1107-4E98-49B6-EA77-9631F8AE2AA4}"/>
              </a:ext>
            </a:extLst>
          </p:cNvPr>
          <p:cNvPicPr>
            <a:picLocks noChangeAspect="1"/>
          </p:cNvPicPr>
          <p:nvPr userDrawn="1"/>
        </p:nvPicPr>
        <p:blipFill>
          <a:blip r:embed="rId2"/>
          <a:srcRect r="17659" b="24881"/>
          <a:stretch/>
        </p:blipFill>
        <p:spPr>
          <a:xfrm>
            <a:off x="7859794" y="5419980"/>
            <a:ext cx="4332206" cy="1438020"/>
          </a:xfrm>
          <a:prstGeom prst="rect">
            <a:avLst/>
          </a:prstGeom>
        </p:spPr>
      </p:pic>
    </p:spTree>
    <p:extLst>
      <p:ext uri="{BB962C8B-B14F-4D97-AF65-F5344CB8AC3E}">
        <p14:creationId xmlns:p14="http://schemas.microsoft.com/office/powerpoint/2010/main" val="2896162764"/>
      </p:ext>
    </p:extLst>
  </p:cSld>
  <p:clrMapOvr>
    <a:overrideClrMapping bg1="dk1" tx1="lt1" bg2="dk2" tx2="lt2" accent1="accent1" accent2="accent2" accent3="accent3" accent4="accent4" accent5="accent5" accent6="accent6" hlink="hlink" folHlink="folHlink"/>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only layout 7">
    <p:bg>
      <p:bgPr>
        <a:solidFill>
          <a:schemeClr val="tx1"/>
        </a:solidFill>
        <a:effectLst/>
      </p:bgPr>
    </p:bg>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228600"/>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10428202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17_Title Only">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225382"/>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a:grpSpLocks/>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a:spLocks/>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a:spLocks/>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a:spLocks/>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a:spLocks/>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a:spLocks/>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a:spLocks/>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a:spLocks/>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328309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80540" y="237067"/>
            <a:ext cx="11230920" cy="855133"/>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p:cNvSpPr>
            <a:spLocks noGrp="1"/>
          </p:cNvSpPr>
          <p:nvPr>
            <p:ph idx="1"/>
          </p:nvPr>
        </p:nvSpPr>
        <p:spPr>
          <a:xfrm>
            <a:off x="480540" y="1317182"/>
            <a:ext cx="11230920" cy="463671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33350" y="6423061"/>
            <a:ext cx="542925" cy="276753"/>
          </a:xfrm>
          <a:prstGeom prst="rect">
            <a:avLst/>
          </a:prstGeom>
        </p:spPr>
        <p:txBody>
          <a:bodyPr/>
          <a:lstStyle>
            <a:lvl1pPr algn="ctr">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cxnSp>
        <p:nvCxnSpPr>
          <p:cNvPr id="4" name="Straight Connector 3">
            <a:extLst>
              <a:ext uri="{FF2B5EF4-FFF2-40B4-BE49-F238E27FC236}">
                <a16:creationId xmlns:a16="http://schemas.microsoft.com/office/drawing/2014/main" id="{4B7529E6-EC6D-C75C-44FA-8208CC466EFA}"/>
              </a:ext>
            </a:extLst>
          </p:cNvPr>
          <p:cNvCxnSpPr>
            <a:cxnSpLocks/>
          </p:cNvCxnSpPr>
          <p:nvPr userDrawn="1"/>
        </p:nvCxnSpPr>
        <p:spPr>
          <a:xfrm>
            <a:off x="10708782" y="198566"/>
            <a:ext cx="0" cy="543757"/>
          </a:xfrm>
          <a:prstGeom prst="line">
            <a:avLst/>
          </a:prstGeom>
          <a:ln w="952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081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7680" y="80995"/>
            <a:ext cx="10339833" cy="994771"/>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p:txBody>
          <a:bodyPr/>
          <a:lstStyle>
            <a:lvl4pPr>
              <a:buFont typeface="Arial" pitchFamily="34" charset="0"/>
              <a:buChar char="-"/>
              <a:defRPr/>
            </a:lvl4pPr>
            <a:lvl5pP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838200" y="6281769"/>
            <a:ext cx="2844800" cy="365125"/>
          </a:xfrm>
          <a:prstGeom prst="rect">
            <a:avLst/>
          </a:prstGeom>
        </p:spPr>
        <p:txBody>
          <a:bodyPr vert="horz" lIns="91440" tIns="45720" rIns="91440" bIns="45720" rtlCol="0" anchor="ctr"/>
          <a:lstStyle>
            <a:lvl1pPr algn="l">
              <a:defRPr sz="1000">
                <a:solidFill>
                  <a:srgbClr val="464847"/>
                </a:solidFill>
                <a:latin typeface="Arial"/>
                <a:cs typeface="Arial"/>
              </a:defRPr>
            </a:lvl1pPr>
          </a:lstStyle>
          <a:p>
            <a:fld id="{F45B54DF-06B5-8742-B145-530FED491F57}" type="slidenum">
              <a:rPr lang="en-US" smtClean="0"/>
              <a:pPr/>
              <a:t>‹#›</a:t>
            </a:fld>
            <a:endParaRPr lang="en-US"/>
          </a:p>
        </p:txBody>
      </p:sp>
    </p:spTree>
    <p:extLst>
      <p:ext uri="{BB962C8B-B14F-4D97-AF65-F5344CB8AC3E}">
        <p14:creationId xmlns:p14="http://schemas.microsoft.com/office/powerpoint/2010/main" val="139898401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subtitle and content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1C17E4-5110-3206-3075-38069CD3425F}"/>
              </a:ext>
            </a:extLst>
          </p:cNvPr>
          <p:cNvSpPr/>
          <p:nvPr userDrawn="1"/>
        </p:nvSpPr>
        <p:spPr>
          <a:xfrm>
            <a:off x="1" y="1371599"/>
            <a:ext cx="12192000" cy="54864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IN"/>
          </a:p>
        </p:txBody>
      </p:sp>
      <p:sp>
        <p:nvSpPr>
          <p:cNvPr id="4" name="PoP">
            <a:extLst>
              <a:ext uri="{FF2B5EF4-FFF2-40B4-BE49-F238E27FC236}">
                <a16:creationId xmlns:a16="http://schemas.microsoft.com/office/drawing/2014/main" id="{29389265-A511-7FBD-EC7F-D66D95DBD0E2}"/>
              </a:ext>
            </a:extLst>
          </p:cNvPr>
          <p:cNvSpPr>
            <a:spLocks noChangeAspect="1"/>
          </p:cNvSpPr>
          <p:nvPr userDrawn="1">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8" name="RSM">
            <a:extLst>
              <a:ext uri="{FF2B5EF4-FFF2-40B4-BE49-F238E27FC236}">
                <a16:creationId xmlns:a16="http://schemas.microsoft.com/office/drawing/2014/main" id="{2F6E9C2B-C88D-5603-82F2-F2178C8BDF70}"/>
              </a:ext>
            </a:extLst>
          </p:cNvPr>
          <p:cNvSpPr txBox="1">
            <a:spLocks/>
          </p:cNvSpPr>
          <p:nvPr userDrawn="1"/>
        </p:nvSpPr>
        <p:spPr>
          <a:xfrm>
            <a:off x="10786479" y="6456260"/>
            <a:ext cx="450005" cy="16200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1000">
                <a:solidFill>
                  <a:schemeClr val="accent4"/>
                </a:solidFill>
              </a:rPr>
              <a:t>RSM</a:t>
            </a:r>
            <a:endParaRPr sz="1000">
              <a:solidFill>
                <a:schemeClr val="accent4"/>
              </a:solidFill>
            </a:endParaRPr>
          </a:p>
        </p:txBody>
      </p:sp>
      <p:sp>
        <p:nvSpPr>
          <p:cNvPr id="9" name="Vertical bar">
            <a:extLst>
              <a:ext uri="{FF2B5EF4-FFF2-40B4-BE49-F238E27FC236}">
                <a16:creationId xmlns:a16="http://schemas.microsoft.com/office/drawing/2014/main" id="{9A09EC7D-1210-7B40-963D-FBC69F5DABB0}"/>
              </a:ext>
            </a:extLst>
          </p:cNvPr>
          <p:cNvSpPr txBox="1">
            <a:spLocks/>
          </p:cNvSpPr>
          <p:nvPr userDrawn="1"/>
        </p:nvSpPr>
        <p:spPr>
          <a:xfrm>
            <a:off x="11262319" y="6448885"/>
            <a:ext cx="50557" cy="176751"/>
          </a:xfrm>
          <a:prstGeom prst="rect">
            <a:avLst/>
          </a:prstGeom>
        </p:spPr>
        <p:txBody>
          <a:bodyPr t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1000">
                <a:solidFill>
                  <a:schemeClr val="accent4"/>
                </a:solidFill>
              </a:rPr>
              <a:t>|</a:t>
            </a:r>
            <a:endParaRPr sz="1000">
              <a:solidFill>
                <a:schemeClr val="accent4"/>
              </a:solidFill>
            </a:endParaRPr>
          </a:p>
        </p:txBody>
      </p:sp>
      <p:sp>
        <p:nvSpPr>
          <p:cNvPr id="10" name="TextBox 9">
            <a:extLst>
              <a:ext uri="{FF2B5EF4-FFF2-40B4-BE49-F238E27FC236}">
                <a16:creationId xmlns:a16="http://schemas.microsoft.com/office/drawing/2014/main" id="{B3776CDE-944A-A10B-2F5E-50924956A453}"/>
              </a:ext>
            </a:extLst>
          </p:cNvPr>
          <p:cNvSpPr txBox="1"/>
          <p:nvPr userDrawn="1"/>
        </p:nvSpPr>
        <p:spPr>
          <a:xfrm>
            <a:off x="11287389" y="6460316"/>
            <a:ext cx="240244" cy="153888"/>
          </a:xfrm>
          <a:prstGeom prst="rect">
            <a:avLst/>
          </a:prstGeom>
        </p:spPr>
        <p:txBody>
          <a:bodyPr vert="horz" wrap="none" lIns="90000" tIns="0" rIns="0" bIns="0" rtlCol="0" anchor="ctr">
            <a:noAutofit/>
          </a:bodyPr>
          <a:lstStyle>
            <a:defPPr>
              <a:defRPr lang="en-US"/>
            </a:defPPr>
            <a:lvl1pPr>
              <a:defRPr sz="1000">
                <a:solidFill>
                  <a:srgbClr val="63666A"/>
                </a:solidFill>
              </a:defRPr>
            </a:lvl1pPr>
          </a:lstStyle>
          <a:p>
            <a:pPr lvl="0"/>
            <a:fld id="{936A99BC-3C9D-4DF8-8B8C-E1FD2BDF0AD4}" type="slidenum">
              <a:rPr lang="en-US" smtClean="0">
                <a:solidFill>
                  <a:schemeClr val="accent4"/>
                </a:solidFill>
              </a:rPr>
              <a:pPr lvl="0"/>
              <a:t>‹#›</a:t>
            </a:fld>
            <a:endParaRPr lang="en-US">
              <a:solidFill>
                <a:schemeClr val="accent4"/>
              </a:solidFill>
            </a:endParaRPr>
          </a:p>
        </p:txBody>
      </p:sp>
    </p:spTree>
    <p:extLst>
      <p:ext uri="{BB962C8B-B14F-4D97-AF65-F5344CB8AC3E}">
        <p14:creationId xmlns:p14="http://schemas.microsoft.com/office/powerpoint/2010/main" val="281798099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60228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Section Break">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ECE1CFA-AA19-464F-85A5-DCFBD7019823}"/>
              </a:ext>
            </a:extLst>
          </p:cNvPr>
          <p:cNvSpPr>
            <a:spLocks noGrp="1"/>
          </p:cNvSpPr>
          <p:nvPr>
            <p:ph type="ctrTitle" hasCustomPrompt="1"/>
          </p:nvPr>
        </p:nvSpPr>
        <p:spPr>
          <a:xfrm>
            <a:off x="603850" y="1728158"/>
            <a:ext cx="5037826" cy="2602544"/>
          </a:xfrm>
        </p:spPr>
        <p:txBody>
          <a:bodyPr lIns="0" rIns="0" anchor="b">
            <a:normAutofit/>
          </a:bodyPr>
          <a:lstStyle>
            <a:lvl1pPr algn="l">
              <a:defRPr sz="3200" b="1" cap="none" baseline="0">
                <a:solidFill>
                  <a:schemeClr val="accent1"/>
                </a:solidFill>
              </a:defRPr>
            </a:lvl1pPr>
          </a:lstStyle>
          <a:p>
            <a:r>
              <a:rPr lang="en-US"/>
              <a:t>Click to edit master title style</a:t>
            </a:r>
          </a:p>
        </p:txBody>
      </p:sp>
      <p:sp>
        <p:nvSpPr>
          <p:cNvPr id="17" name="Subtitle 2">
            <a:extLst>
              <a:ext uri="{FF2B5EF4-FFF2-40B4-BE49-F238E27FC236}">
                <a16:creationId xmlns:a16="http://schemas.microsoft.com/office/drawing/2014/main" id="{AC1CCF6E-B377-421E-A154-3D9B1B501661}"/>
              </a:ext>
            </a:extLst>
          </p:cNvPr>
          <p:cNvSpPr>
            <a:spLocks noGrp="1"/>
          </p:cNvSpPr>
          <p:nvPr>
            <p:ph type="subTitle" idx="1"/>
          </p:nvPr>
        </p:nvSpPr>
        <p:spPr>
          <a:xfrm>
            <a:off x="603851" y="4479406"/>
            <a:ext cx="5037825" cy="770467"/>
          </a:xfrm>
        </p:spPr>
        <p:txBody>
          <a:bodyPr lIns="0" rIns="0">
            <a:normAutofit/>
          </a:bodyPr>
          <a:lstStyle>
            <a:lvl1pPr marL="0" indent="0" algn="l">
              <a:buNone/>
              <a:defRPr sz="1800">
                <a:solidFill>
                  <a:schemeClr val="tx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146232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490" cy="6858000"/>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349822401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19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1999" cy="6855322"/>
          </a:xfrm>
          <a:prstGeom prst="rect">
            <a:avLst/>
          </a:prstGeom>
        </p:spPr>
      </p:pic>
      <p:sp>
        <p:nvSpPr>
          <p:cNvPr id="3" name="Title 1">
            <a:extLst>
              <a:ext uri="{FF2B5EF4-FFF2-40B4-BE49-F238E27FC236}">
                <a16:creationId xmlns:a16="http://schemas.microsoft.com/office/drawing/2014/main" id="{7B4D825C-A4D0-0E8A-6D9B-506653EC219E}"/>
              </a:ext>
            </a:extLst>
          </p:cNvPr>
          <p:cNvSpPr>
            <a:spLocks noGrp="1"/>
          </p:cNvSpPr>
          <p:nvPr>
            <p:ph type="ctrTitle" hasCustomPrompt="1"/>
          </p:nvPr>
        </p:nvSpPr>
        <p:spPr>
          <a:xfrm>
            <a:off x="817562" y="1049200"/>
            <a:ext cx="5218113" cy="1071405"/>
          </a:xfrm>
          <a:noFill/>
        </p:spPr>
        <p:txBody>
          <a:bodyPr lIns="0" tIns="0" rIns="900000" bIns="0" anchor="t" anchorCtr="0"/>
          <a:lstStyle>
            <a:lvl1pPr algn="l">
              <a:lnSpc>
                <a:spcPct val="100000"/>
              </a:lnSpc>
              <a:spcBef>
                <a:spcPts val="0"/>
              </a:spcBef>
              <a:spcAft>
                <a:spcPts val="0"/>
              </a:spcAft>
              <a:defRPr sz="3600">
                <a:solidFill>
                  <a:schemeClr val="bg1"/>
                </a:solidFill>
              </a:defRPr>
            </a:lvl1pPr>
          </a:lstStyle>
          <a:p>
            <a:r>
              <a:rPr lang="en-US"/>
              <a:t>Title</a:t>
            </a:r>
            <a:br>
              <a:rPr lang="en-US"/>
            </a:br>
            <a:endParaRPr lang="en-GB"/>
          </a:p>
        </p:txBody>
      </p:sp>
      <p:sp>
        <p:nvSpPr>
          <p:cNvPr id="4" name="Text Placeholder 3">
            <a:extLst>
              <a:ext uri="{FF2B5EF4-FFF2-40B4-BE49-F238E27FC236}">
                <a16:creationId xmlns:a16="http://schemas.microsoft.com/office/drawing/2014/main" id="{E802F425-6E83-36A9-DE9E-3510D8347355}"/>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9" name="Text Placeholder 6">
            <a:extLst>
              <a:ext uri="{FF2B5EF4-FFF2-40B4-BE49-F238E27FC236}">
                <a16:creationId xmlns:a16="http://schemas.microsoft.com/office/drawing/2014/main" id="{D69CF34F-E32C-90AC-E655-B79E725803F7}"/>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23" name="Group 22">
            <a:extLst>
              <a:ext uri="{FF2B5EF4-FFF2-40B4-BE49-F238E27FC236}">
                <a16:creationId xmlns:a16="http://schemas.microsoft.com/office/drawing/2014/main" id="{A7C9EFBA-F076-546B-5B26-8F8BBE981D71}"/>
              </a:ext>
            </a:extLst>
          </p:cNvPr>
          <p:cNvGrpSpPr/>
          <p:nvPr userDrawn="1"/>
        </p:nvGrpSpPr>
        <p:grpSpPr>
          <a:xfrm>
            <a:off x="10187131" y="687949"/>
            <a:ext cx="1234969" cy="518323"/>
            <a:chOff x="7459170" y="481236"/>
            <a:chExt cx="2697427" cy="1132124"/>
          </a:xfrm>
        </p:grpSpPr>
        <p:sp>
          <p:nvSpPr>
            <p:cNvPr id="16" name="Freeform 15">
              <a:extLst>
                <a:ext uri="{FF2B5EF4-FFF2-40B4-BE49-F238E27FC236}">
                  <a16:creationId xmlns:a16="http://schemas.microsoft.com/office/drawing/2014/main" id="{BAB3935C-469A-5095-24F2-746547A53C6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BBC32F9-3839-2D8F-5D20-E9C9EB29581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68D1485-640E-7140-5D7E-E0EB2896484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306D709-3457-D599-72C6-4FF331E0EA9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DCFADC9-9C91-E539-0DB9-798BEE41BAF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5BBC27A-7182-67B8-3782-4016E3BB6E5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007A193-9117-A25E-8BF8-EF36CCCBA76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5" name="Picture Placeholder 15">
            <a:extLst>
              <a:ext uri="{FF2B5EF4-FFF2-40B4-BE49-F238E27FC236}">
                <a16:creationId xmlns:a16="http://schemas.microsoft.com/office/drawing/2014/main" id="{A9587BF7-DEF6-7654-86F3-510455AE19AF}"/>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endParaRPr lang="en-GB"/>
          </a:p>
        </p:txBody>
      </p:sp>
    </p:spTree>
    <p:extLst>
      <p:ext uri="{BB962C8B-B14F-4D97-AF65-F5344CB8AC3E}">
        <p14:creationId xmlns:p14="http://schemas.microsoft.com/office/powerpoint/2010/main" val="267359802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20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2000" cy="6855322"/>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997196"/>
          </a:xfrm>
          <a:noFill/>
        </p:spPr>
        <p:txBody>
          <a:bodyPr lIns="0" tIns="0" rIns="274320" bIns="0" anchor="t" anchorCtr="0">
            <a:noAutofit/>
          </a:bodyPr>
          <a:lstStyle>
            <a:lvl1pPr algn="l">
              <a:lnSpc>
                <a:spcPct val="90000"/>
              </a:lnSpc>
              <a:spcBef>
                <a:spcPts val="0"/>
              </a:spcBef>
              <a:spcAft>
                <a:spcPts val="0"/>
              </a:spcAft>
              <a:defRPr sz="3600">
                <a:solidFill>
                  <a:schemeClr val="bg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chor="ctr">
            <a:noAutofit/>
          </a:bodyPr>
          <a:lstStyle>
            <a:lvl1pPr algn="ctr">
              <a:defRPr>
                <a:solidFill>
                  <a:schemeClr val="bg1"/>
                </a:solidFill>
              </a:defRPr>
            </a:lvl1pPr>
          </a:lstStyle>
          <a:p>
            <a:endParaRPr lang="en-GB"/>
          </a:p>
        </p:txBody>
      </p:sp>
    </p:spTree>
    <p:extLst>
      <p:ext uri="{BB962C8B-B14F-4D97-AF65-F5344CB8AC3E}">
        <p14:creationId xmlns:p14="http://schemas.microsoft.com/office/powerpoint/2010/main" val="366399666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21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1999" cy="6855322"/>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endParaRPr lang="en-GB"/>
          </a:p>
        </p:txBody>
      </p:sp>
    </p:spTree>
    <p:extLst>
      <p:ext uri="{BB962C8B-B14F-4D97-AF65-F5344CB8AC3E}">
        <p14:creationId xmlns:p14="http://schemas.microsoft.com/office/powerpoint/2010/main" val="409884768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13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39"/>
            <a:ext cx="12191999"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4209371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14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343840557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15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0"/>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1299542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3569242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84390274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9113899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2" name="Text Placeholder 5">
            <a:extLst>
              <a:ext uri="{FF2B5EF4-FFF2-40B4-BE49-F238E27FC236}">
                <a16:creationId xmlns:a16="http://schemas.microsoft.com/office/drawing/2014/main" id="{15476F96-96A3-F297-64CD-A68870CAC866}"/>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3" name="Rectangle 2">
            <a:extLst>
              <a:ext uri="{FF2B5EF4-FFF2-40B4-BE49-F238E27FC236}">
                <a16:creationId xmlns:a16="http://schemas.microsoft.com/office/drawing/2014/main" id="{C9F37950-57D5-285F-ED6F-B80D85ADAC01}"/>
              </a:ext>
            </a:extLst>
          </p:cNvPr>
          <p:cNvSpPr/>
          <p:nvPr userDrawn="1"/>
        </p:nvSpPr>
        <p:spPr>
          <a:xfrm>
            <a:off x="8075966" y="-950927"/>
            <a:ext cx="4116033" cy="7799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Mix and match color only divider slides</a:t>
            </a: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187131" y="687949"/>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61208697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tx1"/>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r>
              <a:rPr lang="en-US"/>
              <a:t>Click icon to add picture</a:t>
            </a:r>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0900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4" name="Rectangle 3">
            <a:extLst>
              <a:ext uri="{FF2B5EF4-FFF2-40B4-BE49-F238E27FC236}">
                <a16:creationId xmlns:a16="http://schemas.microsoft.com/office/drawing/2014/main" id="{6E50E2FF-EA26-870F-B676-8DAF035F30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Either use photo dividers or color dividers don’t mix and match</a:t>
            </a:r>
          </a:p>
          <a:p>
            <a:pPr marL="0" indent="0" algn="l">
              <a:buFont typeface="+mj-lt"/>
              <a:buNone/>
            </a:pPr>
            <a:endParaRPr lang="en-US" sz="1800" b="0">
              <a:solidFill>
                <a:srgbClr val="E40046"/>
              </a:solidFill>
            </a:endParaRPr>
          </a:p>
        </p:txBody>
      </p:sp>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3594792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layout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7" name="Title Placeholder 13">
            <a:extLst>
              <a:ext uri="{FF2B5EF4-FFF2-40B4-BE49-F238E27FC236}">
                <a16:creationId xmlns:a16="http://schemas.microsoft.com/office/drawing/2014/main" id="{104D388C-C8C9-153D-E99E-4E8009911BD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Rectangle 5">
            <a:extLst>
              <a:ext uri="{FF2B5EF4-FFF2-40B4-BE49-F238E27FC236}">
                <a16:creationId xmlns:a16="http://schemas.microsoft.com/office/drawing/2014/main" id="{EC46EC70-B8F1-8496-9C2F-8EE6ADB5246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xxx</a:t>
            </a:r>
          </a:p>
          <a:p>
            <a:pPr marL="0" indent="0" algn="l">
              <a:buFont typeface="+mj-lt"/>
              <a:buNone/>
            </a:pPr>
            <a:endParaRPr lang="en-US" sz="1800" b="0">
              <a:solidFill>
                <a:srgbClr val="E40046"/>
              </a:solidFill>
            </a:endParaRPr>
          </a:p>
        </p:txBody>
      </p:sp>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Slide Number Placeholder 1">
            <a:extLst>
              <a:ext uri="{FF2B5EF4-FFF2-40B4-BE49-F238E27FC236}">
                <a16:creationId xmlns:a16="http://schemas.microsoft.com/office/drawing/2014/main" id="{2F0E98DC-8855-957B-075C-9476F2CB6AC0}"/>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7057581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C80B48E6-9A43-6F3C-E262-77B87F38BC64}"/>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38166764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7" name="Slide Number Placeholder 1">
            <a:extLst>
              <a:ext uri="{FF2B5EF4-FFF2-40B4-BE49-F238E27FC236}">
                <a16:creationId xmlns:a16="http://schemas.microsoft.com/office/drawing/2014/main" id="{B718CDCC-D8DC-B0D6-1BD9-921E8D4874E6}"/>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218248711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layout 4">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1A9ACDF7-C8FC-B221-9C32-53F084C66403}"/>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grpSp>
        <p:nvGrpSpPr>
          <p:cNvPr id="16" name="Group 15">
            <a:extLst>
              <a:ext uri="{FF2B5EF4-FFF2-40B4-BE49-F238E27FC236}">
                <a16:creationId xmlns:a16="http://schemas.microsoft.com/office/drawing/2014/main" id="{8E195C2C-CFF3-9E10-347B-6940BED6B9A4}"/>
              </a:ext>
            </a:extLst>
          </p:cNvPr>
          <p:cNvGrpSpPr/>
          <p:nvPr userDrawn="1"/>
        </p:nvGrpSpPr>
        <p:grpSpPr>
          <a:xfrm>
            <a:off x="10863102" y="309052"/>
            <a:ext cx="911847" cy="382707"/>
            <a:chOff x="7459170" y="481236"/>
            <a:chExt cx="2697427" cy="1132124"/>
          </a:xfrm>
          <a:solidFill>
            <a:schemeClr val="bg1"/>
          </a:solidFill>
        </p:grpSpPr>
        <p:sp>
          <p:nvSpPr>
            <p:cNvPr id="17" name="Freeform 3">
              <a:extLst>
                <a:ext uri="{FF2B5EF4-FFF2-40B4-BE49-F238E27FC236}">
                  <a16:creationId xmlns:a16="http://schemas.microsoft.com/office/drawing/2014/main" id="{11E5DC67-7742-369B-C00D-F45618B97D9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8" name="Freeform 7">
              <a:extLst>
                <a:ext uri="{FF2B5EF4-FFF2-40B4-BE49-F238E27FC236}">
                  <a16:creationId xmlns:a16="http://schemas.microsoft.com/office/drawing/2014/main" id="{2E8FC8C5-E847-B617-5B01-7D25C9D5688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9" name="Freeform 8">
              <a:extLst>
                <a:ext uri="{FF2B5EF4-FFF2-40B4-BE49-F238E27FC236}">
                  <a16:creationId xmlns:a16="http://schemas.microsoft.com/office/drawing/2014/main" id="{3B8A685D-031A-908C-79A6-C0FB42DB95C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0" name="Freeform 10">
              <a:extLst>
                <a:ext uri="{FF2B5EF4-FFF2-40B4-BE49-F238E27FC236}">
                  <a16:creationId xmlns:a16="http://schemas.microsoft.com/office/drawing/2014/main" id="{676EAC55-26A1-7793-E325-E25421C0ADC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A90596A8-45C1-FE4E-6EE9-5521D5C423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2" name="Freeform 12">
              <a:extLst>
                <a:ext uri="{FF2B5EF4-FFF2-40B4-BE49-F238E27FC236}">
                  <a16:creationId xmlns:a16="http://schemas.microsoft.com/office/drawing/2014/main" id="{F02C72E7-58B2-DC53-F651-35DBD502F09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3" name="Freeform 13">
              <a:extLst>
                <a:ext uri="{FF2B5EF4-FFF2-40B4-BE49-F238E27FC236}">
                  <a16:creationId xmlns:a16="http://schemas.microsoft.com/office/drawing/2014/main" id="{25D326AC-01F7-A1C9-2AB2-9826AB209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9964449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164356064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30758601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87615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_Title only layout 7">
    <p:bg>
      <p:bgPr>
        <a:solidFill>
          <a:schemeClr val="tx1"/>
        </a:solidFill>
        <a:effectLst/>
      </p:bgPr>
    </p:bg>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411480" y="228600"/>
            <a:ext cx="10621792" cy="430887"/>
          </a:xfrm>
          <a:prstGeom prst="rect">
            <a:avLst/>
          </a:prstGeom>
        </p:spPr>
        <p:txBody>
          <a:bodyPr vert="horz" wrap="square" lIns="0" tIns="0" rIns="0" bIns="0" rtlCol="0" anchor="t" anchorCtr="0">
            <a:spAutoFit/>
          </a:bodyPr>
          <a:lstStyle>
            <a:lvl1pPr>
              <a:defRPr sz="2800" baseline="0">
                <a:solidFill>
                  <a:schemeClr val="bg1"/>
                </a:solidFill>
              </a:defRPr>
            </a:lvl1pPr>
          </a:lstStyle>
          <a:p>
            <a:r>
              <a:rPr lang="en-US"/>
              <a:t>Title and subtitle</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15454631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layout 8">
    <p:bg>
      <p:bgPr>
        <a:solidFill>
          <a:schemeClr val="accent4"/>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4058A20-5A6B-F5DB-969D-CC8F3EEF2E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394224973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genda layout 1">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C80B48E6-9A43-6F3C-E262-77B87F38BC64}"/>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cxnSp>
        <p:nvCxnSpPr>
          <p:cNvPr id="19" name="Straight Connector 18">
            <a:extLst>
              <a:ext uri="{FF2B5EF4-FFF2-40B4-BE49-F238E27FC236}">
                <a16:creationId xmlns:a16="http://schemas.microsoft.com/office/drawing/2014/main" id="{135CCC4D-5CF9-5FBD-F77B-A6F94DB5C2D8}"/>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0" name="Straight Connector 19">
            <a:extLst>
              <a:ext uri="{FF2B5EF4-FFF2-40B4-BE49-F238E27FC236}">
                <a16:creationId xmlns:a16="http://schemas.microsoft.com/office/drawing/2014/main" id="{6B9DFBA5-6368-E88D-F954-303827B967AA}"/>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1" name="Straight Connector 20">
            <a:extLst>
              <a:ext uri="{FF2B5EF4-FFF2-40B4-BE49-F238E27FC236}">
                <a16:creationId xmlns:a16="http://schemas.microsoft.com/office/drawing/2014/main" id="{CBCA33FC-6477-AF5A-96D4-D19326027125}"/>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2" name="Straight Connector 21">
            <a:extLst>
              <a:ext uri="{FF2B5EF4-FFF2-40B4-BE49-F238E27FC236}">
                <a16:creationId xmlns:a16="http://schemas.microsoft.com/office/drawing/2014/main" id="{80C177B4-08C2-9D46-5865-01B97843C4A5}"/>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3" name="Straight Connector 22">
            <a:extLst>
              <a:ext uri="{FF2B5EF4-FFF2-40B4-BE49-F238E27FC236}">
                <a16:creationId xmlns:a16="http://schemas.microsoft.com/office/drawing/2014/main" id="{F31554C6-10CE-9B15-DA4E-05C3BC11AD28}"/>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4" name="Straight Connector 23">
            <a:extLst>
              <a:ext uri="{FF2B5EF4-FFF2-40B4-BE49-F238E27FC236}">
                <a16:creationId xmlns:a16="http://schemas.microsoft.com/office/drawing/2014/main" id="{6050109D-8698-D08D-52C2-FDE559507E6D}"/>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5" name="Straight Connector 24">
            <a:extLst>
              <a:ext uri="{FF2B5EF4-FFF2-40B4-BE49-F238E27FC236}">
                <a16:creationId xmlns:a16="http://schemas.microsoft.com/office/drawing/2014/main" id="{9366AA3D-683E-4B15-5588-B08FD89C2E96}"/>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0" name="Text Placeholder 39">
            <a:extLst>
              <a:ext uri="{FF2B5EF4-FFF2-40B4-BE49-F238E27FC236}">
                <a16:creationId xmlns:a16="http://schemas.microsoft.com/office/drawing/2014/main" id="{E2CBECA9-CA46-46FC-7794-5A9FE543CCDB}"/>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1" name="Text Placeholder 39">
            <a:extLst>
              <a:ext uri="{FF2B5EF4-FFF2-40B4-BE49-F238E27FC236}">
                <a16:creationId xmlns:a16="http://schemas.microsoft.com/office/drawing/2014/main" id="{2D30B758-7E0D-C0DA-97E2-A72168BC4B23}"/>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2" name="Text Placeholder 39">
            <a:extLst>
              <a:ext uri="{FF2B5EF4-FFF2-40B4-BE49-F238E27FC236}">
                <a16:creationId xmlns:a16="http://schemas.microsoft.com/office/drawing/2014/main" id="{70FC90D5-536F-3E28-21EA-30CDF1035621}"/>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43" name="Text Placeholder 39">
            <a:extLst>
              <a:ext uri="{FF2B5EF4-FFF2-40B4-BE49-F238E27FC236}">
                <a16:creationId xmlns:a16="http://schemas.microsoft.com/office/drawing/2014/main" id="{D060757D-35BA-A819-7663-14527A16BE9A}"/>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44" name="Text Placeholder 39">
            <a:extLst>
              <a:ext uri="{FF2B5EF4-FFF2-40B4-BE49-F238E27FC236}">
                <a16:creationId xmlns:a16="http://schemas.microsoft.com/office/drawing/2014/main" id="{B912733E-F0E5-CF74-1FA9-9FC280FCE2D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45" name="Text Placeholder 39">
            <a:extLst>
              <a:ext uri="{FF2B5EF4-FFF2-40B4-BE49-F238E27FC236}">
                <a16:creationId xmlns:a16="http://schemas.microsoft.com/office/drawing/2014/main" id="{9A1A9A09-CCCD-C80F-1B7A-08D15BCD89CE}"/>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46" name="Text Placeholder 39">
            <a:extLst>
              <a:ext uri="{FF2B5EF4-FFF2-40B4-BE49-F238E27FC236}">
                <a16:creationId xmlns:a16="http://schemas.microsoft.com/office/drawing/2014/main" id="{19E8923D-3CD4-44E9-90BE-9849BB275B46}"/>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47" name="Text Placeholder 39">
            <a:extLst>
              <a:ext uri="{FF2B5EF4-FFF2-40B4-BE49-F238E27FC236}">
                <a16:creationId xmlns:a16="http://schemas.microsoft.com/office/drawing/2014/main" id="{E345F7FB-748D-3448-30F4-3180075600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0" name="Text Placeholder 39">
            <a:extLst>
              <a:ext uri="{FF2B5EF4-FFF2-40B4-BE49-F238E27FC236}">
                <a16:creationId xmlns:a16="http://schemas.microsoft.com/office/drawing/2014/main" id="{51D0229B-A7D8-CCDE-811F-0A0B4491BC00}"/>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1" name="Text Placeholder 39">
            <a:extLst>
              <a:ext uri="{FF2B5EF4-FFF2-40B4-BE49-F238E27FC236}">
                <a16:creationId xmlns:a16="http://schemas.microsoft.com/office/drawing/2014/main" id="{E2053B38-6070-9530-7A9F-0D8F15AF0403}"/>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2" name="Text Placeholder 39">
            <a:extLst>
              <a:ext uri="{FF2B5EF4-FFF2-40B4-BE49-F238E27FC236}">
                <a16:creationId xmlns:a16="http://schemas.microsoft.com/office/drawing/2014/main" id="{A2F8C8C8-1352-F219-3BAA-7BC7252B77B7}"/>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3" name="Text Placeholder 39">
            <a:extLst>
              <a:ext uri="{FF2B5EF4-FFF2-40B4-BE49-F238E27FC236}">
                <a16:creationId xmlns:a16="http://schemas.microsoft.com/office/drawing/2014/main" id="{6C756CB9-21BC-666B-2D62-983CD6D15EFF}"/>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4" name="Text Placeholder 39">
            <a:extLst>
              <a:ext uri="{FF2B5EF4-FFF2-40B4-BE49-F238E27FC236}">
                <a16:creationId xmlns:a16="http://schemas.microsoft.com/office/drawing/2014/main" id="{06E4614F-45BB-9DF5-B59C-9D55B7AF89C9}"/>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5" name="Text Placeholder 39">
            <a:extLst>
              <a:ext uri="{FF2B5EF4-FFF2-40B4-BE49-F238E27FC236}">
                <a16:creationId xmlns:a16="http://schemas.microsoft.com/office/drawing/2014/main" id="{7D3A9DDF-A5EA-FF80-9E63-A3C735CA9B33}"/>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9ED4F07-CD14-AADD-1EED-A132C8C63A3D}"/>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6FCC2A08-0137-67BD-B3D4-89722CEC2799}"/>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267253548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Agenda layout 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7" name="Slide Number Placeholder 1">
            <a:extLst>
              <a:ext uri="{FF2B5EF4-FFF2-40B4-BE49-F238E27FC236}">
                <a16:creationId xmlns:a16="http://schemas.microsoft.com/office/drawing/2014/main" id="{B718CDCC-D8DC-B0D6-1BD9-921E8D4874E6}"/>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64" name="Title Placeholder 13">
            <a:extLst>
              <a:ext uri="{FF2B5EF4-FFF2-40B4-BE49-F238E27FC236}">
                <a16:creationId xmlns:a16="http://schemas.microsoft.com/office/drawing/2014/main" id="{6EB62A34-548B-BEDA-D7A4-52B80F28F6F6}"/>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65" name="Straight Connector 64">
            <a:extLst>
              <a:ext uri="{FF2B5EF4-FFF2-40B4-BE49-F238E27FC236}">
                <a16:creationId xmlns:a16="http://schemas.microsoft.com/office/drawing/2014/main" id="{E7C0E53A-2A85-E8F8-E26B-976181F90D07}"/>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6" name="Straight Connector 65">
            <a:extLst>
              <a:ext uri="{FF2B5EF4-FFF2-40B4-BE49-F238E27FC236}">
                <a16:creationId xmlns:a16="http://schemas.microsoft.com/office/drawing/2014/main" id="{5DC6CB0C-179F-81EB-02CE-0106DE1166AC}"/>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C8128A8F-98D7-3341-3CA5-E7A3743FDCDD}"/>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55CC3607-E7CC-FDEC-B87C-D626258DA100}"/>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9" name="Straight Connector 68">
            <a:extLst>
              <a:ext uri="{FF2B5EF4-FFF2-40B4-BE49-F238E27FC236}">
                <a16:creationId xmlns:a16="http://schemas.microsoft.com/office/drawing/2014/main" id="{9409FA13-0EB3-DAC4-D8E9-678F17AE1D62}"/>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0" name="Straight Connector 69">
            <a:extLst>
              <a:ext uri="{FF2B5EF4-FFF2-40B4-BE49-F238E27FC236}">
                <a16:creationId xmlns:a16="http://schemas.microsoft.com/office/drawing/2014/main" id="{DD676B04-EEFF-230F-5D92-ADB493448432}"/>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1" name="Straight Connector 70">
            <a:extLst>
              <a:ext uri="{FF2B5EF4-FFF2-40B4-BE49-F238E27FC236}">
                <a16:creationId xmlns:a16="http://schemas.microsoft.com/office/drawing/2014/main" id="{538D5F85-D448-7E5B-BDB5-0A4968D63F3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72" name="Text Placeholder 39">
            <a:extLst>
              <a:ext uri="{FF2B5EF4-FFF2-40B4-BE49-F238E27FC236}">
                <a16:creationId xmlns:a16="http://schemas.microsoft.com/office/drawing/2014/main" id="{07E73D03-5863-56DB-D568-6AB72894412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73" name="Text Placeholder 39">
            <a:extLst>
              <a:ext uri="{FF2B5EF4-FFF2-40B4-BE49-F238E27FC236}">
                <a16:creationId xmlns:a16="http://schemas.microsoft.com/office/drawing/2014/main" id="{EE959897-51AA-1BAA-0F53-BDCF2828B8C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74" name="Text Placeholder 39">
            <a:extLst>
              <a:ext uri="{FF2B5EF4-FFF2-40B4-BE49-F238E27FC236}">
                <a16:creationId xmlns:a16="http://schemas.microsoft.com/office/drawing/2014/main" id="{B456E000-7E49-11B1-C77A-0DA997F4D5EB}"/>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75" name="Text Placeholder 39">
            <a:extLst>
              <a:ext uri="{FF2B5EF4-FFF2-40B4-BE49-F238E27FC236}">
                <a16:creationId xmlns:a16="http://schemas.microsoft.com/office/drawing/2014/main" id="{3C4EF879-36E0-FF43-913F-0E9A02BA1201}"/>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76" name="Text Placeholder 39">
            <a:extLst>
              <a:ext uri="{FF2B5EF4-FFF2-40B4-BE49-F238E27FC236}">
                <a16:creationId xmlns:a16="http://schemas.microsoft.com/office/drawing/2014/main" id="{518D1BC5-FA3F-4F93-FEE1-CB7B86723DE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77" name="Text Placeholder 39">
            <a:extLst>
              <a:ext uri="{FF2B5EF4-FFF2-40B4-BE49-F238E27FC236}">
                <a16:creationId xmlns:a16="http://schemas.microsoft.com/office/drawing/2014/main" id="{F324FD2B-6ABE-7CE4-0191-5185B3BAFF4B}"/>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78" name="Text Placeholder 39">
            <a:extLst>
              <a:ext uri="{FF2B5EF4-FFF2-40B4-BE49-F238E27FC236}">
                <a16:creationId xmlns:a16="http://schemas.microsoft.com/office/drawing/2014/main" id="{06F73631-0C79-EE6F-6A24-6F2CB7E4239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79" name="Text Placeholder 39">
            <a:extLst>
              <a:ext uri="{FF2B5EF4-FFF2-40B4-BE49-F238E27FC236}">
                <a16:creationId xmlns:a16="http://schemas.microsoft.com/office/drawing/2014/main" id="{D4BFECB8-B272-4E27-73A6-DD1EB09622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80" name="Text Placeholder 39">
            <a:extLst>
              <a:ext uri="{FF2B5EF4-FFF2-40B4-BE49-F238E27FC236}">
                <a16:creationId xmlns:a16="http://schemas.microsoft.com/office/drawing/2014/main" id="{3909EADE-A5FA-971F-AF65-A48123991355}"/>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1" name="Text Placeholder 39">
            <a:extLst>
              <a:ext uri="{FF2B5EF4-FFF2-40B4-BE49-F238E27FC236}">
                <a16:creationId xmlns:a16="http://schemas.microsoft.com/office/drawing/2014/main" id="{8E045A1E-A07D-3C8A-C6B9-FA131E0B3B38}"/>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2" name="Text Placeholder 39">
            <a:extLst>
              <a:ext uri="{FF2B5EF4-FFF2-40B4-BE49-F238E27FC236}">
                <a16:creationId xmlns:a16="http://schemas.microsoft.com/office/drawing/2014/main" id="{FDF63BA5-591D-F3A6-BB3D-C74753EE1120}"/>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3" name="Text Placeholder 39">
            <a:extLst>
              <a:ext uri="{FF2B5EF4-FFF2-40B4-BE49-F238E27FC236}">
                <a16:creationId xmlns:a16="http://schemas.microsoft.com/office/drawing/2014/main" id="{5F96C7D4-5F77-30AD-13E2-6D08A59A5B11}"/>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4" name="Text Placeholder 39">
            <a:extLst>
              <a:ext uri="{FF2B5EF4-FFF2-40B4-BE49-F238E27FC236}">
                <a16:creationId xmlns:a16="http://schemas.microsoft.com/office/drawing/2014/main" id="{C8CDEF22-E859-45D9-BF9C-BBB18933EF4C}"/>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5" name="Text Placeholder 39">
            <a:extLst>
              <a:ext uri="{FF2B5EF4-FFF2-40B4-BE49-F238E27FC236}">
                <a16:creationId xmlns:a16="http://schemas.microsoft.com/office/drawing/2014/main" id="{F99BC4FF-602B-1EE0-5635-292F58CAF3C0}"/>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6" name="Text Placeholder 39">
            <a:extLst>
              <a:ext uri="{FF2B5EF4-FFF2-40B4-BE49-F238E27FC236}">
                <a16:creationId xmlns:a16="http://schemas.microsoft.com/office/drawing/2014/main" id="{F90BF824-AB0C-19AB-212C-A4BAEAB974FA}"/>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7" name="Text Placeholder 39">
            <a:extLst>
              <a:ext uri="{FF2B5EF4-FFF2-40B4-BE49-F238E27FC236}">
                <a16:creationId xmlns:a16="http://schemas.microsoft.com/office/drawing/2014/main" id="{92FE9B89-8F64-6D51-8E2B-A18271F4BC20}"/>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cxnSp>
        <p:nvCxnSpPr>
          <p:cNvPr id="3" name="Straight Connector 2">
            <a:extLst>
              <a:ext uri="{FF2B5EF4-FFF2-40B4-BE49-F238E27FC236}">
                <a16:creationId xmlns:a16="http://schemas.microsoft.com/office/drawing/2014/main" id="{FE9CFE4F-8870-822E-54C9-A3B836B8B2DA}"/>
              </a:ext>
            </a:extLst>
          </p:cNvPr>
          <p:cNvCxnSpPr/>
          <p:nvPr userDrawn="1"/>
        </p:nvCxnSpPr>
        <p:spPr>
          <a:xfrm flipH="1">
            <a:off x="5312664" y="60838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9" name="Text Placeholder 39">
            <a:extLst>
              <a:ext uri="{FF2B5EF4-FFF2-40B4-BE49-F238E27FC236}">
                <a16:creationId xmlns:a16="http://schemas.microsoft.com/office/drawing/2014/main" id="{51EF1E7F-8B42-85E5-D97A-303370A24480}"/>
              </a:ext>
            </a:extLst>
          </p:cNvPr>
          <p:cNvSpPr>
            <a:spLocks noGrp="1"/>
          </p:cNvSpPr>
          <p:nvPr>
            <p:ph type="body" sz="quarter" idx="26" hasCustomPrompt="1"/>
          </p:nvPr>
        </p:nvSpPr>
        <p:spPr>
          <a:xfrm>
            <a:off x="5312664" y="6135624"/>
            <a:ext cx="996950" cy="430212"/>
          </a:xfrm>
          <a:noFill/>
          <a:ln>
            <a:noFill/>
          </a:ln>
        </p:spPr>
        <p:txBody>
          <a:bodyPr>
            <a:normAutofit/>
          </a:bodyPr>
          <a:lstStyle>
            <a:lvl1pPr>
              <a:defRPr sz="2800">
                <a:solidFill>
                  <a:schemeClr val="bg1"/>
                </a:solidFill>
              </a:defRPr>
            </a:lvl1pPr>
          </a:lstStyle>
          <a:p>
            <a:pPr lvl="0"/>
            <a:r>
              <a:rPr lang="en-US"/>
              <a:t>08</a:t>
            </a:r>
          </a:p>
        </p:txBody>
      </p:sp>
      <p:sp>
        <p:nvSpPr>
          <p:cNvPr id="15" name="Text Placeholder 39">
            <a:extLst>
              <a:ext uri="{FF2B5EF4-FFF2-40B4-BE49-F238E27FC236}">
                <a16:creationId xmlns:a16="http://schemas.microsoft.com/office/drawing/2014/main" id="{9017FF38-A36A-2430-52CF-6D7315CBF97C}"/>
              </a:ext>
            </a:extLst>
          </p:cNvPr>
          <p:cNvSpPr>
            <a:spLocks noGrp="1"/>
          </p:cNvSpPr>
          <p:nvPr>
            <p:ph type="body" sz="quarter" idx="27" hasCustomPrompt="1"/>
          </p:nvPr>
        </p:nvSpPr>
        <p:spPr>
          <a:xfrm>
            <a:off x="6400800" y="6135624"/>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94487633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Agenda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1A9ACDF7-C8FC-B221-9C32-53F084C66403}"/>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448E2F0A-EB88-3AEB-AA37-140D830BCC44}"/>
              </a:ext>
            </a:extLst>
          </p:cNvPr>
          <p:cNvGrpSpPr/>
          <p:nvPr userDrawn="1"/>
        </p:nvGrpSpPr>
        <p:grpSpPr>
          <a:xfrm>
            <a:off x="10863102" y="309052"/>
            <a:ext cx="911847" cy="382707"/>
            <a:chOff x="7459170" y="481236"/>
            <a:chExt cx="2697427" cy="1132124"/>
          </a:xfrm>
          <a:solidFill>
            <a:schemeClr val="bg1"/>
          </a:solidFill>
        </p:grpSpPr>
        <p:sp>
          <p:nvSpPr>
            <p:cNvPr id="16" name="Freeform 3">
              <a:extLst>
                <a:ext uri="{FF2B5EF4-FFF2-40B4-BE49-F238E27FC236}">
                  <a16:creationId xmlns:a16="http://schemas.microsoft.com/office/drawing/2014/main" id="{04065129-0703-3780-A5B0-57A494D305D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7" name="Freeform 7">
              <a:extLst>
                <a:ext uri="{FF2B5EF4-FFF2-40B4-BE49-F238E27FC236}">
                  <a16:creationId xmlns:a16="http://schemas.microsoft.com/office/drawing/2014/main" id="{B4B772F5-39B3-38AE-EDD9-52228969E35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8">
              <a:extLst>
                <a:ext uri="{FF2B5EF4-FFF2-40B4-BE49-F238E27FC236}">
                  <a16:creationId xmlns:a16="http://schemas.microsoft.com/office/drawing/2014/main" id="{0E6544EE-DD5E-3AAB-A057-AFCAABDAD3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0">
              <a:extLst>
                <a:ext uri="{FF2B5EF4-FFF2-40B4-BE49-F238E27FC236}">
                  <a16:creationId xmlns:a16="http://schemas.microsoft.com/office/drawing/2014/main" id="{3D59632F-0E27-53F5-C71D-FDB41E68C4B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1">
              <a:extLst>
                <a:ext uri="{FF2B5EF4-FFF2-40B4-BE49-F238E27FC236}">
                  <a16:creationId xmlns:a16="http://schemas.microsoft.com/office/drawing/2014/main" id="{010B2E46-F5AC-6F89-3970-D1B425D07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12">
              <a:extLst>
                <a:ext uri="{FF2B5EF4-FFF2-40B4-BE49-F238E27FC236}">
                  <a16:creationId xmlns:a16="http://schemas.microsoft.com/office/drawing/2014/main" id="{BD0F27C4-5895-9BF1-019A-71F3FB089C5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13">
              <a:extLst>
                <a:ext uri="{FF2B5EF4-FFF2-40B4-BE49-F238E27FC236}">
                  <a16:creationId xmlns:a16="http://schemas.microsoft.com/office/drawing/2014/main" id="{23628B6A-984E-A1C0-58C8-AA6F7EC0554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9" name="Title Placeholder 13">
            <a:extLst>
              <a:ext uri="{FF2B5EF4-FFF2-40B4-BE49-F238E27FC236}">
                <a16:creationId xmlns:a16="http://schemas.microsoft.com/office/drawing/2014/main" id="{1E72F3D2-E81D-A9FB-3CB5-3387E2019C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589C69E9-A795-305D-BF66-7F44A3A8D0C9}"/>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E50D317A-E0E8-05E8-9522-7F5256B2148E}"/>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6CF0A759-7682-27AA-DB35-878B76242D34}"/>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0D9B7AC4-54F8-A38F-D4D0-7E8FA955A383}"/>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443B685A-8374-78D2-2D03-8B69291B85DD}"/>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58EE9976-E554-5337-0E5E-A938F9BDAC19}"/>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DE4646BF-8103-2DEA-5959-1AA24B826CC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5FAA3E12-835D-E655-78D0-ADCECA89DFC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C9F545F-1136-4470-8F71-0DF7EC609D1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E068F80C-D198-A21D-F3A1-6AFC13CE94AA}"/>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445B268D-F6A1-4B4D-4148-702A352C3922}"/>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15AAED45-F756-7524-01E4-AF583C645AB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08453C6B-C09A-F8C3-89BC-9A4E5C7835D8}"/>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01B7C4A6-4F1A-C7C0-9431-5DD51D86E0D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8FB2E255-FD50-ADF4-4FA8-E3DE13073A0D}"/>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2D87C794-8C30-0DA4-DD94-B4FDC5FEC15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7A34A8B9-CE39-8488-19E1-703536592FC2}"/>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BAE10919-7160-E908-7649-70307CEA9356}"/>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FADD6BC6-DEC9-9D0C-2CCC-D9B98B1660E4}"/>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9174C0CB-1D27-C1EA-5B34-71B5F18EB9F0}"/>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F2E5E1CF-5771-F08D-C35B-437B00CDFC28}"/>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70198A42-ABED-7A3E-AB7D-E20627325196}"/>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DE1E1CAD-7920-187A-B826-7E4A49A624FA}"/>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378077079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Agenda layout 4">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Slide Number Placeholder 1">
            <a:extLst>
              <a:ext uri="{FF2B5EF4-FFF2-40B4-BE49-F238E27FC236}">
                <a16:creationId xmlns:a16="http://schemas.microsoft.com/office/drawing/2014/main" id="{2F0E98DC-8855-957B-075C-9476F2CB6AC0}"/>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39" name="Title Placeholder 13">
            <a:extLst>
              <a:ext uri="{FF2B5EF4-FFF2-40B4-BE49-F238E27FC236}">
                <a16:creationId xmlns:a16="http://schemas.microsoft.com/office/drawing/2014/main" id="{1C33E444-FA0F-D986-784C-71E4A797F5B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9EAAEF78-5E53-87D8-9D93-0D1035872D9B}"/>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9A5D8CCC-D1C3-287B-1E63-82F6D70CE710}"/>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3867E2EB-7B83-C208-27BE-16E75566446A}"/>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C3E8CD87-5C72-E62A-E17A-032FB2AE3DF2}"/>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A6263FF5-B0BE-19EB-A815-E5FC3B104AFE}"/>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78B7F650-F615-076D-72D4-FAC9D377C703}"/>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37D5EFD3-01BE-9D2E-5498-A2566B7FF9F0}"/>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9EBB322B-3F8A-82A0-D38C-3B0EAF274D6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95B2319-0567-C743-748B-627E75B707E8}"/>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31912C3E-7ADD-21D1-6311-94E61BD523B2}"/>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B35A7D17-0BA1-50CD-BFF9-110B4144B1CD}"/>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58649877-7697-942F-0AFD-04CE442360F3}"/>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1D2B4700-BEF8-D5FC-E4AF-98C66B5EE995}"/>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21339569-E30C-E034-14CD-1C3181FCEBDE}"/>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F3F41331-49E0-608C-5019-6833E7C011FC}"/>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74CC074E-BF67-042C-48A5-4A746E6CF5C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05EC573-9874-C54D-053A-84481BF921CB}"/>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35E2E518-EF54-E1BB-579C-15D087341CAA}"/>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5079E896-AC28-01D8-4E40-24CA2BC65F8E}"/>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486A4BB5-AB33-55A1-72FB-7105E710DDFD}"/>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3BDA6188-AB2E-2801-C4F6-A4F45CC5F1AD}"/>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84FA20F9-E22B-2F8D-C673-C55E58244BE5}"/>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FD73D747-A2B3-C49F-AFAF-4B87F8170384}"/>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341109617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2146" y="72735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028189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ubtitle and content layout">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9576275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pic>
        <p:nvPicPr>
          <p:cNvPr id="37" name="Graphic 36">
            <a:extLst>
              <a:ext uri="{FF2B5EF4-FFF2-40B4-BE49-F238E27FC236}">
                <a16:creationId xmlns:a16="http://schemas.microsoft.com/office/drawing/2014/main" id="{51739BCC-B01A-1378-F0E4-53D9BC6546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p:nvPr>
        </p:nvSpPr>
        <p:spPr>
          <a:xfrm>
            <a:off x="815974"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893801"/>
            <a:ext cx="5208588" cy="382587"/>
          </a:xfrm>
        </p:spPr>
        <p:txBody>
          <a:bodyPr/>
          <a:lstStyle>
            <a:lvl1pPr>
              <a:defRPr sz="20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893801"/>
            <a:ext cx="5240129"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s</a:t>
            </a:r>
            <a:endParaRPr lang="en-GB"/>
          </a:p>
        </p:txBody>
      </p:sp>
      <p:sp>
        <p:nvSpPr>
          <p:cNvPr id="7" name="Text Placeholder 2">
            <a:extLst>
              <a:ext uri="{FF2B5EF4-FFF2-40B4-BE49-F238E27FC236}">
                <a16:creationId xmlns:a16="http://schemas.microsoft.com/office/drawing/2014/main" id="{5C6D5DA2-DA15-F87F-6881-BF5592EDA52E}"/>
              </a:ext>
            </a:extLst>
          </p:cNvPr>
          <p:cNvSpPr>
            <a:spLocks noGrp="1"/>
          </p:cNvSpPr>
          <p:nvPr>
            <p:ph type="body" sz="quarter" idx="17"/>
          </p:nvPr>
        </p:nvSpPr>
        <p:spPr>
          <a:xfrm>
            <a:off x="6217973"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6F5E924F-D666-848D-1C0A-839E5C7C0AF0}"/>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1" name="Rectangle 10">
            <a:extLst>
              <a:ext uri="{FF2B5EF4-FFF2-40B4-BE49-F238E27FC236}">
                <a16:creationId xmlns:a16="http://schemas.microsoft.com/office/drawing/2014/main" id="{7B3103E6-1AED-761F-6EDC-C1B83F36F4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2" name="Slide Number Placeholder 2">
            <a:extLst>
              <a:ext uri="{FF2B5EF4-FFF2-40B4-BE49-F238E27FC236}">
                <a16:creationId xmlns:a16="http://schemas.microsoft.com/office/drawing/2014/main" id="{B281D2B4-8EFC-C573-2175-FA6BE4B0E52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65B9153A-9F04-345A-4CA1-963B01DA3273}"/>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1256046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372C2C46-13EE-1E57-91A8-AAB689E096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4188" y="2276389"/>
            <a:ext cx="3410149"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893801"/>
            <a:ext cx="3403771"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s</a:t>
            </a:r>
            <a:endParaRPr lang="en-GB"/>
          </a:p>
        </p:txBody>
      </p:sp>
      <p:sp>
        <p:nvSpPr>
          <p:cNvPr id="4" name="Text Placeholder 2">
            <a:extLst>
              <a:ext uri="{FF2B5EF4-FFF2-40B4-BE49-F238E27FC236}">
                <a16:creationId xmlns:a16="http://schemas.microsoft.com/office/drawing/2014/main" id="{F2280CB3-0425-BA90-15EC-559E7DA19F47}"/>
              </a:ext>
            </a:extLst>
          </p:cNvPr>
          <p:cNvSpPr>
            <a:spLocks noGrp="1"/>
          </p:cNvSpPr>
          <p:nvPr>
            <p:ph type="body" sz="quarter" idx="16" hasCustomPrompt="1"/>
          </p:nvPr>
        </p:nvSpPr>
        <p:spPr>
          <a:xfrm>
            <a:off x="4416425" y="2276389"/>
            <a:ext cx="3403771"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893801"/>
            <a:ext cx="3397405" cy="382587"/>
          </a:xfrm>
        </p:spPr>
        <p:txBody>
          <a:bodyPr/>
          <a:lstStyle>
            <a:lvl1pPr>
              <a:defRPr sz="2000" b="1">
                <a:solidFill>
                  <a:schemeClr val="tx2"/>
                </a:solidFill>
                <a:latin typeface="+mn-lt"/>
              </a:defRPr>
            </a:lvl1pPr>
          </a:lstStyle>
          <a:p>
            <a:pPr lvl="0"/>
            <a:r>
              <a:rPr lang="en-US"/>
              <a:t>Click to add text</a:t>
            </a:r>
          </a:p>
        </p:txBody>
      </p:sp>
      <p:sp>
        <p:nvSpPr>
          <p:cNvPr id="11" name="Text Placeholder 2">
            <a:extLst>
              <a:ext uri="{FF2B5EF4-FFF2-40B4-BE49-F238E27FC236}">
                <a16:creationId xmlns:a16="http://schemas.microsoft.com/office/drawing/2014/main" id="{3B7E163D-016A-E15E-158B-089D6A0C574C}"/>
              </a:ext>
            </a:extLst>
          </p:cNvPr>
          <p:cNvSpPr>
            <a:spLocks noGrp="1"/>
          </p:cNvSpPr>
          <p:nvPr>
            <p:ph type="body" sz="quarter" idx="18" hasCustomPrompt="1"/>
          </p:nvPr>
        </p:nvSpPr>
        <p:spPr>
          <a:xfrm>
            <a:off x="8008917" y="2276389"/>
            <a:ext cx="3427066" cy="3924386"/>
          </a:xfrm>
          <a:prstGeom prst="rect">
            <a:avLst/>
          </a:prstGeom>
          <a:noFill/>
        </p:spPr>
        <p:txBody>
          <a:bodyPr lIns="10800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893801"/>
            <a:ext cx="3420657" cy="382587"/>
          </a:xfrm>
        </p:spPr>
        <p:txBody>
          <a:bodyPr/>
          <a:lstStyle>
            <a:lvl1pPr>
              <a:defRPr sz="2000" b="1">
                <a:solidFill>
                  <a:schemeClr val="tx2"/>
                </a:solidFill>
                <a:latin typeface="+mn-lt"/>
              </a:defRPr>
            </a:lvl1pPr>
          </a:lstStyle>
          <a:p>
            <a:pPr lvl="0"/>
            <a:r>
              <a:rPr lang="en-US"/>
              <a:t>Click to add text</a:t>
            </a:r>
          </a:p>
        </p:txBody>
      </p:sp>
      <p:sp>
        <p:nvSpPr>
          <p:cNvPr id="2" name="Text Placeholder 5">
            <a:extLst>
              <a:ext uri="{FF2B5EF4-FFF2-40B4-BE49-F238E27FC236}">
                <a16:creationId xmlns:a16="http://schemas.microsoft.com/office/drawing/2014/main" id="{4F317C24-7498-DFEA-E5B3-AFB38E2261DE}"/>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3" name="Rectangle 12">
            <a:extLst>
              <a:ext uri="{FF2B5EF4-FFF2-40B4-BE49-F238E27FC236}">
                <a16:creationId xmlns:a16="http://schemas.microsoft.com/office/drawing/2014/main" id="{D5B1B7A5-9E52-CA8A-2A4E-796D7A6C5998}"/>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5" name="Slide Number Placeholder 2">
            <a:extLst>
              <a:ext uri="{FF2B5EF4-FFF2-40B4-BE49-F238E27FC236}">
                <a16:creationId xmlns:a16="http://schemas.microsoft.com/office/drawing/2014/main" id="{ABF0B49C-92A3-48DC-5D9F-0EF0695D68C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5" name="Group 4">
            <a:extLst>
              <a:ext uri="{FF2B5EF4-FFF2-40B4-BE49-F238E27FC236}">
                <a16:creationId xmlns:a16="http://schemas.microsoft.com/office/drawing/2014/main" id="{591F3DED-33E1-2A27-8417-C862386CC9D7}"/>
              </a:ext>
            </a:extLst>
          </p:cNvPr>
          <p:cNvGrpSpPr/>
          <p:nvPr userDrawn="1"/>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23837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Divider">
    <p:spTree>
      <p:nvGrpSpPr>
        <p:cNvPr id="1" name=""/>
        <p:cNvGrpSpPr/>
        <p:nvPr/>
      </p:nvGrpSpPr>
      <p:grpSpPr>
        <a:xfrm>
          <a:off x="0" y="0"/>
          <a:ext cx="0" cy="0"/>
          <a:chOff x="0" y="0"/>
          <a:chExt cx="0" cy="0"/>
        </a:xfrm>
      </p:grpSpPr>
      <p:pic>
        <p:nvPicPr>
          <p:cNvPr id="13" name="Progress blocks">
            <a:extLst>
              <a:ext uri="{FF2B5EF4-FFF2-40B4-BE49-F238E27FC236}">
                <a16:creationId xmlns:a16="http://schemas.microsoft.com/office/drawing/2014/main" id="{BC8C1B60-3832-442C-8271-CBEF23084AA0}"/>
              </a:ext>
            </a:extLst>
          </p:cNvPr>
          <p:cNvPicPr>
            <a:picLocks noChangeAspect="1"/>
          </p:cNvPicPr>
          <p:nvPr/>
        </p:nvPicPr>
        <p:blipFill rotWithShape="1">
          <a:blip r:embed="rId2">
            <a:extLst>
              <a:ext uri="{28A0092B-C50C-407E-A947-70E740481C1C}">
                <a14:useLocalDpi xmlns:a14="http://schemas.microsoft.com/office/drawing/2010/main" val="0"/>
              </a:ext>
            </a:extLst>
          </a:blip>
          <a:srcRect l="24685"/>
          <a:stretch/>
        </p:blipFill>
        <p:spPr>
          <a:xfrm>
            <a:off x="3009900" y="883"/>
            <a:ext cx="9182098" cy="6856445"/>
          </a:xfrm>
          <a:prstGeom prst="rect">
            <a:avLst/>
          </a:prstGeom>
        </p:spPr>
      </p:pic>
      <p:sp>
        <p:nvSpPr>
          <p:cNvPr id="2" name="Divider Subtitle"/>
          <p:cNvSpPr>
            <a:spLocks noGrp="1"/>
          </p:cNvSpPr>
          <p:nvPr>
            <p:ph type="title" hasCustomPrompt="1"/>
          </p:nvPr>
        </p:nvSpPr>
        <p:spPr>
          <a:xfrm>
            <a:off x="4991100" y="4809744"/>
            <a:ext cx="6118860" cy="420624"/>
          </a:xfrm>
        </p:spPr>
        <p:txBody>
          <a:bodyPr anchor="t" anchorCtr="0">
            <a:normAutofit/>
          </a:bodyPr>
          <a:lstStyle>
            <a:lvl1pPr algn="l">
              <a:defRPr sz="2667" b="0" cap="none" baseline="0">
                <a:solidFill>
                  <a:schemeClr val="bg1"/>
                </a:solidFill>
                <a:latin typeface="+mn-lt"/>
              </a:defRPr>
            </a:lvl1pPr>
          </a:lstStyle>
          <a:p>
            <a:r>
              <a:rPr lang="en-US"/>
              <a:t>Click to edit divider subtitle</a:t>
            </a:r>
          </a:p>
        </p:txBody>
      </p:sp>
      <p:sp>
        <p:nvSpPr>
          <p:cNvPr id="3" name="Divider Title"/>
          <p:cNvSpPr>
            <a:spLocks noGrp="1"/>
          </p:cNvSpPr>
          <p:nvPr>
            <p:ph type="body" idx="1" hasCustomPrompt="1"/>
          </p:nvPr>
        </p:nvSpPr>
        <p:spPr>
          <a:xfrm>
            <a:off x="4991100" y="2276856"/>
            <a:ext cx="6118860" cy="1975104"/>
          </a:xfrm>
        </p:spPr>
        <p:txBody>
          <a:bodyPr anchor="b" anchorCtr="0">
            <a:noAutofit/>
          </a:bodyPr>
          <a:lstStyle>
            <a:lvl1pPr marL="0" indent="0">
              <a:lnSpc>
                <a:spcPct val="100000"/>
              </a:lnSpc>
              <a:spcAft>
                <a:spcPts val="0"/>
              </a:spcAft>
              <a:buNone/>
              <a:defRPr sz="4400" cap="all" baseline="0">
                <a:solidFill>
                  <a:schemeClr val="bg1"/>
                </a:solidFill>
                <a:latin typeface="+mj-lt"/>
              </a:defRPr>
            </a:lvl1pPr>
            <a:lvl2pPr marL="544166" indent="0">
              <a:buNone/>
              <a:defRPr sz="2133">
                <a:solidFill>
                  <a:schemeClr val="tx1">
                    <a:tint val="75000"/>
                  </a:schemeClr>
                </a:solidFill>
              </a:defRPr>
            </a:lvl2pPr>
            <a:lvl3pPr marL="1088333" indent="0">
              <a:buNone/>
              <a:defRPr sz="1867">
                <a:solidFill>
                  <a:schemeClr val="tx1">
                    <a:tint val="75000"/>
                  </a:schemeClr>
                </a:solidFill>
              </a:defRPr>
            </a:lvl3pPr>
            <a:lvl4pPr marL="1632498" indent="0">
              <a:buNone/>
              <a:defRPr sz="1733">
                <a:solidFill>
                  <a:schemeClr val="tx1">
                    <a:tint val="75000"/>
                  </a:schemeClr>
                </a:solidFill>
              </a:defRPr>
            </a:lvl4pPr>
            <a:lvl5pPr marL="2176666" indent="0">
              <a:buNone/>
              <a:defRPr sz="1733">
                <a:solidFill>
                  <a:schemeClr val="tx1">
                    <a:tint val="75000"/>
                  </a:schemeClr>
                </a:solidFill>
              </a:defRPr>
            </a:lvl5pPr>
            <a:lvl6pPr marL="2720832" indent="0">
              <a:buNone/>
              <a:defRPr sz="1733">
                <a:solidFill>
                  <a:schemeClr val="tx1">
                    <a:tint val="75000"/>
                  </a:schemeClr>
                </a:solidFill>
              </a:defRPr>
            </a:lvl6pPr>
            <a:lvl7pPr marL="3264997" indent="0">
              <a:buNone/>
              <a:defRPr sz="1733">
                <a:solidFill>
                  <a:schemeClr val="tx1">
                    <a:tint val="75000"/>
                  </a:schemeClr>
                </a:solidFill>
              </a:defRPr>
            </a:lvl7pPr>
            <a:lvl8pPr marL="3809163" indent="0">
              <a:buNone/>
              <a:defRPr sz="1733">
                <a:solidFill>
                  <a:schemeClr val="tx1">
                    <a:tint val="75000"/>
                  </a:schemeClr>
                </a:solidFill>
              </a:defRPr>
            </a:lvl8pPr>
            <a:lvl9pPr marL="4353330" indent="0">
              <a:buNone/>
              <a:defRPr sz="1733">
                <a:solidFill>
                  <a:schemeClr val="tx1">
                    <a:tint val="75000"/>
                  </a:schemeClr>
                </a:solidFill>
              </a:defRPr>
            </a:lvl9pPr>
          </a:lstStyle>
          <a:p>
            <a:pPr lvl="0"/>
            <a:r>
              <a:rPr lang="en-US"/>
              <a:t>Click to edit divider title</a:t>
            </a:r>
          </a:p>
        </p:txBody>
      </p:sp>
      <p:pic>
        <p:nvPicPr>
          <p:cNvPr id="14" name="RSM Logo" descr="Z:\RSM International\1 Design\2015\Brand\Guidelines\Logos\Logos-03.png">
            <a:extLst>
              <a:ext uri="{FF2B5EF4-FFF2-40B4-BE49-F238E27FC236}">
                <a16:creationId xmlns:a16="http://schemas.microsoft.com/office/drawing/2014/main" id="{1594667D-294D-42D5-905E-624CB17110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37313" y="335301"/>
            <a:ext cx="1464507" cy="626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793227"/>
      </p:ext>
    </p:extLst>
  </p:cSld>
  <p:clrMapOvr>
    <a:masterClrMapping/>
  </p:clrMapOvr>
  <p:extLst>
    <p:ext uri="{DCECCB84-F9BA-43D5-87BE-67443E8EF086}">
      <p15:sldGuideLst xmlns:p15="http://schemas.microsoft.com/office/powerpoint/2012/main">
        <p15:guide id="1" pos="3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5066" b="10497"/>
          <a:stretch/>
        </p:blipFill>
        <p:spPr>
          <a:xfrm>
            <a:off x="621047" y="736879"/>
            <a:ext cx="11570954" cy="6121122"/>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182880"/>
            <a:ext cx="10007498" cy="492443"/>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 name="Slide Number Placeholder 4">
            <a:extLst>
              <a:ext uri="{FF2B5EF4-FFF2-40B4-BE49-F238E27FC236}">
                <a16:creationId xmlns:a16="http://schemas.microsoft.com/office/drawing/2014/main" id="{6E1C4791-7F79-47DC-9868-772FC22F505E}"/>
              </a:ext>
            </a:extLst>
          </p:cNvPr>
          <p:cNvSpPr>
            <a:spLocks noGrp="1"/>
          </p:cNvSpPr>
          <p:nvPr>
            <p:ph type="sldNum" sz="quarter" idx="4"/>
          </p:nvPr>
        </p:nvSpPr>
        <p:spPr>
          <a:xfrm>
            <a:off x="11525503" y="6646962"/>
            <a:ext cx="600428" cy="153888"/>
          </a:xfrm>
          <a:prstGeom prst="rect">
            <a:avLst/>
          </a:prstGeom>
        </p:spPr>
        <p:txBody>
          <a:bodyPr/>
          <a:lstStyle/>
          <a:p>
            <a:r>
              <a:rPr lang="en-GB"/>
              <a:t>RSM | </a:t>
            </a:r>
            <a:fld id="{D3664AF6-26E3-4378-990F-C4F4E21208D6}" type="slidenum">
              <a:rPr smtClean="0"/>
              <a:pPr/>
              <a:t>‹#›</a:t>
            </a:fld>
            <a:endParaRPr lang="en-US"/>
          </a:p>
        </p:txBody>
      </p:sp>
    </p:spTree>
    <p:extLst>
      <p:ext uri="{BB962C8B-B14F-4D97-AF65-F5344CB8AC3E}">
        <p14:creationId xmlns:p14="http://schemas.microsoft.com/office/powerpoint/2010/main" val="298216027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2CCCDA05-BDEF-3415-CEF1-21FF7C23FF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5" y="2276389"/>
            <a:ext cx="251936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893802"/>
            <a:ext cx="2514650"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Title slide</a:t>
            </a:r>
            <a:endParaRPr lang="en-GB"/>
          </a:p>
        </p:txBody>
      </p:sp>
      <p:sp>
        <p:nvSpPr>
          <p:cNvPr id="15" name="Text Placeholder 2">
            <a:extLst>
              <a:ext uri="{FF2B5EF4-FFF2-40B4-BE49-F238E27FC236}">
                <a16:creationId xmlns:a16="http://schemas.microsoft.com/office/drawing/2014/main" id="{6FBF75A8-4C81-F086-3A74-0A8419F8800A}"/>
              </a:ext>
            </a:extLst>
          </p:cNvPr>
          <p:cNvSpPr>
            <a:spLocks noGrp="1"/>
          </p:cNvSpPr>
          <p:nvPr>
            <p:ph type="body" sz="quarter" idx="16" hasCustomPrompt="1"/>
          </p:nvPr>
        </p:nvSpPr>
        <p:spPr>
          <a:xfrm>
            <a:off x="8916907" y="2276389"/>
            <a:ext cx="2519443"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6" name="Text Placeholder 2">
            <a:extLst>
              <a:ext uri="{FF2B5EF4-FFF2-40B4-BE49-F238E27FC236}">
                <a16:creationId xmlns:a16="http://schemas.microsoft.com/office/drawing/2014/main" id="{C63FB139-E507-822B-ED86-9333FEAE8E3D}"/>
              </a:ext>
            </a:extLst>
          </p:cNvPr>
          <p:cNvSpPr>
            <a:spLocks noGrp="1"/>
          </p:cNvSpPr>
          <p:nvPr>
            <p:ph type="body" sz="quarter" idx="17" hasCustomPrompt="1"/>
          </p:nvPr>
        </p:nvSpPr>
        <p:spPr>
          <a:xfrm>
            <a:off x="3503613" y="2276389"/>
            <a:ext cx="254372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7" name="Text Placeholder 2">
            <a:extLst>
              <a:ext uri="{FF2B5EF4-FFF2-40B4-BE49-F238E27FC236}">
                <a16:creationId xmlns:a16="http://schemas.microsoft.com/office/drawing/2014/main" id="{68898358-87A3-BA3F-8956-126F4FAA6E92}"/>
              </a:ext>
            </a:extLst>
          </p:cNvPr>
          <p:cNvSpPr>
            <a:spLocks noGrp="1"/>
          </p:cNvSpPr>
          <p:nvPr>
            <p:ph type="body" sz="quarter" idx="18" hasCustomPrompt="1"/>
          </p:nvPr>
        </p:nvSpPr>
        <p:spPr>
          <a:xfrm>
            <a:off x="6215611" y="2276389"/>
            <a:ext cx="2533020"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893802"/>
            <a:ext cx="2514731" cy="382587"/>
          </a:xfrm>
        </p:spPr>
        <p:txBody>
          <a:bodyPr/>
          <a:lstStyle>
            <a:lvl1pPr>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893802"/>
            <a:ext cx="2538964" cy="382587"/>
          </a:xfrm>
        </p:spPr>
        <p:txBody>
          <a:bodyPr/>
          <a:lstStyle>
            <a:lvl1pPr>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893802"/>
            <a:ext cx="2528283" cy="382587"/>
          </a:xfrm>
        </p:spPr>
        <p:txBody>
          <a:bodyPr/>
          <a:lstStyle>
            <a:lvl1pPr>
              <a:defRPr sz="2000" b="1">
                <a:solidFill>
                  <a:schemeClr val="tx2"/>
                </a:solidFill>
                <a:latin typeface="+mn-lt"/>
              </a:defRPr>
            </a:lvl1pPr>
          </a:lstStyle>
          <a:p>
            <a:pPr lvl="0"/>
            <a:r>
              <a:rPr lang="en-US"/>
              <a:t>Click to add text</a:t>
            </a:r>
          </a:p>
        </p:txBody>
      </p:sp>
      <p:sp>
        <p:nvSpPr>
          <p:cNvPr id="9" name="Text Placeholder 5">
            <a:extLst>
              <a:ext uri="{FF2B5EF4-FFF2-40B4-BE49-F238E27FC236}">
                <a16:creationId xmlns:a16="http://schemas.microsoft.com/office/drawing/2014/main" id="{A4CD6C2B-A474-5641-7422-7875CED6ED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Rectangle 9">
            <a:extLst>
              <a:ext uri="{FF2B5EF4-FFF2-40B4-BE49-F238E27FC236}">
                <a16:creationId xmlns:a16="http://schemas.microsoft.com/office/drawing/2014/main" id="{6BC71479-8F96-5552-9746-BAAC806BC2E6}"/>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1" name="Slide Number Placeholder 2">
            <a:extLst>
              <a:ext uri="{FF2B5EF4-FFF2-40B4-BE49-F238E27FC236}">
                <a16:creationId xmlns:a16="http://schemas.microsoft.com/office/drawing/2014/main" id="{C582F6AA-C1A9-DA44-9E2E-42A5C6F9D6F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C66BC4-CE7E-E443-BEF3-B7BBA49FE37B}"/>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0475847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4019590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ros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44037E1-26A7-ED3C-E482-708BAAA49C76}"/>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966B258-B64F-4C37-95EE-DA12F2437C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8495EF2-DC0E-4705-9377-828A5C59A7A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6CF9A18-6B79-9281-E358-AA370155A1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9D9BD7C-6ABA-014B-B051-F78B0A09E46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F4DBC16-F0ED-C2E1-4364-FB9028DCED9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6111B3EC-1860-2199-3CF6-3EB4CDCAF2A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F8E482C-420E-4F3B-DFC0-AB9874161AB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6" name="Graphic 5">
            <a:extLst>
              <a:ext uri="{FF2B5EF4-FFF2-40B4-BE49-F238E27FC236}">
                <a16:creationId xmlns:a16="http://schemas.microsoft.com/office/drawing/2014/main" id="{47A12691-3819-20BF-D46D-3E1BFE3B92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Pros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12" name="Text Placeholder 7">
            <a:extLst>
              <a:ext uri="{FF2B5EF4-FFF2-40B4-BE49-F238E27FC236}">
                <a16:creationId xmlns:a16="http://schemas.microsoft.com/office/drawing/2014/main" id="{4ACED297-CFD7-168D-9632-EA0F9D6E07C0}"/>
              </a:ext>
            </a:extLst>
          </p:cNvPr>
          <p:cNvSpPr>
            <a:spLocks noGrp="1"/>
          </p:cNvSpPr>
          <p:nvPr>
            <p:ph type="body" sz="quarter" idx="16" hasCustomPrompt="1"/>
          </p:nvPr>
        </p:nvSpPr>
        <p:spPr>
          <a:xfrm>
            <a:off x="4243997" y="1165137"/>
            <a:ext cx="7192353" cy="382587"/>
          </a:xfrm>
        </p:spPr>
        <p:txBody>
          <a:bodyPr/>
          <a:lstStyle>
            <a:lvl1pPr>
              <a:defRPr sz="2000" b="1">
                <a:solidFill>
                  <a:schemeClr val="tx2"/>
                </a:solidFill>
                <a:latin typeface="+mn-lt"/>
              </a:defRPr>
            </a:lvl1pPr>
          </a:lstStyle>
          <a:p>
            <a:pPr lvl="0"/>
            <a:r>
              <a:rPr lang="en-US"/>
              <a:t>Two column text format</a:t>
            </a:r>
          </a:p>
        </p:txBody>
      </p:sp>
      <p:sp>
        <p:nvSpPr>
          <p:cNvPr id="23" name="Text Placeholder 2">
            <a:extLst>
              <a:ext uri="{FF2B5EF4-FFF2-40B4-BE49-F238E27FC236}">
                <a16:creationId xmlns:a16="http://schemas.microsoft.com/office/drawing/2014/main" id="{AA6D049B-EC34-0EAD-599F-FF556A2DA465}"/>
              </a:ext>
            </a:extLst>
          </p:cNvPr>
          <p:cNvSpPr>
            <a:spLocks noGrp="1"/>
          </p:cNvSpPr>
          <p:nvPr>
            <p:ph type="body" sz="quarter" idx="23" hasCustomPrompt="1"/>
          </p:nvPr>
        </p:nvSpPr>
        <p:spPr>
          <a:xfrm>
            <a:off x="4235450" y="1547724"/>
            <a:ext cx="7200819" cy="3705110"/>
          </a:xfrm>
          <a:prstGeom prst="rect">
            <a:avLst/>
          </a:prstGeom>
          <a:noFill/>
        </p:spPr>
        <p:txBody>
          <a:bodyPr lIns="0" tIns="0" rIns="0" bIns="0" numCol="2" spcCol="180000">
            <a:noAutofit/>
          </a:bodyPr>
          <a:lstStyle>
            <a:lvl1pPr>
              <a:lnSpc>
                <a:spcPct val="100000"/>
              </a:lnSpc>
              <a:spcBef>
                <a:spcPts val="600"/>
              </a:spcBef>
              <a:spcAft>
                <a:spcPts val="0"/>
              </a:spcAft>
              <a:defRPr sz="1400">
                <a:solidFill>
                  <a:schemeClr val="accent4"/>
                </a:solidFill>
              </a:defRPr>
            </a:lvl1pPr>
            <a:lvl2pPr>
              <a:lnSpc>
                <a:spcPct val="100000"/>
              </a:lnSpc>
              <a:spcBef>
                <a:spcPts val="600"/>
              </a:spcBef>
              <a:spcAft>
                <a:spcPts val="0"/>
              </a:spcAft>
              <a:defRPr sz="1600">
                <a:solidFill>
                  <a:schemeClr val="bg2"/>
                </a:solidFill>
              </a:defRPr>
            </a:lvl2pPr>
            <a:lvl3pPr>
              <a:lnSpc>
                <a:spcPct val="100000"/>
              </a:lnSpc>
              <a:spcBef>
                <a:spcPts val="600"/>
              </a:spcBef>
              <a:spcAft>
                <a:spcPts val="0"/>
              </a:spcAft>
              <a:defRPr sz="1600">
                <a:solidFill>
                  <a:schemeClr val="bg2"/>
                </a:solidFill>
              </a:defRPr>
            </a:lvl3pPr>
            <a:lvl4pPr>
              <a:lnSpc>
                <a:spcPct val="100000"/>
              </a:lnSpc>
              <a:spcBef>
                <a:spcPts val="600"/>
              </a:spcBef>
              <a:spcAft>
                <a:spcPts val="0"/>
              </a:spcAft>
              <a:buClrTx/>
              <a:defRPr sz="1600">
                <a:solidFill>
                  <a:schemeClr val="tx1"/>
                </a:solidFill>
              </a:defRPr>
            </a:lvl4pPr>
            <a:lvl5pPr>
              <a:lnSpc>
                <a:spcPct val="100000"/>
              </a:lnSpc>
              <a:spcBef>
                <a:spcPts val="600"/>
              </a:spcBef>
              <a:spcAft>
                <a:spcPts val="0"/>
              </a:spcAft>
              <a:buClrTx/>
              <a:defRPr sz="1600">
                <a:solidFill>
                  <a:schemeClr val="tx1"/>
                </a:solidFill>
              </a:defRPr>
            </a:lvl5pPr>
          </a:lstStyle>
          <a:p>
            <a:r>
              <a:rPr lang="en-GB"/>
              <a:t>This box is set up with two text columns</a:t>
            </a:r>
          </a:p>
        </p:txBody>
      </p:sp>
      <p:sp>
        <p:nvSpPr>
          <p:cNvPr id="8" name="Slide Number Placeholder 2">
            <a:extLst>
              <a:ext uri="{FF2B5EF4-FFF2-40B4-BE49-F238E27FC236}">
                <a16:creationId xmlns:a16="http://schemas.microsoft.com/office/drawing/2014/main" id="{F1EAB86C-A4EB-31CF-F3F1-4233A32FB66D}"/>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82197237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sp>
        <p:nvSpPr>
          <p:cNvPr id="4" name="Slide Number Placeholder 2">
            <a:extLst>
              <a:ext uri="{FF2B5EF4-FFF2-40B4-BE49-F238E27FC236}">
                <a16:creationId xmlns:a16="http://schemas.microsoft.com/office/drawing/2014/main" id="{A5B03538-EFF8-882F-38A7-6F681D9FB05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64069251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8" name="Slide Number Placeholder 2">
            <a:extLst>
              <a:ext uri="{FF2B5EF4-FFF2-40B4-BE49-F238E27FC236}">
                <a16:creationId xmlns:a16="http://schemas.microsoft.com/office/drawing/2014/main" id="{1C2421EF-A1F7-84D7-B95A-455C5E5FF6D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70379940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CB98C4E7-5648-69C0-BF91-59338C2260F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4473346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030336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04289262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403499988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Slide Number Placeholder 2">
            <a:extLst>
              <a:ext uri="{FF2B5EF4-FFF2-40B4-BE49-F238E27FC236}">
                <a16:creationId xmlns:a16="http://schemas.microsoft.com/office/drawing/2014/main" id="{3D140AD1-6ED2-A19C-537B-F61589E45D8C}"/>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718564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4_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
          </p:nvPr>
        </p:nvSpPr>
        <p:spPr>
          <a:xfrm>
            <a:off x="549342" y="1935202"/>
            <a:ext cx="11093316" cy="4374981"/>
          </a:xfrm>
          <a:prstGeom prst="rect">
            <a:avLst/>
          </a:prstGeo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3" hasCustomPrompt="1"/>
          </p:nvPr>
        </p:nvSpPr>
        <p:spPr>
          <a:xfrm>
            <a:off x="549343" y="1219199"/>
            <a:ext cx="11093315" cy="657501"/>
          </a:xfrm>
          <a:prstGeom prst="rect">
            <a:avLst/>
          </a:prstGeom>
        </p:spPr>
        <p:txBody>
          <a:bodyPr>
            <a:noAutofit/>
          </a:bodyPr>
          <a:lstStyle>
            <a:lvl1pPr marL="0" indent="0">
              <a:buNone/>
              <a:defRPr sz="1600" baseline="0"/>
            </a:lvl1pPr>
          </a:lstStyle>
          <a:p>
            <a:pPr lvl="0"/>
            <a:r>
              <a:rPr lang="en-US"/>
              <a:t>Insert Executive Summary Tag</a:t>
            </a:r>
          </a:p>
        </p:txBody>
      </p:sp>
      <p:pic>
        <p:nvPicPr>
          <p:cNvPr id="3" name="Graphic 2">
            <a:extLst>
              <a:ext uri="{FF2B5EF4-FFF2-40B4-BE49-F238E27FC236}">
                <a16:creationId xmlns:a16="http://schemas.microsoft.com/office/drawing/2014/main" id="{E30F4BB4-5C74-2BFC-07E6-706A503F480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5066" b="10497"/>
          <a:stretch/>
        </p:blipFill>
        <p:spPr>
          <a:xfrm>
            <a:off x="621047" y="736879"/>
            <a:ext cx="11570954" cy="6121122"/>
          </a:xfrm>
          <a:prstGeom prst="rect">
            <a:avLst/>
          </a:prstGeom>
        </p:spPr>
      </p:pic>
      <p:grpSp>
        <p:nvGrpSpPr>
          <p:cNvPr id="4" name="Group 3">
            <a:extLst>
              <a:ext uri="{FF2B5EF4-FFF2-40B4-BE49-F238E27FC236}">
                <a16:creationId xmlns:a16="http://schemas.microsoft.com/office/drawing/2014/main" id="{AFA2080D-537B-CF6B-A0AE-F735A4E20BE8}"/>
              </a:ext>
            </a:extLst>
          </p:cNvPr>
          <p:cNvGrpSpPr/>
          <p:nvPr userDrawn="1"/>
        </p:nvGrpSpPr>
        <p:grpSpPr>
          <a:xfrm>
            <a:off x="10863102" y="309052"/>
            <a:ext cx="911847" cy="382707"/>
            <a:chOff x="7459170" y="481236"/>
            <a:chExt cx="2697427" cy="1132124"/>
          </a:xfrm>
        </p:grpSpPr>
        <p:sp>
          <p:nvSpPr>
            <p:cNvPr id="5" name="Freeform 5">
              <a:extLst>
                <a:ext uri="{FF2B5EF4-FFF2-40B4-BE49-F238E27FC236}">
                  <a16:creationId xmlns:a16="http://schemas.microsoft.com/office/drawing/2014/main" id="{2345A613-C5E2-AD7F-8891-A142364F5C5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E5BAECFD-0C84-7E5E-872A-761C7328840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C56C01E3-6CEF-F956-E928-328FBDECC63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DA36DF96-9683-BBAA-56BD-E1AF081F4CD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48E64313-531B-2E9F-A82F-6EF9408A7FB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15">
              <a:extLst>
                <a:ext uri="{FF2B5EF4-FFF2-40B4-BE49-F238E27FC236}">
                  <a16:creationId xmlns:a16="http://schemas.microsoft.com/office/drawing/2014/main" id="{97B5FAC9-3735-F7FE-DD21-5DA90822E6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3" name="Freeform 16">
              <a:extLst>
                <a:ext uri="{FF2B5EF4-FFF2-40B4-BE49-F238E27FC236}">
                  <a16:creationId xmlns:a16="http://schemas.microsoft.com/office/drawing/2014/main" id="{5103CE7F-63ED-F420-99E2-56BDA1EA122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72085238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76088240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Slide Number Placeholder 2">
            <a:extLst>
              <a:ext uri="{FF2B5EF4-FFF2-40B4-BE49-F238E27FC236}">
                <a16:creationId xmlns:a16="http://schemas.microsoft.com/office/drawing/2014/main" id="{0AC5DC3F-8A0C-3385-41DD-BA3F8E46DC1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94374003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71115849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617431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17187804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83972117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92532590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0159262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45F0600F-C235-742D-9881-C219F6DD452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7257595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F2C4770E-9211-7FB3-7372-6F2B0C655AF9}"/>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42186060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subtitle layou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512A775-2AA8-7AA6-9F56-6E0E0508CE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5066" b="10497"/>
          <a:stretch/>
        </p:blipFill>
        <p:spPr>
          <a:xfrm>
            <a:off x="621047" y="736879"/>
            <a:ext cx="11570954" cy="6121122"/>
          </a:xfrm>
          <a:prstGeom prst="rect">
            <a:avLst/>
          </a:prstGeom>
        </p:spPr>
      </p:pic>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819166"/>
            <a:ext cx="10621792" cy="532556"/>
          </a:xfrm>
        </p:spPr>
        <p:txBody>
          <a:bodyPr vert="horz" lIns="0" tIns="0" rIns="0" bIns="0" rtlCol="0">
            <a:noAutofit/>
          </a:bodyPr>
          <a:lstStyle>
            <a:lvl1pPr>
              <a:defRPr lang="en-GB" sz="1600" dirty="0"/>
            </a:lvl1pPr>
          </a:lstStyle>
          <a:p>
            <a:pPr lvl="0">
              <a:spcBef>
                <a:spcPts val="0"/>
              </a:spcBef>
            </a:pPr>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7" name="Title Placeholder 13">
            <a:extLst>
              <a:ext uri="{FF2B5EF4-FFF2-40B4-BE49-F238E27FC236}">
                <a16:creationId xmlns:a16="http://schemas.microsoft.com/office/drawing/2014/main" id="{9BDDDAEF-D701-4974-96FE-0ECB1883B346}"/>
              </a:ext>
            </a:extLst>
          </p:cNvPr>
          <p:cNvSpPr>
            <a:spLocks noGrp="1"/>
          </p:cNvSpPr>
          <p:nvPr>
            <p:ph type="title" hasCustomPrompt="1"/>
          </p:nvPr>
        </p:nvSpPr>
        <p:spPr>
          <a:xfrm>
            <a:off x="814558" y="182880"/>
            <a:ext cx="10007498" cy="492443"/>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3" name="Slide Number Placeholder 4">
            <a:extLst>
              <a:ext uri="{FF2B5EF4-FFF2-40B4-BE49-F238E27FC236}">
                <a16:creationId xmlns:a16="http://schemas.microsoft.com/office/drawing/2014/main" id="{9ADD59E1-DE5B-0D57-29F4-74641F322E00}"/>
              </a:ext>
            </a:extLst>
          </p:cNvPr>
          <p:cNvSpPr>
            <a:spLocks noGrp="1"/>
          </p:cNvSpPr>
          <p:nvPr>
            <p:ph type="sldNum" sz="quarter" idx="4"/>
          </p:nvPr>
        </p:nvSpPr>
        <p:spPr>
          <a:xfrm>
            <a:off x="11525503" y="6646962"/>
            <a:ext cx="600428" cy="153888"/>
          </a:xfrm>
          <a:prstGeom prst="rect">
            <a:avLst/>
          </a:prstGeom>
        </p:spPr>
        <p:txBody>
          <a:bodyPr/>
          <a:lstStyle/>
          <a:p>
            <a:r>
              <a:rPr lang="en-GB"/>
              <a:t>RSM | </a:t>
            </a:r>
            <a:fld id="{D3664AF6-26E3-4378-990F-C4F4E21208D6}" type="slidenum">
              <a:rPr smtClean="0"/>
              <a:pPr/>
              <a:t>‹#›</a:t>
            </a:fld>
            <a:endParaRPr lang="en-US"/>
          </a:p>
        </p:txBody>
      </p:sp>
    </p:spTree>
    <p:extLst>
      <p:ext uri="{BB962C8B-B14F-4D97-AF65-F5344CB8AC3E}">
        <p14:creationId xmlns:p14="http://schemas.microsoft.com/office/powerpoint/2010/main" val="10874837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30636B2E-53D6-0CD2-D523-390721D4E47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16159482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E40E75CB-AD93-73C7-81AE-2E27C8C5DC31}"/>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68939125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9EB1D515-98A9-9F0B-506B-5637BC14D04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82373737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62076561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Quote layout 8">
    <p:bg>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5" name="Slide Number Placeholder 4">
            <a:extLst>
              <a:ext uri="{FF2B5EF4-FFF2-40B4-BE49-F238E27FC236}">
                <a16:creationId xmlns:a16="http://schemas.microsoft.com/office/drawing/2014/main" id="{8F424B37-942D-037C-384C-BBAA35135509}"/>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3099" cy="2202062"/>
              <a:chOff x="4956019" y="751764"/>
              <a:chExt cx="2693099" cy="2202062"/>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69126" y="2556552"/>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742469" cy="2174525"/>
            <a:chOff x="4956019" y="751764"/>
            <a:chExt cx="2742469"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6" name="TextBox 45">
              <a:extLst>
                <a:ext uri="{FF2B5EF4-FFF2-40B4-BE49-F238E27FC236}">
                  <a16:creationId xmlns:a16="http://schemas.microsoft.com/office/drawing/2014/main" id="{5E82E0A1-715B-E084-807B-712F0B40F574}"/>
                </a:ext>
              </a:extLst>
            </p:cNvPr>
            <p:cNvSpPr txBox="1"/>
            <p:nvPr/>
          </p:nvSpPr>
          <p:spPr>
            <a:xfrm>
              <a:off x="5004361" y="897289"/>
              <a:ext cx="2694127" cy="1221466"/>
            </a:xfrm>
            <a:prstGeom prst="rect">
              <a:avLst/>
            </a:prstGeom>
            <a:noFill/>
          </p:spPr>
          <p:txBody>
            <a:bodyPr wrap="square" lIns="0" tIns="0" rIns="0" bIns="0"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79%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f leaders agree </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AI adoption is </a:t>
              </a:r>
              <a:r>
                <a:rPr kumimoji="0" lang="en-US" sz="1400" b="0" i="1" u="sng" strike="noStrike" kern="1200" cap="none" spc="0" normalizeH="0" baseline="0" noProof="0">
                  <a:ln>
                    <a:noFill/>
                  </a:ln>
                  <a:solidFill>
                    <a:srgbClr val="FFFFFF"/>
                  </a:solidFill>
                  <a:effectLst/>
                  <a:uLnTx/>
                  <a:uFillTx/>
                  <a:latin typeface="Segoe UI"/>
                  <a:ea typeface="Segoe UI" pitchFamily="34" charset="0"/>
                  <a:cs typeface="Segoe UI" pitchFamily="34" charset="0"/>
                </a:rPr>
                <a:t>critical</a:t>
              </a:r>
              <a:r>
                <a:rPr kumimoji="0" lang="en-US" sz="14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 to remain </a:t>
              </a:r>
              <a:r>
                <a:rPr kumimoji="0" lang="en-US" sz="1400" b="1"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mpetitive</a:t>
              </a: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sp>
        <p:nvSpPr>
          <p:cNvPr id="7" name="TextBox 6">
            <a:extLst>
              <a:ext uri="{FF2B5EF4-FFF2-40B4-BE49-F238E27FC236}">
                <a16:creationId xmlns:a16="http://schemas.microsoft.com/office/drawing/2014/main" id="{014A4B05-E549-9A89-9A29-CBEFD464C6EC}"/>
              </a:ext>
            </a:extLst>
          </p:cNvPr>
          <p:cNvSpPr txBox="1"/>
          <p:nvPr userDrawn="1"/>
        </p:nvSpPr>
        <p:spPr>
          <a:xfrm>
            <a:off x="8004312" y="802631"/>
            <a:ext cx="2999950" cy="203132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60%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f leaders say </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y company </a:t>
            </a:r>
            <a:r>
              <a:rPr kumimoji="0" lang="en-US" sz="1400" b="0" i="1" u="sng" strike="noStrike" kern="1200" cap="none" spc="0" normalizeH="0" baseline="0" noProof="0">
                <a:ln>
                  <a:noFill/>
                </a:ln>
                <a:solidFill>
                  <a:srgbClr val="FFFFFF"/>
                </a:solidFill>
                <a:effectLst/>
                <a:uLnTx/>
                <a:uFillTx/>
                <a:latin typeface="Segoe UI"/>
                <a:ea typeface="Segoe UI" pitchFamily="34" charset="0"/>
                <a:cs typeface="Segoe UI" pitchFamily="34" charset="0"/>
              </a:rPr>
              <a:t>lacks</a:t>
            </a:r>
            <a:r>
              <a:rPr kumimoji="0" lang="en-US" sz="14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 the </a:t>
            </a:r>
            <a:r>
              <a:rPr kumimoji="0" lang="en-US" sz="1400" b="1"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vision</a:t>
            </a:r>
            <a:r>
              <a:rPr kumimoji="0" lang="en-US" sz="14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nd </a:t>
            </a:r>
            <a:r>
              <a:rPr kumimoji="0" lang="en-US" sz="1400" b="1"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plan</a:t>
            </a:r>
          </a:p>
        </p:txBody>
      </p:sp>
      <p:sp>
        <p:nvSpPr>
          <p:cNvPr id="10" name="TextBox 9">
            <a:extLst>
              <a:ext uri="{FF2B5EF4-FFF2-40B4-BE49-F238E27FC236}">
                <a16:creationId xmlns:a16="http://schemas.microsoft.com/office/drawing/2014/main" id="{67049A8D-317C-E3F4-C646-919F9AD4D1EB}"/>
              </a:ext>
            </a:extLst>
          </p:cNvPr>
          <p:cNvSpPr txBox="1"/>
          <p:nvPr userDrawn="1"/>
        </p:nvSpPr>
        <p:spPr>
          <a:xfrm>
            <a:off x="4851449" y="3757883"/>
            <a:ext cx="2999950" cy="1800493"/>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600" b="0" i="0" u="none" strike="noStrike" kern="1200" cap="none" spc="0" normalizeH="0" baseline="0" noProof="0">
                <a:ln>
                  <a:noFill/>
                </a:ln>
                <a:solidFill>
                  <a:srgbClr val="00153D"/>
                </a:solidFill>
                <a:effectLst/>
                <a:uLnTx/>
                <a:uFillTx/>
                <a:latin typeface="Segoe UI Semibold"/>
                <a:ea typeface="Segoe UI" pitchFamily="34" charset="0"/>
                <a:cs typeface="Segoe UI" pitchFamily="34" charset="0"/>
              </a:rPr>
              <a:t>78%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153D"/>
                </a:solidFill>
                <a:effectLst/>
                <a:uLnTx/>
                <a:uFillTx/>
                <a:latin typeface="Segoe UI"/>
                <a:ea typeface="Segoe UI" pitchFamily="34" charset="0"/>
                <a:cs typeface="Segoe UI" pitchFamily="34" charset="0"/>
              </a:rPr>
              <a:t>of users</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153D"/>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a:ln>
                  <a:noFill/>
                </a:ln>
                <a:solidFill>
                  <a:srgbClr val="00153D"/>
                </a:solidFill>
                <a:effectLst/>
                <a:uLnTx/>
                <a:uFillTx/>
                <a:latin typeface="Segoe UI"/>
                <a:ea typeface="Segoe UI" pitchFamily="34" charset="0"/>
                <a:cs typeface="Segoe UI" pitchFamily="34" charset="0"/>
              </a:rPr>
              <a:t>bring their own </a:t>
            </a:r>
            <a:r>
              <a:rPr kumimoji="0" lang="en-US" sz="1400" b="1" i="1" u="sng" strike="noStrike" kern="1200" cap="none" spc="0" normalizeH="0" baseline="0" noProof="0">
                <a:ln>
                  <a:noFill/>
                </a:ln>
                <a:solidFill>
                  <a:srgbClr val="00153D"/>
                </a:solidFill>
                <a:effectLst/>
                <a:uLnTx/>
                <a:uFillTx/>
                <a:latin typeface="Segoe UI"/>
                <a:ea typeface="Segoe UI" pitchFamily="34" charset="0"/>
                <a:cs typeface="Segoe UI" pitchFamily="34" charset="0"/>
              </a:rPr>
              <a:t>AI to work</a:t>
            </a:r>
          </a:p>
        </p:txBody>
      </p:sp>
      <p:sp>
        <p:nvSpPr>
          <p:cNvPr id="12" name="TextBox 11">
            <a:extLst>
              <a:ext uri="{FF2B5EF4-FFF2-40B4-BE49-F238E27FC236}">
                <a16:creationId xmlns:a16="http://schemas.microsoft.com/office/drawing/2014/main" id="{7472500F-FF50-F9FC-A7FD-2E3823EB417B}"/>
              </a:ext>
            </a:extLst>
          </p:cNvPr>
          <p:cNvSpPr txBox="1"/>
          <p:nvPr userDrawn="1"/>
        </p:nvSpPr>
        <p:spPr>
          <a:xfrm>
            <a:off x="8068331" y="3699302"/>
            <a:ext cx="2999950" cy="2031325"/>
          </a:xfrm>
          <a:prstGeom prst="rect">
            <a:avLst/>
          </a:prstGeom>
          <a:noFill/>
        </p:spPr>
        <p:txBody>
          <a:bodyPr wrap="square">
            <a:spAutoFit/>
          </a:bodyPr>
          <a:lstStyle/>
          <a:p>
            <a:pPr algn="ctr"/>
            <a:r>
              <a:rPr kumimoji="0" lang="en-US" sz="6600" b="0" i="0" u="none" strike="noStrike" kern="1200" cap="none" spc="0" normalizeH="0" baseline="0">
                <a:ln>
                  <a:noFill/>
                </a:ln>
                <a:solidFill>
                  <a:srgbClr val="FFFFFF"/>
                </a:solidFill>
                <a:effectLst/>
                <a:uLnTx/>
                <a:uFillTx/>
                <a:latin typeface="Segoe UI Semibold"/>
                <a:cs typeface="Segoe UI" pitchFamily="34" charset="0"/>
              </a:rPr>
              <a:t>66%</a:t>
            </a:r>
            <a:r>
              <a:rPr lang="en-US" sz="6600"/>
              <a:t> </a:t>
            </a:r>
          </a:p>
          <a:p>
            <a:pPr algn="ctr"/>
            <a:r>
              <a:rPr lang="en-US" sz="1600">
                <a:latin typeface="Segoe UI" panose="020B0502040204020203" pitchFamily="34" charset="0"/>
                <a:cs typeface="Segoe UI" panose="020B0502040204020203" pitchFamily="34" charset="0"/>
              </a:rPr>
              <a:t>of leaders say</a:t>
            </a:r>
          </a:p>
          <a:p>
            <a:pPr algn="ctr"/>
            <a:endParaRPr kumimoji="0" lang="en-US" sz="1400" b="0" i="1" u="none" strike="noStrike" kern="1200" cap="none" spc="0" normalizeH="0" baseline="0">
              <a:ln>
                <a:noFill/>
              </a:ln>
              <a:solidFill>
                <a:schemeClr val="tx1"/>
              </a:solidFill>
              <a:effectLst/>
              <a:uLnTx/>
              <a:uFillTx/>
              <a:latin typeface="Segoe UI" panose="020B0502040204020203" pitchFamily="34" charset="0"/>
              <a:cs typeface="Segoe UI" panose="020B0502040204020203" pitchFamily="34" charset="0"/>
            </a:endParaRPr>
          </a:p>
          <a:p>
            <a:pPr algn="ctr"/>
            <a:r>
              <a:rPr kumimoji="0" lang="en-US" sz="1400" b="0" i="1" u="none" strike="noStrike" kern="1200" cap="none" spc="0" normalizeH="0" baseline="0">
                <a:ln>
                  <a:noFill/>
                </a:ln>
                <a:solidFill>
                  <a:schemeClr val="tx1"/>
                </a:solidFill>
                <a:effectLst/>
                <a:uLnTx/>
                <a:uFillTx/>
                <a:latin typeface="Segoe UI"/>
                <a:cs typeface="Segoe UI" pitchFamily="34" charset="0"/>
              </a:rPr>
              <a:t>they would </a:t>
            </a:r>
            <a:r>
              <a:rPr kumimoji="0" lang="en-US" sz="1400" b="0" i="1" u="sng" strike="noStrike" kern="1200" cap="none" spc="0" normalizeH="0" baseline="0">
                <a:ln>
                  <a:noFill/>
                </a:ln>
                <a:solidFill>
                  <a:schemeClr val="tx1"/>
                </a:solidFill>
                <a:effectLst/>
                <a:uLnTx/>
                <a:uFillTx/>
                <a:latin typeface="Segoe UI"/>
                <a:cs typeface="Segoe UI" pitchFamily="34" charset="0"/>
              </a:rPr>
              <a:t>not</a:t>
            </a:r>
            <a:r>
              <a:rPr kumimoji="0" lang="en-US" sz="1400" b="0" i="1" u="none" strike="noStrike" kern="1200" cap="none" spc="0" normalizeH="0" baseline="0">
                <a:ln>
                  <a:noFill/>
                </a:ln>
                <a:solidFill>
                  <a:schemeClr val="tx1"/>
                </a:solidFill>
                <a:effectLst/>
                <a:uLnTx/>
                <a:uFillTx/>
                <a:latin typeface="Segoe UI"/>
                <a:cs typeface="Segoe UI" pitchFamily="34" charset="0"/>
              </a:rPr>
              <a:t> hire someone </a:t>
            </a:r>
            <a:r>
              <a:rPr kumimoji="0" lang="en-US" sz="1400" b="1" i="1" u="none" strike="noStrike" kern="1200" cap="none" spc="0" normalizeH="0" baseline="0">
                <a:ln>
                  <a:noFill/>
                </a:ln>
                <a:solidFill>
                  <a:schemeClr val="tx1"/>
                </a:solidFill>
                <a:effectLst/>
                <a:uLnTx/>
                <a:uFillTx/>
                <a:latin typeface="Segoe UI"/>
                <a:cs typeface="Segoe UI" pitchFamily="34" charset="0"/>
              </a:rPr>
              <a:t>without AI skills</a:t>
            </a:r>
          </a:p>
        </p:txBody>
      </p:sp>
    </p:spTree>
    <p:extLst>
      <p:ext uri="{BB962C8B-B14F-4D97-AF65-F5344CB8AC3E}">
        <p14:creationId xmlns:p14="http://schemas.microsoft.com/office/powerpoint/2010/main" val="3546832033"/>
      </p:ext>
    </p:extLst>
  </p:cSld>
  <p:clrMapOvr>
    <a:overrideClrMapping bg1="dk1" tx1="lt1" bg2="dk2" tx2="lt2" accent1="accent1" accent2="accent2" accent3="accent3" accent4="accent4" accent5="accent5" accent6="accent6" hlink="hlink" folHlink="folHlink"/>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2637253"/>
            <a:ext cx="10678912" cy="1091742"/>
            <a:chOff x="815974" y="2637253"/>
            <a:chExt cx="7100852" cy="1091742"/>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D2B30640-78CA-F1CF-02BD-DBA03FE12978}"/>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FBCFA3CA-9AF5-21CF-F997-DF8D87EF86B0}"/>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2314757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1543934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3CA99AC1-8692-B4B2-A01F-CBEDFCE69F48}"/>
              </a:ext>
            </a:extLst>
          </p:cNvPr>
          <p:cNvSpPr txBox="1"/>
          <p:nvPr userDrawn="1">
            <p:custDataLst>
              <p:tags r:id="rId1"/>
            </p:custDataLst>
          </p:nvPr>
        </p:nvSpPr>
        <p:spPr>
          <a:xfrm>
            <a:off x="815975" y="2865488"/>
            <a:ext cx="2650203"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EE9BABB4-76AD-3AAE-CDDB-46E9312DA0F0}"/>
              </a:ext>
            </a:extLst>
          </p:cNvPr>
          <p:cNvSpPr txBox="1"/>
          <p:nvPr userDrawn="1">
            <p:custDataLst>
              <p:tags r:id="rId2"/>
            </p:custDataLst>
          </p:nvPr>
        </p:nvSpPr>
        <p:spPr>
          <a:xfrm>
            <a:off x="3481600" y="2637253"/>
            <a:ext cx="2650203" cy="677108"/>
          </a:xfrm>
          <a:prstGeom prst="rect">
            <a:avLst/>
          </a:prstGeom>
          <a:noFill/>
        </p:spPr>
        <p:txBody>
          <a:bodyPr wrap="square" lIns="108000" tIns="0" rIns="108000" bIns="0" rtlCol="0">
            <a:spAutoFit/>
          </a:bodyPr>
          <a:lstStyle/>
          <a:p>
            <a:pPr algn="ctr"/>
            <a:r>
              <a:rPr lang="en-GB" sz="4400" b="1"/>
              <a:t>02</a:t>
            </a:r>
          </a:p>
        </p:txBody>
      </p:sp>
      <p:sp>
        <p:nvSpPr>
          <p:cNvPr id="11" name="TextBox 10">
            <a:extLst>
              <a:ext uri="{FF2B5EF4-FFF2-40B4-BE49-F238E27FC236}">
                <a16:creationId xmlns:a16="http://schemas.microsoft.com/office/drawing/2014/main" id="{6A8EC1DE-8304-4904-1509-A5C31513E5BE}"/>
              </a:ext>
            </a:extLst>
          </p:cNvPr>
          <p:cNvSpPr txBox="1"/>
          <p:nvPr userDrawn="1">
            <p:custDataLst>
              <p:tags r:id="rId3"/>
            </p:custDataLst>
          </p:nvPr>
        </p:nvSpPr>
        <p:spPr>
          <a:xfrm>
            <a:off x="6115266" y="2409017"/>
            <a:ext cx="2650203" cy="677108"/>
          </a:xfrm>
          <a:prstGeom prst="rect">
            <a:avLst/>
          </a:prstGeom>
          <a:noFill/>
        </p:spPr>
        <p:txBody>
          <a:bodyPr wrap="square" lIns="108000" tIns="0" rIns="108000" bIns="0" rtlCol="0">
            <a:spAutoFit/>
          </a:bodyPr>
          <a:lstStyle/>
          <a:p>
            <a:pPr algn="ctr"/>
            <a:r>
              <a:rPr lang="en-GB" sz="4400" b="1"/>
              <a:t>03</a:t>
            </a:r>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21" name="TextBox 20">
            <a:extLst>
              <a:ext uri="{FF2B5EF4-FFF2-40B4-BE49-F238E27FC236}">
                <a16:creationId xmlns:a16="http://schemas.microsoft.com/office/drawing/2014/main" id="{CDBDAD67-8C3F-89B1-B6E6-1D68C7B94AC9}"/>
              </a:ext>
            </a:extLst>
          </p:cNvPr>
          <p:cNvSpPr txBox="1"/>
          <p:nvPr userDrawn="1">
            <p:custDataLst>
              <p:tags r:id="rId4"/>
            </p:custDataLst>
          </p:nvPr>
        </p:nvSpPr>
        <p:spPr>
          <a:xfrm>
            <a:off x="8785034" y="2206620"/>
            <a:ext cx="2650203" cy="677108"/>
          </a:xfrm>
          <a:prstGeom prst="rect">
            <a:avLst/>
          </a:prstGeom>
          <a:noFill/>
        </p:spPr>
        <p:txBody>
          <a:bodyPr wrap="square" lIns="108000" tIns="0" rIns="108000" bIns="0" rtlCol="0">
            <a:spAutoFit/>
          </a:bodyPr>
          <a:lstStyle/>
          <a:p>
            <a:pPr algn="ctr"/>
            <a:r>
              <a:rPr lang="en-GB" sz="4400" b="1"/>
              <a:t>04</a:t>
            </a:r>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95093164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0201124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AC579EFF-3467-0FC9-4190-52B60147733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81E984EC-8B1F-F0C3-056F-AB28207A54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82AEFB30-A7F7-BDB6-4D12-62ADF0D151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DD48789-02F7-7003-F8A9-31C8E46C083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0D3BD6D2-A103-6EC2-3226-9B07954235E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37228847-1DD8-D8E0-F1F8-67BECA1C2ED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9D9FFE5E-B633-291B-8CF2-C60BBA00BF91}"/>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86DFBF58-4F6F-4AF0-1C68-E726179AF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86668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4" name="Rectangle 3">
            <a:extLst>
              <a:ext uri="{FF2B5EF4-FFF2-40B4-BE49-F238E27FC236}">
                <a16:creationId xmlns:a16="http://schemas.microsoft.com/office/drawing/2014/main" id="{52408627-7E4A-AE1F-9D3B-E2CFB1302B9D}"/>
              </a:ext>
            </a:extLst>
          </p:cNvPr>
          <p:cNvSpPr/>
          <p:nvPr userDrawn="1"/>
        </p:nvSpPr>
        <p:spPr>
          <a:xfrm>
            <a:off x="1" y="2"/>
            <a:ext cx="12192000" cy="114831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19"/>
          </a:p>
        </p:txBody>
      </p:sp>
      <p:pic>
        <p:nvPicPr>
          <p:cNvPr id="6" name="Picture 5">
            <a:extLst>
              <a:ext uri="{FF2B5EF4-FFF2-40B4-BE49-F238E27FC236}">
                <a16:creationId xmlns:a16="http://schemas.microsoft.com/office/drawing/2014/main" id="{A7BE00A2-4F44-C99F-80BF-49B79A8D4BA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145366" y="145676"/>
            <a:ext cx="953706" cy="400907"/>
          </a:xfrm>
          <a:prstGeom prst="rect">
            <a:avLst/>
          </a:prstGeom>
        </p:spPr>
      </p:pic>
      <p:pic>
        <p:nvPicPr>
          <p:cNvPr id="8" name="Picture 7">
            <a:extLst>
              <a:ext uri="{FF2B5EF4-FFF2-40B4-BE49-F238E27FC236}">
                <a16:creationId xmlns:a16="http://schemas.microsoft.com/office/drawing/2014/main" id="{2BCB36EC-6919-DDA7-DEF5-71FEB2AB23B4}"/>
              </a:ext>
            </a:extLst>
          </p:cNvPr>
          <p:cNvPicPr>
            <a:picLocks noChangeAspect="1"/>
          </p:cNvPicPr>
          <p:nvPr userDrawn="1"/>
        </p:nvPicPr>
        <p:blipFill>
          <a:blip r:embed="rId6"/>
          <a:srcRect t="18429" b="18429"/>
          <a:stretch/>
        </p:blipFill>
        <p:spPr>
          <a:xfrm>
            <a:off x="8227891" y="2"/>
            <a:ext cx="3964110" cy="1148314"/>
          </a:xfrm>
          <a:custGeom>
            <a:avLst/>
            <a:gdLst>
              <a:gd name="connsiteX0" fmla="*/ 1035847 w 5054240"/>
              <a:gd name="connsiteY0" fmla="*/ 1710657 h 2128225"/>
              <a:gd name="connsiteX1" fmla="*/ 1035847 w 5054240"/>
              <a:gd name="connsiteY1" fmla="*/ 1817977 h 2128225"/>
              <a:gd name="connsiteX2" fmla="*/ 1086228 w 5054240"/>
              <a:gd name="connsiteY2" fmla="*/ 1817977 h 2128225"/>
              <a:gd name="connsiteX3" fmla="*/ 1086228 w 5054240"/>
              <a:gd name="connsiteY3" fmla="*/ 1710657 h 2128225"/>
              <a:gd name="connsiteX4" fmla="*/ 407851 w 5054240"/>
              <a:gd name="connsiteY4" fmla="*/ 1710270 h 2128225"/>
              <a:gd name="connsiteX5" fmla="*/ 497431 w 5054240"/>
              <a:gd name="connsiteY5" fmla="*/ 1710270 h 2128225"/>
              <a:gd name="connsiteX6" fmla="*/ 497431 w 5054240"/>
              <a:gd name="connsiteY6" fmla="*/ 1817588 h 2128225"/>
              <a:gd name="connsiteX7" fmla="*/ 407851 w 5054240"/>
              <a:gd name="connsiteY7" fmla="*/ 1817588 h 2128225"/>
              <a:gd name="connsiteX8" fmla="*/ 1551304 w 5054240"/>
              <a:gd name="connsiteY8" fmla="*/ 1602717 h 2128225"/>
              <a:gd name="connsiteX9" fmla="*/ 1551304 w 5054240"/>
              <a:gd name="connsiteY9" fmla="*/ 1710037 h 2128225"/>
              <a:gd name="connsiteX10" fmla="*/ 1640885 w 5054240"/>
              <a:gd name="connsiteY10" fmla="*/ 1710037 h 2128225"/>
              <a:gd name="connsiteX11" fmla="*/ 1640885 w 5054240"/>
              <a:gd name="connsiteY11" fmla="*/ 1602717 h 2128225"/>
              <a:gd name="connsiteX12" fmla="*/ 1253272 w 5054240"/>
              <a:gd name="connsiteY12" fmla="*/ 1602717 h 2128225"/>
              <a:gd name="connsiteX13" fmla="*/ 1253357 w 5054240"/>
              <a:gd name="connsiteY13" fmla="*/ 1602794 h 2128225"/>
              <a:gd name="connsiteX14" fmla="*/ 1253144 w 5054240"/>
              <a:gd name="connsiteY14" fmla="*/ 1602988 h 2128225"/>
              <a:gd name="connsiteX15" fmla="*/ 1253102 w 5054240"/>
              <a:gd name="connsiteY15" fmla="*/ 1602988 h 2128225"/>
              <a:gd name="connsiteX16" fmla="*/ 1253102 w 5054240"/>
              <a:gd name="connsiteY16" fmla="*/ 1710657 h 2128225"/>
              <a:gd name="connsiteX17" fmla="*/ 1303100 w 5054240"/>
              <a:gd name="connsiteY17" fmla="*/ 1710657 h 2128225"/>
              <a:gd name="connsiteX18" fmla="*/ 1303100 w 5054240"/>
              <a:gd name="connsiteY18" fmla="*/ 1602717 h 2128225"/>
              <a:gd name="connsiteX19" fmla="*/ 2480990 w 5054240"/>
              <a:gd name="connsiteY19" fmla="*/ 1280526 h 2128225"/>
              <a:gd name="connsiteX20" fmla="*/ 2480990 w 5054240"/>
              <a:gd name="connsiteY20" fmla="*/ 1387845 h 2128225"/>
              <a:gd name="connsiteX21" fmla="*/ 2531371 w 5054240"/>
              <a:gd name="connsiteY21" fmla="*/ 1387845 h 2128225"/>
              <a:gd name="connsiteX22" fmla="*/ 2531371 w 5054240"/>
              <a:gd name="connsiteY22" fmla="*/ 1280526 h 2128225"/>
              <a:gd name="connsiteX23" fmla="*/ 1925144 w 5054240"/>
              <a:gd name="connsiteY23" fmla="*/ 1173439 h 2128225"/>
              <a:gd name="connsiteX24" fmla="*/ 2149072 w 5054240"/>
              <a:gd name="connsiteY24" fmla="*/ 1173439 h 2128225"/>
              <a:gd name="connsiteX25" fmla="*/ 2149072 w 5054240"/>
              <a:gd name="connsiteY25" fmla="*/ 1280758 h 2128225"/>
              <a:gd name="connsiteX26" fmla="*/ 1925144 w 5054240"/>
              <a:gd name="connsiteY26" fmla="*/ 1280758 h 2128225"/>
              <a:gd name="connsiteX27" fmla="*/ 1785182 w 5054240"/>
              <a:gd name="connsiteY27" fmla="*/ 1173439 h 2128225"/>
              <a:gd name="connsiteX28" fmla="*/ 1874763 w 5054240"/>
              <a:gd name="connsiteY28" fmla="*/ 1173439 h 2128225"/>
              <a:gd name="connsiteX29" fmla="*/ 1874763 w 5054240"/>
              <a:gd name="connsiteY29" fmla="*/ 1280758 h 2128225"/>
              <a:gd name="connsiteX30" fmla="*/ 1785182 w 5054240"/>
              <a:gd name="connsiteY30" fmla="*/ 1280758 h 2128225"/>
              <a:gd name="connsiteX31" fmla="*/ 3252434 w 5054240"/>
              <a:gd name="connsiteY31" fmla="*/ 1066081 h 2128225"/>
              <a:gd name="connsiteX32" fmla="*/ 3252434 w 5054240"/>
              <a:gd name="connsiteY32" fmla="*/ 1173400 h 2128225"/>
              <a:gd name="connsiteX33" fmla="*/ 3302814 w 5054240"/>
              <a:gd name="connsiteY33" fmla="*/ 1173400 h 2128225"/>
              <a:gd name="connsiteX34" fmla="*/ 3302814 w 5054240"/>
              <a:gd name="connsiteY34" fmla="*/ 1066081 h 2128225"/>
              <a:gd name="connsiteX35" fmla="*/ 3365057 w 5054240"/>
              <a:gd name="connsiteY35" fmla="*/ 958762 h 2128225"/>
              <a:gd name="connsiteX36" fmla="*/ 3365057 w 5054240"/>
              <a:gd name="connsiteY36" fmla="*/ 1066081 h 2128225"/>
              <a:gd name="connsiteX37" fmla="*/ 3454638 w 5054240"/>
              <a:gd name="connsiteY37" fmla="*/ 1066081 h 2128225"/>
              <a:gd name="connsiteX38" fmla="*/ 3454638 w 5054240"/>
              <a:gd name="connsiteY38" fmla="*/ 958762 h 2128225"/>
              <a:gd name="connsiteX39" fmla="*/ 4110141 w 5054240"/>
              <a:gd name="connsiteY39" fmla="*/ 745131 h 2128225"/>
              <a:gd name="connsiteX40" fmla="*/ 4110141 w 5054240"/>
              <a:gd name="connsiteY40" fmla="*/ 851442 h 2128225"/>
              <a:gd name="connsiteX41" fmla="*/ 4191814 w 5054240"/>
              <a:gd name="connsiteY41" fmla="*/ 851442 h 2128225"/>
              <a:gd name="connsiteX42" fmla="*/ 4191814 w 5054240"/>
              <a:gd name="connsiteY42" fmla="*/ 745131 h 2128225"/>
              <a:gd name="connsiteX43" fmla="*/ 3510673 w 5054240"/>
              <a:gd name="connsiteY43" fmla="*/ 637851 h 2128225"/>
              <a:gd name="connsiteX44" fmla="*/ 3600253 w 5054240"/>
              <a:gd name="connsiteY44" fmla="*/ 637851 h 2128225"/>
              <a:gd name="connsiteX45" fmla="*/ 3600253 w 5054240"/>
              <a:gd name="connsiteY45" fmla="*/ 745170 h 2128225"/>
              <a:gd name="connsiteX46" fmla="*/ 3510673 w 5054240"/>
              <a:gd name="connsiteY46" fmla="*/ 745170 h 2128225"/>
              <a:gd name="connsiteX47" fmla="*/ 3874563 w 5054240"/>
              <a:gd name="connsiteY47" fmla="*/ 637812 h 2128225"/>
              <a:gd name="connsiteX48" fmla="*/ 3874563 w 5054240"/>
              <a:gd name="connsiteY48" fmla="*/ 744122 h 2128225"/>
              <a:gd name="connsiteX49" fmla="*/ 3924944 w 5054240"/>
              <a:gd name="connsiteY49" fmla="*/ 744122 h 2128225"/>
              <a:gd name="connsiteX50" fmla="*/ 3924944 w 5054240"/>
              <a:gd name="connsiteY50" fmla="*/ 637812 h 2128225"/>
              <a:gd name="connsiteX51" fmla="*/ 4748596 w 5054240"/>
              <a:gd name="connsiteY51" fmla="*/ 315893 h 2128225"/>
              <a:gd name="connsiteX52" fmla="*/ 4748596 w 5054240"/>
              <a:gd name="connsiteY52" fmla="*/ 423174 h 2128225"/>
              <a:gd name="connsiteX53" fmla="*/ 4798978 w 5054240"/>
              <a:gd name="connsiteY53" fmla="*/ 423174 h 2128225"/>
              <a:gd name="connsiteX54" fmla="*/ 4798978 w 5054240"/>
              <a:gd name="connsiteY54" fmla="*/ 315893 h 2128225"/>
              <a:gd name="connsiteX55" fmla="*/ 4798382 w 5054240"/>
              <a:gd name="connsiteY55" fmla="*/ 101253 h 2128225"/>
              <a:gd name="connsiteX56" fmla="*/ 4846806 w 5054240"/>
              <a:gd name="connsiteY56" fmla="*/ 101253 h 2128225"/>
              <a:gd name="connsiteX57" fmla="*/ 4846806 w 5054240"/>
              <a:gd name="connsiteY57" fmla="*/ 208573 h 2128225"/>
              <a:gd name="connsiteX58" fmla="*/ 4938342 w 5054240"/>
              <a:gd name="connsiteY58" fmla="*/ 208573 h 2128225"/>
              <a:gd name="connsiteX59" fmla="*/ 4938342 w 5054240"/>
              <a:gd name="connsiteY59" fmla="*/ 315853 h 2128225"/>
              <a:gd name="connsiteX60" fmla="*/ 4988724 w 5054240"/>
              <a:gd name="connsiteY60" fmla="*/ 315853 h 2128225"/>
              <a:gd name="connsiteX61" fmla="*/ 4988724 w 5054240"/>
              <a:gd name="connsiteY61" fmla="*/ 208573 h 2128225"/>
              <a:gd name="connsiteX62" fmla="*/ 5054198 w 5054240"/>
              <a:gd name="connsiteY62" fmla="*/ 208573 h 2128225"/>
              <a:gd name="connsiteX63" fmla="*/ 5054198 w 5054240"/>
              <a:gd name="connsiteY63" fmla="*/ 2128225 h 2128225"/>
              <a:gd name="connsiteX64" fmla="*/ 0 w 5054240"/>
              <a:gd name="connsiteY64" fmla="*/ 2128225 h 2128225"/>
              <a:gd name="connsiteX65" fmla="*/ 0 w 5054240"/>
              <a:gd name="connsiteY65" fmla="*/ 1924598 h 2128225"/>
              <a:gd name="connsiteX66" fmla="*/ 238597 w 5054240"/>
              <a:gd name="connsiteY66" fmla="*/ 1924598 h 2128225"/>
              <a:gd name="connsiteX67" fmla="*/ 238597 w 5054240"/>
              <a:gd name="connsiteY67" fmla="*/ 1817588 h 2128225"/>
              <a:gd name="connsiteX68" fmla="*/ 407851 w 5054240"/>
              <a:gd name="connsiteY68" fmla="*/ 1817588 h 2128225"/>
              <a:gd name="connsiteX69" fmla="*/ 407851 w 5054240"/>
              <a:gd name="connsiteY69" fmla="*/ 1924714 h 2128225"/>
              <a:gd name="connsiteX70" fmla="*/ 547812 w 5054240"/>
              <a:gd name="connsiteY70" fmla="*/ 1924714 h 2128225"/>
              <a:gd name="connsiteX71" fmla="*/ 547812 w 5054240"/>
              <a:gd name="connsiteY71" fmla="*/ 1710230 h 2128225"/>
              <a:gd name="connsiteX72" fmla="*/ 819401 w 5054240"/>
              <a:gd name="connsiteY72" fmla="*/ 1710230 h 2128225"/>
              <a:gd name="connsiteX73" fmla="*/ 819401 w 5054240"/>
              <a:gd name="connsiteY73" fmla="*/ 1602678 h 2128225"/>
              <a:gd name="connsiteX74" fmla="*/ 1026451 w 5054240"/>
              <a:gd name="connsiteY74" fmla="*/ 1602678 h 2128225"/>
              <a:gd name="connsiteX75" fmla="*/ 1026451 w 5054240"/>
              <a:gd name="connsiteY75" fmla="*/ 1495358 h 2128225"/>
              <a:gd name="connsiteX76" fmla="*/ 1118922 w 5054240"/>
              <a:gd name="connsiteY76" fmla="*/ 1495358 h 2128225"/>
              <a:gd name="connsiteX77" fmla="*/ 1118922 w 5054240"/>
              <a:gd name="connsiteY77" fmla="*/ 1387806 h 2128225"/>
              <a:gd name="connsiteX78" fmla="*/ 1169303 w 5054240"/>
              <a:gd name="connsiteY78" fmla="*/ 1387806 h 2128225"/>
              <a:gd name="connsiteX79" fmla="*/ 1169303 w 5054240"/>
              <a:gd name="connsiteY79" fmla="*/ 1495358 h 2128225"/>
              <a:gd name="connsiteX80" fmla="*/ 1392722 w 5054240"/>
              <a:gd name="connsiteY80" fmla="*/ 1495358 h 2128225"/>
              <a:gd name="connsiteX81" fmla="*/ 1392722 w 5054240"/>
              <a:gd name="connsiteY81" fmla="*/ 1602678 h 2128225"/>
              <a:gd name="connsiteX82" fmla="*/ 1442720 w 5054240"/>
              <a:gd name="connsiteY82" fmla="*/ 1602678 h 2128225"/>
              <a:gd name="connsiteX83" fmla="*/ 1442720 w 5054240"/>
              <a:gd name="connsiteY83" fmla="*/ 1495358 h 2128225"/>
              <a:gd name="connsiteX84" fmla="*/ 1546670 w 5054240"/>
              <a:gd name="connsiteY84" fmla="*/ 1495358 h 2128225"/>
              <a:gd name="connsiteX85" fmla="*/ 1546670 w 5054240"/>
              <a:gd name="connsiteY85" fmla="*/ 1387806 h 2128225"/>
              <a:gd name="connsiteX86" fmla="*/ 1835691 w 5054240"/>
              <a:gd name="connsiteY86" fmla="*/ 1387806 h 2128225"/>
              <a:gd name="connsiteX87" fmla="*/ 1835691 w 5054240"/>
              <a:gd name="connsiteY87" fmla="*/ 1495358 h 2128225"/>
              <a:gd name="connsiteX88" fmla="*/ 2068803 w 5054240"/>
              <a:gd name="connsiteY88" fmla="*/ 1495358 h 2128225"/>
              <a:gd name="connsiteX89" fmla="*/ 2068803 w 5054240"/>
              <a:gd name="connsiteY89" fmla="*/ 1388039 h 2128225"/>
              <a:gd name="connsiteX90" fmla="*/ 2295623 w 5054240"/>
              <a:gd name="connsiteY90" fmla="*/ 1388039 h 2128225"/>
              <a:gd name="connsiteX91" fmla="*/ 2295623 w 5054240"/>
              <a:gd name="connsiteY91" fmla="*/ 1280720 h 2128225"/>
              <a:gd name="connsiteX92" fmla="*/ 2199538 w 5054240"/>
              <a:gd name="connsiteY92" fmla="*/ 1280720 h 2128225"/>
              <a:gd name="connsiteX93" fmla="*/ 2199538 w 5054240"/>
              <a:gd name="connsiteY93" fmla="*/ 1173400 h 2128225"/>
              <a:gd name="connsiteX94" fmla="*/ 2566999 w 5054240"/>
              <a:gd name="connsiteY94" fmla="*/ 1173400 h 2128225"/>
              <a:gd name="connsiteX95" fmla="*/ 2566999 w 5054240"/>
              <a:gd name="connsiteY95" fmla="*/ 1066081 h 2128225"/>
              <a:gd name="connsiteX96" fmla="*/ 2790928 w 5054240"/>
              <a:gd name="connsiteY96" fmla="*/ 1066081 h 2128225"/>
              <a:gd name="connsiteX97" fmla="*/ 2790928 w 5054240"/>
              <a:gd name="connsiteY97" fmla="*/ 958762 h 2128225"/>
              <a:gd name="connsiteX98" fmla="*/ 3015282 w 5054240"/>
              <a:gd name="connsiteY98" fmla="*/ 958762 h 2128225"/>
              <a:gd name="connsiteX99" fmla="*/ 3015282 w 5054240"/>
              <a:gd name="connsiteY99" fmla="*/ 1066081 h 2128225"/>
              <a:gd name="connsiteX100" fmla="*/ 3160388 w 5054240"/>
              <a:gd name="connsiteY100" fmla="*/ 1066081 h 2128225"/>
              <a:gd name="connsiteX101" fmla="*/ 3160388 w 5054240"/>
              <a:gd name="connsiteY101" fmla="*/ 851442 h 2128225"/>
              <a:gd name="connsiteX102" fmla="*/ 3249968 w 5054240"/>
              <a:gd name="connsiteY102" fmla="*/ 851442 h 2128225"/>
              <a:gd name="connsiteX103" fmla="*/ 3249968 w 5054240"/>
              <a:gd name="connsiteY103" fmla="*/ 958762 h 2128225"/>
              <a:gd name="connsiteX104" fmla="*/ 3300306 w 5054240"/>
              <a:gd name="connsiteY104" fmla="*/ 958762 h 2128225"/>
              <a:gd name="connsiteX105" fmla="*/ 3300306 w 5054240"/>
              <a:gd name="connsiteY105" fmla="*/ 851442 h 2128225"/>
              <a:gd name="connsiteX106" fmla="*/ 3524236 w 5054240"/>
              <a:gd name="connsiteY106" fmla="*/ 851442 h 2128225"/>
              <a:gd name="connsiteX107" fmla="*/ 3524236 w 5054240"/>
              <a:gd name="connsiteY107" fmla="*/ 958762 h 2128225"/>
              <a:gd name="connsiteX108" fmla="*/ 3574616 w 5054240"/>
              <a:gd name="connsiteY108" fmla="*/ 958762 h 2128225"/>
              <a:gd name="connsiteX109" fmla="*/ 3574616 w 5054240"/>
              <a:gd name="connsiteY109" fmla="*/ 851442 h 2128225"/>
              <a:gd name="connsiteX110" fmla="*/ 3707860 w 5054240"/>
              <a:gd name="connsiteY110" fmla="*/ 851442 h 2128225"/>
              <a:gd name="connsiteX111" fmla="*/ 3707860 w 5054240"/>
              <a:gd name="connsiteY111" fmla="*/ 745131 h 2128225"/>
              <a:gd name="connsiteX112" fmla="*/ 3650719 w 5054240"/>
              <a:gd name="connsiteY112" fmla="*/ 745131 h 2128225"/>
              <a:gd name="connsiteX113" fmla="*/ 3650719 w 5054240"/>
              <a:gd name="connsiteY113" fmla="*/ 637812 h 2128225"/>
              <a:gd name="connsiteX114" fmla="*/ 3765978 w 5054240"/>
              <a:gd name="connsiteY114" fmla="*/ 637812 h 2128225"/>
              <a:gd name="connsiteX115" fmla="*/ 3765978 w 5054240"/>
              <a:gd name="connsiteY115" fmla="*/ 530493 h 2128225"/>
              <a:gd name="connsiteX116" fmla="*/ 3816360 w 5054240"/>
              <a:gd name="connsiteY116" fmla="*/ 530493 h 2128225"/>
              <a:gd name="connsiteX117" fmla="*/ 3816360 w 5054240"/>
              <a:gd name="connsiteY117" fmla="*/ 637812 h 2128225"/>
              <a:gd name="connsiteX118" fmla="*/ 3874308 w 5054240"/>
              <a:gd name="connsiteY118" fmla="*/ 637812 h 2128225"/>
              <a:gd name="connsiteX119" fmla="*/ 3874308 w 5054240"/>
              <a:gd name="connsiteY119" fmla="*/ 530493 h 2128225"/>
              <a:gd name="connsiteX120" fmla="*/ 4098194 w 5054240"/>
              <a:gd name="connsiteY120" fmla="*/ 530493 h 2128225"/>
              <a:gd name="connsiteX121" fmla="*/ 4098194 w 5054240"/>
              <a:gd name="connsiteY121" fmla="*/ 637812 h 2128225"/>
              <a:gd name="connsiteX122" fmla="*/ 4281096 w 5054240"/>
              <a:gd name="connsiteY122" fmla="*/ 637812 h 2128225"/>
              <a:gd name="connsiteX123" fmla="*/ 4281096 w 5054240"/>
              <a:gd name="connsiteY123" fmla="*/ 530493 h 2128225"/>
              <a:gd name="connsiteX124" fmla="*/ 4191855 w 5054240"/>
              <a:gd name="connsiteY124" fmla="*/ 530493 h 2128225"/>
              <a:gd name="connsiteX125" fmla="*/ 4191855 w 5054240"/>
              <a:gd name="connsiteY125" fmla="*/ 423174 h 2128225"/>
              <a:gd name="connsiteX126" fmla="*/ 4524710 w 5054240"/>
              <a:gd name="connsiteY126" fmla="*/ 423174 h 2128225"/>
              <a:gd name="connsiteX127" fmla="*/ 4524710 w 5054240"/>
              <a:gd name="connsiteY127" fmla="*/ 315853 h 2128225"/>
              <a:gd name="connsiteX128" fmla="*/ 4714499 w 5054240"/>
              <a:gd name="connsiteY128" fmla="*/ 315853 h 2128225"/>
              <a:gd name="connsiteX129" fmla="*/ 4714499 w 5054240"/>
              <a:gd name="connsiteY129" fmla="*/ 208573 h 2128225"/>
              <a:gd name="connsiteX130" fmla="*/ 4798382 w 5054240"/>
              <a:gd name="connsiteY130" fmla="*/ 208573 h 2128225"/>
              <a:gd name="connsiteX131" fmla="*/ 4988724 w 5054240"/>
              <a:gd name="connsiteY131" fmla="*/ 0 h 2128225"/>
              <a:gd name="connsiteX132" fmla="*/ 5054240 w 5054240"/>
              <a:gd name="connsiteY132" fmla="*/ 0 h 2128225"/>
              <a:gd name="connsiteX133" fmla="*/ 5054240 w 5054240"/>
              <a:gd name="connsiteY133" fmla="*/ 101253 h 2128225"/>
              <a:gd name="connsiteX134" fmla="*/ 4988724 w 5054240"/>
              <a:gd name="connsiteY134" fmla="*/ 101253 h 212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5054240" h="2128225">
                <a:moveTo>
                  <a:pt x="1035847" y="1710657"/>
                </a:moveTo>
                <a:lnTo>
                  <a:pt x="1035847" y="1817977"/>
                </a:lnTo>
                <a:lnTo>
                  <a:pt x="1086228" y="1817977"/>
                </a:lnTo>
                <a:lnTo>
                  <a:pt x="1086228" y="1710657"/>
                </a:lnTo>
                <a:close/>
                <a:moveTo>
                  <a:pt x="407851" y="1710270"/>
                </a:moveTo>
                <a:lnTo>
                  <a:pt x="497431" y="1710270"/>
                </a:lnTo>
                <a:lnTo>
                  <a:pt x="497431" y="1817588"/>
                </a:lnTo>
                <a:lnTo>
                  <a:pt x="407851" y="1817588"/>
                </a:lnTo>
                <a:close/>
                <a:moveTo>
                  <a:pt x="1551304" y="1602717"/>
                </a:moveTo>
                <a:lnTo>
                  <a:pt x="1551304" y="1710037"/>
                </a:lnTo>
                <a:lnTo>
                  <a:pt x="1640885" y="1710037"/>
                </a:lnTo>
                <a:lnTo>
                  <a:pt x="1640885" y="1602717"/>
                </a:lnTo>
                <a:close/>
                <a:moveTo>
                  <a:pt x="1253272" y="1602717"/>
                </a:moveTo>
                <a:lnTo>
                  <a:pt x="1253357" y="1602794"/>
                </a:lnTo>
                <a:lnTo>
                  <a:pt x="1253144" y="1602988"/>
                </a:lnTo>
                <a:lnTo>
                  <a:pt x="1253102" y="1602988"/>
                </a:lnTo>
                <a:lnTo>
                  <a:pt x="1253102" y="1710657"/>
                </a:lnTo>
                <a:lnTo>
                  <a:pt x="1303100" y="1710657"/>
                </a:lnTo>
                <a:lnTo>
                  <a:pt x="1303100" y="1602717"/>
                </a:lnTo>
                <a:close/>
                <a:moveTo>
                  <a:pt x="2480990" y="1280526"/>
                </a:moveTo>
                <a:lnTo>
                  <a:pt x="2480990" y="1387845"/>
                </a:lnTo>
                <a:lnTo>
                  <a:pt x="2531371" y="1387845"/>
                </a:lnTo>
                <a:lnTo>
                  <a:pt x="2531371" y="1280526"/>
                </a:lnTo>
                <a:close/>
                <a:moveTo>
                  <a:pt x="1925144" y="1173439"/>
                </a:moveTo>
                <a:lnTo>
                  <a:pt x="2149072" y="1173439"/>
                </a:lnTo>
                <a:lnTo>
                  <a:pt x="2149072" y="1280758"/>
                </a:lnTo>
                <a:lnTo>
                  <a:pt x="1925144" y="1280758"/>
                </a:lnTo>
                <a:close/>
                <a:moveTo>
                  <a:pt x="1785182" y="1173439"/>
                </a:moveTo>
                <a:lnTo>
                  <a:pt x="1874763" y="1173439"/>
                </a:lnTo>
                <a:lnTo>
                  <a:pt x="1874763" y="1280758"/>
                </a:lnTo>
                <a:lnTo>
                  <a:pt x="1785182" y="1280758"/>
                </a:lnTo>
                <a:close/>
                <a:moveTo>
                  <a:pt x="3252434" y="1066081"/>
                </a:moveTo>
                <a:lnTo>
                  <a:pt x="3252434" y="1173400"/>
                </a:lnTo>
                <a:lnTo>
                  <a:pt x="3302814" y="1173400"/>
                </a:lnTo>
                <a:lnTo>
                  <a:pt x="3302814" y="1066081"/>
                </a:lnTo>
                <a:close/>
                <a:moveTo>
                  <a:pt x="3365057" y="958762"/>
                </a:moveTo>
                <a:lnTo>
                  <a:pt x="3365057" y="1066081"/>
                </a:lnTo>
                <a:lnTo>
                  <a:pt x="3454638" y="1066081"/>
                </a:lnTo>
                <a:lnTo>
                  <a:pt x="3454638" y="958762"/>
                </a:lnTo>
                <a:close/>
                <a:moveTo>
                  <a:pt x="4110141" y="745131"/>
                </a:moveTo>
                <a:lnTo>
                  <a:pt x="4110141" y="851442"/>
                </a:lnTo>
                <a:lnTo>
                  <a:pt x="4191814" y="851442"/>
                </a:lnTo>
                <a:lnTo>
                  <a:pt x="4191814" y="745131"/>
                </a:lnTo>
                <a:close/>
                <a:moveTo>
                  <a:pt x="3510673" y="637851"/>
                </a:moveTo>
                <a:lnTo>
                  <a:pt x="3600253" y="637851"/>
                </a:lnTo>
                <a:lnTo>
                  <a:pt x="3600253" y="745170"/>
                </a:lnTo>
                <a:lnTo>
                  <a:pt x="3510673" y="745170"/>
                </a:lnTo>
                <a:close/>
                <a:moveTo>
                  <a:pt x="3874563" y="637812"/>
                </a:moveTo>
                <a:lnTo>
                  <a:pt x="3874563" y="744122"/>
                </a:lnTo>
                <a:lnTo>
                  <a:pt x="3924944" y="744122"/>
                </a:lnTo>
                <a:lnTo>
                  <a:pt x="3924944" y="637812"/>
                </a:lnTo>
                <a:close/>
                <a:moveTo>
                  <a:pt x="4748596" y="315893"/>
                </a:moveTo>
                <a:lnTo>
                  <a:pt x="4748596" y="423174"/>
                </a:lnTo>
                <a:lnTo>
                  <a:pt x="4798978" y="423174"/>
                </a:lnTo>
                <a:lnTo>
                  <a:pt x="4798978" y="315893"/>
                </a:lnTo>
                <a:close/>
                <a:moveTo>
                  <a:pt x="4798382" y="101253"/>
                </a:moveTo>
                <a:lnTo>
                  <a:pt x="4846806" y="101253"/>
                </a:lnTo>
                <a:lnTo>
                  <a:pt x="4846806" y="208573"/>
                </a:lnTo>
                <a:lnTo>
                  <a:pt x="4938342" y="208573"/>
                </a:lnTo>
                <a:lnTo>
                  <a:pt x="4938342" y="315853"/>
                </a:lnTo>
                <a:lnTo>
                  <a:pt x="4988724" y="315853"/>
                </a:lnTo>
                <a:lnTo>
                  <a:pt x="4988724" y="208573"/>
                </a:lnTo>
                <a:lnTo>
                  <a:pt x="5054198" y="208573"/>
                </a:lnTo>
                <a:lnTo>
                  <a:pt x="5054198" y="2128225"/>
                </a:lnTo>
                <a:lnTo>
                  <a:pt x="0" y="2128225"/>
                </a:lnTo>
                <a:lnTo>
                  <a:pt x="0" y="1924598"/>
                </a:lnTo>
                <a:lnTo>
                  <a:pt x="238597" y="1924598"/>
                </a:lnTo>
                <a:lnTo>
                  <a:pt x="238597" y="1817588"/>
                </a:lnTo>
                <a:lnTo>
                  <a:pt x="407851" y="1817588"/>
                </a:lnTo>
                <a:lnTo>
                  <a:pt x="407851" y="1924714"/>
                </a:lnTo>
                <a:lnTo>
                  <a:pt x="547812" y="1924714"/>
                </a:lnTo>
                <a:lnTo>
                  <a:pt x="547812" y="1710230"/>
                </a:lnTo>
                <a:lnTo>
                  <a:pt x="819401" y="1710230"/>
                </a:lnTo>
                <a:lnTo>
                  <a:pt x="819401" y="1602678"/>
                </a:lnTo>
                <a:lnTo>
                  <a:pt x="1026451" y="1602678"/>
                </a:lnTo>
                <a:lnTo>
                  <a:pt x="1026451" y="1495358"/>
                </a:lnTo>
                <a:lnTo>
                  <a:pt x="1118922" y="1495358"/>
                </a:lnTo>
                <a:lnTo>
                  <a:pt x="1118922" y="1387806"/>
                </a:lnTo>
                <a:lnTo>
                  <a:pt x="1169303" y="1387806"/>
                </a:lnTo>
                <a:lnTo>
                  <a:pt x="1169303" y="1495358"/>
                </a:lnTo>
                <a:lnTo>
                  <a:pt x="1392722" y="1495358"/>
                </a:lnTo>
                <a:lnTo>
                  <a:pt x="1392722" y="1602678"/>
                </a:lnTo>
                <a:lnTo>
                  <a:pt x="1442720" y="1602678"/>
                </a:lnTo>
                <a:lnTo>
                  <a:pt x="1442720" y="1495358"/>
                </a:lnTo>
                <a:lnTo>
                  <a:pt x="1546670" y="1495358"/>
                </a:lnTo>
                <a:lnTo>
                  <a:pt x="1546670" y="1387806"/>
                </a:lnTo>
                <a:lnTo>
                  <a:pt x="1835691" y="1387806"/>
                </a:lnTo>
                <a:lnTo>
                  <a:pt x="1835691" y="1495358"/>
                </a:lnTo>
                <a:lnTo>
                  <a:pt x="2068803" y="1495358"/>
                </a:lnTo>
                <a:lnTo>
                  <a:pt x="2068803" y="1388039"/>
                </a:lnTo>
                <a:lnTo>
                  <a:pt x="2295623" y="1388039"/>
                </a:lnTo>
                <a:lnTo>
                  <a:pt x="2295623" y="1280720"/>
                </a:lnTo>
                <a:lnTo>
                  <a:pt x="2199538" y="1280720"/>
                </a:lnTo>
                <a:lnTo>
                  <a:pt x="2199538" y="1173400"/>
                </a:lnTo>
                <a:lnTo>
                  <a:pt x="2566999" y="1173400"/>
                </a:lnTo>
                <a:lnTo>
                  <a:pt x="2566999" y="1066081"/>
                </a:lnTo>
                <a:lnTo>
                  <a:pt x="2790928" y="1066081"/>
                </a:lnTo>
                <a:lnTo>
                  <a:pt x="2790928" y="958762"/>
                </a:lnTo>
                <a:lnTo>
                  <a:pt x="3015282" y="958762"/>
                </a:lnTo>
                <a:lnTo>
                  <a:pt x="3015282" y="1066081"/>
                </a:lnTo>
                <a:lnTo>
                  <a:pt x="3160388" y="1066081"/>
                </a:lnTo>
                <a:lnTo>
                  <a:pt x="3160388" y="851442"/>
                </a:lnTo>
                <a:lnTo>
                  <a:pt x="3249968" y="851442"/>
                </a:lnTo>
                <a:lnTo>
                  <a:pt x="3249968" y="958762"/>
                </a:lnTo>
                <a:lnTo>
                  <a:pt x="3300306" y="958762"/>
                </a:lnTo>
                <a:lnTo>
                  <a:pt x="3300306" y="851442"/>
                </a:lnTo>
                <a:lnTo>
                  <a:pt x="3524236" y="851442"/>
                </a:lnTo>
                <a:lnTo>
                  <a:pt x="3524236" y="958762"/>
                </a:lnTo>
                <a:lnTo>
                  <a:pt x="3574616" y="958762"/>
                </a:lnTo>
                <a:lnTo>
                  <a:pt x="3574616" y="851442"/>
                </a:lnTo>
                <a:lnTo>
                  <a:pt x="3707860" y="851442"/>
                </a:lnTo>
                <a:lnTo>
                  <a:pt x="3707860" y="745131"/>
                </a:lnTo>
                <a:lnTo>
                  <a:pt x="3650719" y="745131"/>
                </a:lnTo>
                <a:lnTo>
                  <a:pt x="3650719" y="637812"/>
                </a:lnTo>
                <a:lnTo>
                  <a:pt x="3765978" y="637812"/>
                </a:lnTo>
                <a:lnTo>
                  <a:pt x="3765978" y="530493"/>
                </a:lnTo>
                <a:lnTo>
                  <a:pt x="3816360" y="530493"/>
                </a:lnTo>
                <a:lnTo>
                  <a:pt x="3816360" y="637812"/>
                </a:lnTo>
                <a:lnTo>
                  <a:pt x="3874308" y="637812"/>
                </a:lnTo>
                <a:lnTo>
                  <a:pt x="3874308" y="530493"/>
                </a:lnTo>
                <a:lnTo>
                  <a:pt x="4098194" y="530493"/>
                </a:lnTo>
                <a:lnTo>
                  <a:pt x="4098194" y="637812"/>
                </a:lnTo>
                <a:lnTo>
                  <a:pt x="4281096" y="637812"/>
                </a:lnTo>
                <a:lnTo>
                  <a:pt x="4281096" y="530493"/>
                </a:lnTo>
                <a:lnTo>
                  <a:pt x="4191855" y="530493"/>
                </a:lnTo>
                <a:lnTo>
                  <a:pt x="4191855" y="423174"/>
                </a:lnTo>
                <a:lnTo>
                  <a:pt x="4524710" y="423174"/>
                </a:lnTo>
                <a:lnTo>
                  <a:pt x="4524710" y="315853"/>
                </a:lnTo>
                <a:lnTo>
                  <a:pt x="4714499" y="315853"/>
                </a:lnTo>
                <a:lnTo>
                  <a:pt x="4714499" y="208573"/>
                </a:lnTo>
                <a:lnTo>
                  <a:pt x="4798382" y="208573"/>
                </a:lnTo>
                <a:close/>
                <a:moveTo>
                  <a:pt x="4988724" y="0"/>
                </a:moveTo>
                <a:lnTo>
                  <a:pt x="5054240" y="0"/>
                </a:lnTo>
                <a:lnTo>
                  <a:pt x="5054240" y="101253"/>
                </a:lnTo>
                <a:lnTo>
                  <a:pt x="4988724" y="101253"/>
                </a:lnTo>
                <a:close/>
              </a:path>
            </a:pathLst>
          </a:custGeom>
        </p:spPr>
      </p:pic>
      <p:sp>
        <p:nvSpPr>
          <p:cNvPr id="2" name="Title 2">
            <a:extLst>
              <a:ext uri="{FF2B5EF4-FFF2-40B4-BE49-F238E27FC236}">
                <a16:creationId xmlns:a16="http://schemas.microsoft.com/office/drawing/2014/main" id="{A359BC39-9F0F-F78E-7370-539E6E562D6E}"/>
              </a:ext>
            </a:extLst>
          </p:cNvPr>
          <p:cNvSpPr txBox="1">
            <a:spLocks/>
          </p:cNvSpPr>
          <p:nvPr userDrawn="1">
            <p:custDataLst>
              <p:tags r:id="rId1"/>
            </p:custDataLst>
          </p:nvPr>
        </p:nvSpPr>
        <p:spPr>
          <a:xfrm>
            <a:off x="335407" y="400812"/>
            <a:ext cx="8261924"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noProof="0">
              <a:ln>
                <a:noFill/>
              </a:ln>
              <a:solidFill>
                <a:srgbClr val="63666A"/>
              </a:solidFill>
              <a:effectLst/>
              <a:uLnTx/>
              <a:uFillTx/>
              <a:latin typeface="Arial"/>
              <a:ea typeface="+mj-ea"/>
              <a:cs typeface="+mj-cs"/>
            </a:endParaRPr>
          </a:p>
        </p:txBody>
      </p:sp>
    </p:spTree>
    <p:extLst>
      <p:ext uri="{BB962C8B-B14F-4D97-AF65-F5344CB8AC3E}">
        <p14:creationId xmlns:p14="http://schemas.microsoft.com/office/powerpoint/2010/main" val="335969200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BB5EF85-EA9E-3034-9AA7-3941942DDA58}"/>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387219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C5743957-88D8-6563-88B1-3ADB23349BF0}"/>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6907797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Four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74924541-1F26-5765-7BB0-61DBC3FA837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86760863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Four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EBF1A456-1439-4FB5-BB78-B79ADD19D336}"/>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1524964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our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1089039"/>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1229920"/>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2261682"/>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2372080"/>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3434325"/>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356504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4606968"/>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47377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2376051"/>
            <a:ext cx="6156310" cy="78029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122992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3565049"/>
            <a:ext cx="6139462"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473779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184361438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iv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67E171F-71B9-01A0-B59A-01A36E3DB61F}"/>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C25ECC34-EF7C-AA38-C328-772526BEBFE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E3AC3B26-17D5-E42F-F575-A7B5A3E3CE5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A725BBC-0EDE-E35B-774C-CE4DAC5DFAA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5247FC5D-90C5-925E-5C43-A57E913983E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D203253A-68FA-3CE3-292B-1D3BFB50B56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58C9A7BC-F2D6-C189-F0C5-8135A251FE5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94CA1D8-0B68-2C65-F21E-4909960805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9212793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Fiv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696B34EB-2BF4-723B-3B16-D58A35A4B1C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E2C89716-8E2F-D218-9D69-728D9833E4D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164CDD3-24C0-C7DD-02C3-F42F71420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5CF9E34-0366-A4F6-CAAA-83F93AF1BD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C9F1D2DA-E0A1-FC28-0F16-353355F766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DF29F8D-143F-3F4D-B705-A86AA62F15B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C72AED6F-CB0A-0FA1-FD2E-DB97FA03568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A2C6B1-6983-CEA2-5B6A-26581F6C7DF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6807398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Five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5363957"/>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979081"/>
            <a:ext cx="765419" cy="693118"/>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19391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2950123"/>
            <a:ext cx="765419" cy="6931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3940821"/>
            <a:ext cx="765419" cy="6931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19431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979081"/>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2950124"/>
            <a:ext cx="6139462"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3940822"/>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 name="Rectangle 2">
            <a:extLst>
              <a:ext uri="{FF2B5EF4-FFF2-40B4-BE49-F238E27FC236}">
                <a16:creationId xmlns:a16="http://schemas.microsoft.com/office/drawing/2014/main" id="{6CEA7CE0-6AF0-30FC-5354-C84DD26A1E43}"/>
              </a:ext>
            </a:extLst>
          </p:cNvPr>
          <p:cNvSpPr/>
          <p:nvPr userDrawn="1"/>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2378FCE4-D7CD-CF11-EA02-2CEC7F6690EE}"/>
              </a:ext>
            </a:extLst>
          </p:cNvPr>
          <p:cNvSpPr/>
          <p:nvPr userDrawn="1"/>
        </p:nvSpPr>
        <p:spPr>
          <a:xfrm>
            <a:off x="4602989" y="49109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6" name="Text Placeholder 13">
            <a:extLst>
              <a:ext uri="{FF2B5EF4-FFF2-40B4-BE49-F238E27FC236}">
                <a16:creationId xmlns:a16="http://schemas.microsoft.com/office/drawing/2014/main" id="{62400C6A-14CE-58FA-0C5A-B9C7B5D31512}"/>
              </a:ext>
            </a:extLst>
          </p:cNvPr>
          <p:cNvSpPr>
            <a:spLocks noGrp="1"/>
          </p:cNvSpPr>
          <p:nvPr>
            <p:ph type="body" sz="quarter" idx="19" hasCustomPrompt="1"/>
          </p:nvPr>
        </p:nvSpPr>
        <p:spPr>
          <a:xfrm>
            <a:off x="5520579" y="49149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226632865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ix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FE8EF36C-84BC-198E-364F-F30BE58D04A2}"/>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7162C090-AFA1-2054-363E-778322097A5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D1909CDE-BEA0-E5CD-7DAD-F18CD192AD2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4DBAF33A-2E6B-6E89-E316-87A5208EF8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D20FDAC9-09B8-C953-9BBB-80FDB2D435E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BAEA8CEB-42F7-3563-8F00-9660D2EC0E0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A888AD0-BAC5-CA0F-6061-345DCC84237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6182ECB7-0C56-7436-D956-6A36C0D58CC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68579135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ven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even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2" y="832058"/>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400214" y="6580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311650" y="891648"/>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7" name="Group 6">
            <a:extLst>
              <a:ext uri="{FF2B5EF4-FFF2-40B4-BE49-F238E27FC236}">
                <a16:creationId xmlns:a16="http://schemas.microsoft.com/office/drawing/2014/main" id="{2DAD9D35-E99E-DAF7-2300-B1B1DF773AA0}"/>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76CD70B-A2D7-6DF6-C49F-225DBD63469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AE7111CB-C449-98A1-A61C-607A0D01C96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6A58A55F-A2F6-1C0E-CB59-5B447071A3B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8">
              <a:extLst>
                <a:ext uri="{FF2B5EF4-FFF2-40B4-BE49-F238E27FC236}">
                  <a16:creationId xmlns:a16="http://schemas.microsoft.com/office/drawing/2014/main" id="{DFCA8EC1-D85A-3462-2041-EE29FEE6D99A}"/>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19">
              <a:extLst>
                <a:ext uri="{FF2B5EF4-FFF2-40B4-BE49-F238E27FC236}">
                  <a16:creationId xmlns:a16="http://schemas.microsoft.com/office/drawing/2014/main" id="{03B56CF8-D1CE-7BBC-64EA-A4D57A55F1C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0" name="Freeform 20">
              <a:extLst>
                <a:ext uri="{FF2B5EF4-FFF2-40B4-BE49-F238E27FC236}">
                  <a16:creationId xmlns:a16="http://schemas.microsoft.com/office/drawing/2014/main" id="{BF946EC7-52B3-77FF-4D5E-A57A173C47D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1" name="Freeform 23">
              <a:extLst>
                <a:ext uri="{FF2B5EF4-FFF2-40B4-BE49-F238E27FC236}">
                  <a16:creationId xmlns:a16="http://schemas.microsoft.com/office/drawing/2014/main" id="{12BA66DC-658D-31A8-7F27-6409F373B00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100828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248238455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06289" y="29945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627288" y="2077910"/>
            <a:ext cx="765419" cy="66950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600291" y="3072433"/>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06288" y="39851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627289" y="4083860"/>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987331"/>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99759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132956" y="3076363"/>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124930" y="4076419"/>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5029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125454" y="5144848"/>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8</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Eight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571708" y="3028741"/>
            <a:ext cx="4357126" cy="748815"/>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571706" y="2048982"/>
            <a:ext cx="4357174" cy="715226"/>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579203" y="4024202"/>
            <a:ext cx="4349629" cy="77633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086448" y="3023305"/>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086448" y="4039539"/>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072338" y="5103551"/>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132957" y="2067960"/>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086448" y="2017174"/>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7" name="Rectangle 6">
            <a:extLst>
              <a:ext uri="{FF2B5EF4-FFF2-40B4-BE49-F238E27FC236}">
                <a16:creationId xmlns:a16="http://schemas.microsoft.com/office/drawing/2014/main" id="{ECB16B80-C336-C91C-9709-8FEA29DA0E7D}"/>
              </a:ext>
            </a:extLst>
          </p:cNvPr>
          <p:cNvSpPr/>
          <p:nvPr userDrawn="1"/>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820BEA7-7576-C802-9316-F443001B42FF}"/>
              </a:ext>
            </a:extLst>
          </p:cNvPr>
          <p:cNvSpPr/>
          <p:nvPr userDrawn="1"/>
        </p:nvSpPr>
        <p:spPr>
          <a:xfrm>
            <a:off x="627289" y="5092034"/>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11" name="Text Placeholder 13">
            <a:extLst>
              <a:ext uri="{FF2B5EF4-FFF2-40B4-BE49-F238E27FC236}">
                <a16:creationId xmlns:a16="http://schemas.microsoft.com/office/drawing/2014/main" id="{8DE5ED14-53B8-287D-A160-4E5BAAB61500}"/>
              </a:ext>
            </a:extLst>
          </p:cNvPr>
          <p:cNvSpPr>
            <a:spLocks noGrp="1"/>
          </p:cNvSpPr>
          <p:nvPr>
            <p:ph type="body" sz="quarter" idx="21" hasCustomPrompt="1"/>
          </p:nvPr>
        </p:nvSpPr>
        <p:spPr>
          <a:xfrm>
            <a:off x="1571706" y="5041248"/>
            <a:ext cx="4299628"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12" name="Group 11">
            <a:extLst>
              <a:ext uri="{FF2B5EF4-FFF2-40B4-BE49-F238E27FC236}">
                <a16:creationId xmlns:a16="http://schemas.microsoft.com/office/drawing/2014/main" id="{681E2C51-5620-BA24-0CAD-2462496E7CD0}"/>
              </a:ext>
            </a:extLst>
          </p:cNvPr>
          <p:cNvGrpSpPr/>
          <p:nvPr userDrawn="1"/>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8150151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9999019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18638524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30779683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hree point icon layout 1">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418484"/>
            <a:ext cx="3397642" cy="4365403"/>
            <a:chOff x="814558" y="1980459"/>
            <a:chExt cx="3397642" cy="4365403"/>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402127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385026"/>
            <a:ext cx="3397643" cy="4398861"/>
            <a:chOff x="4416027" y="1947001"/>
            <a:chExt cx="3397643" cy="4398861"/>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403474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424996"/>
            <a:ext cx="3397642" cy="4355741"/>
            <a:chOff x="8015967" y="1986971"/>
            <a:chExt cx="3397642" cy="4355741"/>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403158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a:xfrm>
            <a:off x="411480" y="228600"/>
            <a:ext cx="10620375" cy="553998"/>
          </a:xfrm>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lvl1pPr>
              <a:defRPr>
                <a:solidFill>
                  <a:schemeClr val="tx1"/>
                </a:solidFill>
              </a:defRPr>
            </a:lvl1pPr>
          </a:lstStyle>
          <a:p>
            <a:pPr algn="r"/>
            <a:r>
              <a:rPr lang="en-US"/>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2571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2571435"/>
            <a:ext cx="2979233" cy="2382944"/>
          </a:xfrm>
        </p:spPr>
        <p:txBody>
          <a:bodyPr>
            <a:normAutofit/>
          </a:bodyPr>
          <a:lstStyle>
            <a:lvl1pPr>
              <a:defRPr sz="1600">
                <a:solidFill>
                  <a:schemeClr val="bg1"/>
                </a:solidFill>
              </a:defRPr>
            </a:lvl1pPr>
          </a:lstStyle>
          <a:p>
            <a:pPr lvl="0"/>
            <a:r>
              <a:rPr lang="en-US"/>
              <a:t>Click to edit Master text styles, no less than 12 p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255866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1534545"/>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1494963"/>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1534933"/>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tx1"/>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tx1"/>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tx1"/>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tx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17460573"/>
      </p:ext>
    </p:extLst>
  </p:cSld>
  <p:clrMapOvr>
    <a:overrideClrMapping bg1="dk1" tx1="lt1" bg2="dk2" tx2="lt2" accent1="accent1" accent2="accent2" accent3="accent3" accent4="accent4" accent5="accent5" accent6="accent6" hlink="hlink" folHlink="folHlink"/>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hree point icon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BC798401-38DF-1476-4A5E-CF8311768CA8}"/>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561E51DE-7AC5-E560-58C5-4D8080BD3A4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56632700-E8A5-7CEB-8721-747C654B69E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68B3F764-54FC-C66E-A34B-44908CBCDFA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2C4AE99E-492A-9473-DBA9-F7710777D7A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600117F-530C-7C09-DE99-C8DF10AA17A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C40C7517-BE5D-356E-0006-352CEC16B9F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0D40DB4-539F-2DEB-78D2-A65A960ADD1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0093607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userDrawn="1"/>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6255605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Five point icon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1397512" y="2012612"/>
            <a:ext cx="878622" cy="8786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513226" y="2012612"/>
            <a:ext cx="878622" cy="87862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653347" y="2012612"/>
            <a:ext cx="885305" cy="88530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835901" y="2005928"/>
            <a:ext cx="885306" cy="88530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10042445" y="2005927"/>
            <a:ext cx="885307" cy="88530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AC69A7CA-7CC8-A227-ACCF-E624E0326E2D}"/>
              </a:ext>
            </a:extLst>
          </p:cNvPr>
          <p:cNvSpPr>
            <a:spLocks noGrp="1"/>
          </p:cNvSpPr>
          <p:nvPr>
            <p:ph type="pic" sz="quarter" idx="19"/>
          </p:nvPr>
        </p:nvSpPr>
        <p:spPr>
          <a:xfrm>
            <a:off x="1471698" y="2090139"/>
            <a:ext cx="730250" cy="730250"/>
          </a:xfrm>
        </p:spPr>
        <p:txBody>
          <a:bodyPr/>
          <a:lstStyle/>
          <a:p>
            <a:r>
              <a:rPr lang="en-US"/>
              <a:t>Click icon to add picture</a:t>
            </a:r>
          </a:p>
        </p:txBody>
      </p:sp>
      <p:sp>
        <p:nvSpPr>
          <p:cNvPr id="13" name="Picture Placeholder 9">
            <a:extLst>
              <a:ext uri="{FF2B5EF4-FFF2-40B4-BE49-F238E27FC236}">
                <a16:creationId xmlns:a16="http://schemas.microsoft.com/office/drawing/2014/main" id="{DC3A30E9-A88D-6E1B-9655-49C6958CADC5}"/>
              </a:ext>
            </a:extLst>
          </p:cNvPr>
          <p:cNvSpPr>
            <a:spLocks noGrp="1"/>
          </p:cNvSpPr>
          <p:nvPr>
            <p:ph type="pic" sz="quarter" idx="20"/>
          </p:nvPr>
        </p:nvSpPr>
        <p:spPr>
          <a:xfrm>
            <a:off x="3594741" y="2105970"/>
            <a:ext cx="730250" cy="730250"/>
          </a:xfrm>
        </p:spPr>
        <p:txBody>
          <a:bodyPr/>
          <a:lstStyle/>
          <a:p>
            <a:r>
              <a:rPr lang="en-US"/>
              <a:t>Click icon to add picture</a:t>
            </a:r>
          </a:p>
        </p:txBody>
      </p:sp>
      <p:sp>
        <p:nvSpPr>
          <p:cNvPr id="17" name="Picture Placeholder 9">
            <a:extLst>
              <a:ext uri="{FF2B5EF4-FFF2-40B4-BE49-F238E27FC236}">
                <a16:creationId xmlns:a16="http://schemas.microsoft.com/office/drawing/2014/main" id="{70F12680-A5EB-F103-1C02-AAA1327447EB}"/>
              </a:ext>
            </a:extLst>
          </p:cNvPr>
          <p:cNvSpPr>
            <a:spLocks noGrp="1"/>
          </p:cNvSpPr>
          <p:nvPr>
            <p:ph type="pic" sz="quarter" idx="21"/>
          </p:nvPr>
        </p:nvSpPr>
        <p:spPr>
          <a:xfrm>
            <a:off x="5725247" y="2105970"/>
            <a:ext cx="730250" cy="730250"/>
          </a:xfrm>
        </p:spPr>
        <p:txBody>
          <a:bodyPr/>
          <a:lstStyle/>
          <a:p>
            <a:r>
              <a:rPr lang="en-US"/>
              <a:t>Click icon to add picture</a:t>
            </a:r>
          </a:p>
        </p:txBody>
      </p:sp>
      <p:sp>
        <p:nvSpPr>
          <p:cNvPr id="18" name="Picture Placeholder 9">
            <a:extLst>
              <a:ext uri="{FF2B5EF4-FFF2-40B4-BE49-F238E27FC236}">
                <a16:creationId xmlns:a16="http://schemas.microsoft.com/office/drawing/2014/main" id="{CE85B955-8E1C-ADEC-3D54-6A605EF33A12}"/>
              </a:ext>
            </a:extLst>
          </p:cNvPr>
          <p:cNvSpPr>
            <a:spLocks noGrp="1"/>
          </p:cNvSpPr>
          <p:nvPr>
            <p:ph type="pic" sz="quarter" idx="22"/>
          </p:nvPr>
        </p:nvSpPr>
        <p:spPr>
          <a:xfrm>
            <a:off x="7912870" y="2083455"/>
            <a:ext cx="730250" cy="730250"/>
          </a:xfrm>
        </p:spPr>
        <p:txBody>
          <a:bodyPr/>
          <a:lstStyle/>
          <a:p>
            <a:r>
              <a:rPr lang="en-US"/>
              <a:t>Click icon to add picture</a:t>
            </a:r>
          </a:p>
        </p:txBody>
      </p:sp>
      <p:sp>
        <p:nvSpPr>
          <p:cNvPr id="19" name="Picture Placeholder 9">
            <a:extLst>
              <a:ext uri="{FF2B5EF4-FFF2-40B4-BE49-F238E27FC236}">
                <a16:creationId xmlns:a16="http://schemas.microsoft.com/office/drawing/2014/main" id="{BAC4360C-D64F-D3EE-0286-087799039C6B}"/>
              </a:ext>
            </a:extLst>
          </p:cNvPr>
          <p:cNvSpPr>
            <a:spLocks noGrp="1"/>
          </p:cNvSpPr>
          <p:nvPr>
            <p:ph type="pic" sz="quarter" idx="23"/>
          </p:nvPr>
        </p:nvSpPr>
        <p:spPr>
          <a:xfrm>
            <a:off x="10119973" y="2083455"/>
            <a:ext cx="730250" cy="730250"/>
          </a:xfrm>
        </p:spPr>
        <p:txBody>
          <a:bodyPr/>
          <a:lstStyle/>
          <a:p>
            <a:r>
              <a:rPr lang="en-US"/>
              <a:t>Click icon to add picture</a:t>
            </a:r>
          </a:p>
        </p:txBody>
      </p:sp>
      <p:grpSp>
        <p:nvGrpSpPr>
          <p:cNvPr id="9" name="Group 8">
            <a:extLst>
              <a:ext uri="{FF2B5EF4-FFF2-40B4-BE49-F238E27FC236}">
                <a16:creationId xmlns:a16="http://schemas.microsoft.com/office/drawing/2014/main" id="{8A348552-978E-83CD-0EC3-F77287D23A05}"/>
              </a:ext>
            </a:extLst>
          </p:cNvPr>
          <p:cNvGrpSpPr/>
          <p:nvPr userDrawn="1"/>
        </p:nvGrpSpPr>
        <p:grpSpPr>
          <a:xfrm>
            <a:off x="10863102" y="309052"/>
            <a:ext cx="911847" cy="382707"/>
            <a:chOff x="7459170" y="481236"/>
            <a:chExt cx="2697427" cy="1132124"/>
          </a:xfrm>
        </p:grpSpPr>
        <p:sp>
          <p:nvSpPr>
            <p:cNvPr id="23" name="Freeform 9">
              <a:extLst>
                <a:ext uri="{FF2B5EF4-FFF2-40B4-BE49-F238E27FC236}">
                  <a16:creationId xmlns:a16="http://schemas.microsoft.com/office/drawing/2014/main" id="{6B2C3EDC-E73D-FC92-3284-1C53DD9BBDE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4" name="Freeform 11">
              <a:extLst>
                <a:ext uri="{FF2B5EF4-FFF2-40B4-BE49-F238E27FC236}">
                  <a16:creationId xmlns:a16="http://schemas.microsoft.com/office/drawing/2014/main" id="{DE6F3993-0C7C-2664-B0CE-D2C173E1AA0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5" name="Freeform 14">
              <a:extLst>
                <a:ext uri="{FF2B5EF4-FFF2-40B4-BE49-F238E27FC236}">
                  <a16:creationId xmlns:a16="http://schemas.microsoft.com/office/drawing/2014/main" id="{0C2717DC-E53A-51AC-FD5D-595D4C99D1A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6" name="Freeform 18">
              <a:extLst>
                <a:ext uri="{FF2B5EF4-FFF2-40B4-BE49-F238E27FC236}">
                  <a16:creationId xmlns:a16="http://schemas.microsoft.com/office/drawing/2014/main" id="{0725DB8C-E9F6-B0F4-BB0C-468294B980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7" name="Freeform 19">
              <a:extLst>
                <a:ext uri="{FF2B5EF4-FFF2-40B4-BE49-F238E27FC236}">
                  <a16:creationId xmlns:a16="http://schemas.microsoft.com/office/drawing/2014/main" id="{93EDFDF6-D953-3F25-9E1F-82464FF74F2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0">
              <a:extLst>
                <a:ext uri="{FF2B5EF4-FFF2-40B4-BE49-F238E27FC236}">
                  <a16:creationId xmlns:a16="http://schemas.microsoft.com/office/drawing/2014/main" id="{07BAF67B-DF47-EBA0-96ED-73CFB98AC8E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3" name="Freeform 23">
              <a:extLst>
                <a:ext uri="{FF2B5EF4-FFF2-40B4-BE49-F238E27FC236}">
                  <a16:creationId xmlns:a16="http://schemas.microsoft.com/office/drawing/2014/main" id="{E2DCD1DB-A235-8DA3-BCA6-8C74317D24D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65934228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userDrawn="1"/>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userDrawn="1"/>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userDrawn="1"/>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33" name="Rectangle 32">
            <a:extLst>
              <a:ext uri="{FF2B5EF4-FFF2-40B4-BE49-F238E27FC236}">
                <a16:creationId xmlns:a16="http://schemas.microsoft.com/office/drawing/2014/main" id="{FD9BCE3B-4762-C661-5C9C-B1DC7338A906}"/>
              </a:ext>
            </a:extLst>
          </p:cNvPr>
          <p:cNvSpPr/>
          <p:nvPr userDrawn="1"/>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userDrawn="1"/>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userDrawn="1"/>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lstStyle/>
          <a:p>
            <a:r>
              <a:rPr lang="en-US"/>
              <a:t>Click icon to add picture</a:t>
            </a:r>
          </a:p>
        </p:txBody>
      </p:sp>
      <p:sp>
        <p:nvSpPr>
          <p:cNvPr id="51" name="Text Placeholder 13">
            <a:extLst>
              <a:ext uri="{FF2B5EF4-FFF2-40B4-BE49-F238E27FC236}">
                <a16:creationId xmlns:a16="http://schemas.microsoft.com/office/drawing/2014/main" id="{F307664A-D9B1-7A11-8864-684019295394}"/>
              </a:ext>
            </a:extLst>
          </p:cNvPr>
          <p:cNvSpPr>
            <a:spLocks noGrp="1"/>
          </p:cNvSpPr>
          <p:nvPr>
            <p:ph type="body" sz="quarter" idx="12" hasCustomPrompt="1"/>
          </p:nvPr>
        </p:nvSpPr>
        <p:spPr>
          <a:xfrm>
            <a:off x="4588024" y="2939349"/>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2" name="Text Placeholder 13">
            <a:extLst>
              <a:ext uri="{FF2B5EF4-FFF2-40B4-BE49-F238E27FC236}">
                <a16:creationId xmlns:a16="http://schemas.microsoft.com/office/drawing/2014/main" id="{640B0055-3E6D-5371-D359-EF15A1BB8CB0}"/>
              </a:ext>
            </a:extLst>
          </p:cNvPr>
          <p:cNvSpPr>
            <a:spLocks noGrp="1"/>
          </p:cNvSpPr>
          <p:nvPr>
            <p:ph type="body" sz="quarter" idx="15" hasCustomPrompt="1"/>
          </p:nvPr>
        </p:nvSpPr>
        <p:spPr>
          <a:xfrm>
            <a:off x="995730" y="2939348"/>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3" name="Text Placeholder 13">
            <a:extLst>
              <a:ext uri="{FF2B5EF4-FFF2-40B4-BE49-F238E27FC236}">
                <a16:creationId xmlns:a16="http://schemas.microsoft.com/office/drawing/2014/main" id="{EF7FBD39-9F65-238A-D1D6-F47CC96BCFAB}"/>
              </a:ext>
            </a:extLst>
          </p:cNvPr>
          <p:cNvSpPr>
            <a:spLocks noGrp="1"/>
          </p:cNvSpPr>
          <p:nvPr>
            <p:ph type="body" sz="quarter" idx="16" hasCustomPrompt="1"/>
          </p:nvPr>
        </p:nvSpPr>
        <p:spPr>
          <a:xfrm>
            <a:off x="8167309" y="2960957"/>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4" name="Text Placeholder 13">
            <a:extLst>
              <a:ext uri="{FF2B5EF4-FFF2-40B4-BE49-F238E27FC236}">
                <a16:creationId xmlns:a16="http://schemas.microsoft.com/office/drawing/2014/main" id="{D5769A1C-7B40-E7FB-87DD-A77A398B393B}"/>
              </a:ext>
            </a:extLst>
          </p:cNvPr>
          <p:cNvSpPr>
            <a:spLocks noGrp="1"/>
          </p:cNvSpPr>
          <p:nvPr>
            <p:ph type="body" sz="quarter" idx="25" hasCustomPrompt="1"/>
          </p:nvPr>
        </p:nvSpPr>
        <p:spPr>
          <a:xfrm>
            <a:off x="4588024" y="5251822"/>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5" name="Text Placeholder 13">
            <a:extLst>
              <a:ext uri="{FF2B5EF4-FFF2-40B4-BE49-F238E27FC236}">
                <a16:creationId xmlns:a16="http://schemas.microsoft.com/office/drawing/2014/main" id="{0FA4551A-1EF7-E715-98EA-16220C9D8120}"/>
              </a:ext>
            </a:extLst>
          </p:cNvPr>
          <p:cNvSpPr>
            <a:spLocks noGrp="1"/>
          </p:cNvSpPr>
          <p:nvPr>
            <p:ph type="body" sz="quarter" idx="26" hasCustomPrompt="1"/>
          </p:nvPr>
        </p:nvSpPr>
        <p:spPr>
          <a:xfrm>
            <a:off x="995730" y="5251821"/>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6" name="Text Placeholder 13">
            <a:extLst>
              <a:ext uri="{FF2B5EF4-FFF2-40B4-BE49-F238E27FC236}">
                <a16:creationId xmlns:a16="http://schemas.microsoft.com/office/drawing/2014/main" id="{20339369-D707-24E3-0DBE-05BC89883E53}"/>
              </a:ext>
            </a:extLst>
          </p:cNvPr>
          <p:cNvSpPr>
            <a:spLocks noGrp="1"/>
          </p:cNvSpPr>
          <p:nvPr>
            <p:ph type="body" sz="quarter" idx="27" hasCustomPrompt="1"/>
          </p:nvPr>
        </p:nvSpPr>
        <p:spPr>
          <a:xfrm>
            <a:off x="8167309" y="5273430"/>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B129E26F-9EAB-58D3-8BE0-92C03DF5A2B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7687295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776072"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95955" y="282822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6995985"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823062"/>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graphicFrame>
        <p:nvGraphicFramePr>
          <p:cNvPr id="66" name="Table 5">
            <a:extLst>
              <a:ext uri="{FF2B5EF4-FFF2-40B4-BE49-F238E27FC236}">
                <a16:creationId xmlns:a16="http://schemas.microsoft.com/office/drawing/2014/main" id="{ECBC1793-4F31-C1E1-755D-41B5D4784098}"/>
              </a:ext>
            </a:extLst>
          </p:cNvPr>
          <p:cNvGraphicFramePr>
            <a:graphicFrameLocks noGrp="1"/>
          </p:cNvGraphicFramePr>
          <p:nvPr userDrawn="1">
            <p:extLst>
              <p:ext uri="{D42A27DB-BD31-4B8C-83A1-F6EECF244321}">
                <p14:modId xmlns:p14="http://schemas.microsoft.com/office/powerpoint/2010/main" val="3709454205"/>
              </p:ext>
            </p:extLst>
          </p:nvPr>
        </p:nvGraphicFramePr>
        <p:xfrm>
          <a:off x="814557" y="3513700"/>
          <a:ext cx="10621782" cy="370840"/>
        </p:xfrm>
        <a:graphic>
          <a:graphicData uri="http://schemas.openxmlformats.org/drawingml/2006/table">
            <a:tbl>
              <a:tblPr firstRow="1" bandRow="1">
                <a:tableStyleId>{5C22544A-7EE6-4342-B048-85BDC9FD1C3A}</a:tableStyleId>
              </a:tblPr>
              <a:tblGrid>
                <a:gridCol w="1770297">
                  <a:extLst>
                    <a:ext uri="{9D8B030D-6E8A-4147-A177-3AD203B41FA5}">
                      <a16:colId xmlns:a16="http://schemas.microsoft.com/office/drawing/2014/main" val="3406844630"/>
                    </a:ext>
                  </a:extLst>
                </a:gridCol>
                <a:gridCol w="1770297">
                  <a:extLst>
                    <a:ext uri="{9D8B030D-6E8A-4147-A177-3AD203B41FA5}">
                      <a16:colId xmlns:a16="http://schemas.microsoft.com/office/drawing/2014/main" val="1945530150"/>
                    </a:ext>
                  </a:extLst>
                </a:gridCol>
                <a:gridCol w="1770297">
                  <a:extLst>
                    <a:ext uri="{9D8B030D-6E8A-4147-A177-3AD203B41FA5}">
                      <a16:colId xmlns:a16="http://schemas.microsoft.com/office/drawing/2014/main" val="1005128605"/>
                    </a:ext>
                  </a:extLst>
                </a:gridCol>
                <a:gridCol w="1770297">
                  <a:extLst>
                    <a:ext uri="{9D8B030D-6E8A-4147-A177-3AD203B41FA5}">
                      <a16:colId xmlns:a16="http://schemas.microsoft.com/office/drawing/2014/main" val="458871675"/>
                    </a:ext>
                  </a:extLst>
                </a:gridCol>
                <a:gridCol w="1770297">
                  <a:extLst>
                    <a:ext uri="{9D8B030D-6E8A-4147-A177-3AD203B41FA5}">
                      <a16:colId xmlns:a16="http://schemas.microsoft.com/office/drawing/2014/main" val="2469416919"/>
                    </a:ext>
                  </a:extLst>
                </a:gridCol>
                <a:gridCol w="1770297">
                  <a:extLst>
                    <a:ext uri="{9D8B030D-6E8A-4147-A177-3AD203B41FA5}">
                      <a16:colId xmlns:a16="http://schemas.microsoft.com/office/drawing/2014/main" val="4143765711"/>
                    </a:ext>
                  </a:extLst>
                </a:gridCol>
              </a:tblGrid>
              <a:tr h="370840">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extLst>
                  <a:ext uri="{0D108BD9-81ED-4DB2-BD59-A6C34878D82A}">
                    <a16:rowId xmlns:a16="http://schemas.microsoft.com/office/drawing/2014/main" val="3671987825"/>
                  </a:ext>
                </a:extLst>
              </a:tr>
            </a:tbl>
          </a:graphicData>
        </a:graphic>
      </p:graphicFrame>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990601"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68029"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94839" y="1998846"/>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233984"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F7B2233B-0C35-3E3B-0EAA-BB8CD5BA9BCC}"/>
              </a:ext>
            </a:extLst>
          </p:cNvPr>
          <p:cNvSpPr>
            <a:spLocks noGrp="1"/>
          </p:cNvSpPr>
          <p:nvPr>
            <p:ph type="body" sz="quarter" idx="19" hasCustomPrompt="1"/>
          </p:nvPr>
        </p:nvSpPr>
        <p:spPr>
          <a:xfrm>
            <a:off x="9799940" y="4920481"/>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8033955" y="1992709"/>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838621" y="3589012"/>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126" y="358167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402411"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01916"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24445"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723950"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390865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 name="Autoshape Default Text" hidden="1"/>
          <p:cNvSpPr txBox="1"/>
          <p:nvPr/>
        </p:nvSpPr>
        <p:spPr>
          <a:xfrm>
            <a:off x="0" y="0"/>
            <a:ext cx="1041600" cy="201600"/>
          </a:xfrm>
          <a:prstGeom prst="rect">
            <a:avLst/>
          </a:prstGeom>
          <a:noFill/>
        </p:spPr>
        <p:txBody>
          <a:bodyPr wrap="square" lIns="0" tIns="0" rIns="0" bIns="0" rtlCol="0">
            <a:noAutofit/>
          </a:bodyPr>
          <a:lstStyle/>
          <a:p>
            <a:r>
              <a:rPr lang="en-US" sz="1333"/>
              <a:t>Text</a:t>
            </a:r>
          </a:p>
        </p:txBody>
      </p:sp>
      <p:sp>
        <p:nvSpPr>
          <p:cNvPr id="12" name="Autoshape Default Shape" hidden="1"/>
          <p:cNvSpPr>
            <a:spLocks/>
          </p:cNvSpPr>
          <p:nvPr/>
        </p:nvSpPr>
        <p:spPr>
          <a:xfrm>
            <a:off x="0" y="327912"/>
            <a:ext cx="979200" cy="327288"/>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5128" tIns="75128" rIns="75128" bIns="75128" rtlCol="0" anchor="ctr">
            <a:noAutofit/>
          </a:bodyPr>
          <a:lstStyle/>
          <a:p>
            <a:pPr algn="ctr"/>
            <a:r>
              <a:rPr lang="en-US" sz="1333"/>
              <a:t>Shape</a:t>
            </a:r>
          </a:p>
        </p:txBody>
      </p:sp>
      <p:cxnSp>
        <p:nvCxnSpPr>
          <p:cNvPr id="13" name="Autoshape Default Line" hidden="1"/>
          <p:cNvCxnSpPr/>
          <p:nvPr/>
        </p:nvCxnSpPr>
        <p:spPr>
          <a:xfrm flipV="1">
            <a:off x="0" y="884700"/>
            <a:ext cx="888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Filename" hidden="1">
            <a:extLst>
              <a:ext uri="{FF2B5EF4-FFF2-40B4-BE49-F238E27FC236}">
                <a16:creationId xmlns:a16="http://schemas.microsoft.com/office/drawing/2014/main" id="{AC92D302-00EE-4255-82F0-034F72E7A770}"/>
              </a:ext>
            </a:extLst>
          </p:cNvPr>
          <p:cNvSpPr txBox="1"/>
          <p:nvPr/>
        </p:nvSpPr>
        <p:spPr>
          <a:xfrm>
            <a:off x="426720" y="6437311"/>
            <a:ext cx="9120000" cy="304800"/>
          </a:xfrm>
          <a:prstGeom prst="rect">
            <a:avLst/>
          </a:prstGeom>
          <a:noFill/>
        </p:spPr>
        <p:txBody>
          <a:bodyPr wrap="square" lIns="0" tIns="0" rIns="0" bIns="0" rtlCol="0" anchor="b" anchorCtr="0">
            <a:noAutofit/>
          </a:bodyPr>
          <a:lstStyle/>
          <a:p>
            <a:r>
              <a:rPr lang="en-US" sz="533" noProof="1">
                <a:solidFill>
                  <a:schemeClr val="tx1"/>
                </a:solidFill>
                <a:latin typeface="+mn-lt"/>
                <a:cs typeface="Arial" pitchFamily="34" charset="0"/>
              </a:rPr>
              <a:t>https://rsmnet-my.sharepoint.com/personal/e069582_mcgladrey_rsm_net/Documents/all/AACE/ASCEND 2025-26/Session 1/Ascend - Financial Systems Landscape and Trends Session 1 FINAL.pptx</a:t>
            </a:r>
          </a:p>
        </p:txBody>
      </p:sp>
      <p:sp>
        <p:nvSpPr>
          <p:cNvPr id="16" name="Draft" hidden="1">
            <a:extLst>
              <a:ext uri="{FF2B5EF4-FFF2-40B4-BE49-F238E27FC236}">
                <a16:creationId xmlns:a16="http://schemas.microsoft.com/office/drawing/2014/main" id="{214A0598-EC0E-4C30-935A-CC6283625B3B}"/>
              </a:ext>
            </a:extLst>
          </p:cNvPr>
          <p:cNvSpPr txBox="1"/>
          <p:nvPr/>
        </p:nvSpPr>
        <p:spPr>
          <a:xfrm>
            <a:off x="10083817" y="28599"/>
            <a:ext cx="1869000" cy="222227"/>
          </a:xfrm>
          <a:prstGeom prst="rect">
            <a:avLst/>
          </a:prstGeom>
          <a:noFill/>
        </p:spPr>
        <p:txBody>
          <a:bodyPr wrap="square" lIns="0" tIns="0" rIns="0" bIns="0" rtlCol="0">
            <a:noAutofit/>
          </a:bodyPr>
          <a:lstStyle/>
          <a:p>
            <a:pPr algn="r"/>
            <a:r>
              <a:rPr lang="en-US" sz="1467">
                <a:solidFill>
                  <a:schemeClr val="bg1">
                    <a:lumMod val="75000"/>
                  </a:schemeClr>
                </a:solidFill>
                <a:latin typeface="+mn-lt"/>
                <a:cs typeface="Arial" pitchFamily="34" charset="0"/>
              </a:rPr>
              <a:t>DRAFT</a:t>
            </a:r>
          </a:p>
        </p:txBody>
      </p:sp>
      <p:pic>
        <p:nvPicPr>
          <p:cNvPr id="15" name="Picture 14">
            <a:extLst>
              <a:ext uri="{FF2B5EF4-FFF2-40B4-BE49-F238E27FC236}">
                <a16:creationId xmlns:a16="http://schemas.microsoft.com/office/drawing/2014/main" id="{F1E139A0-FB3B-48BA-A40D-B53A7946804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 y="884"/>
            <a:ext cx="12191616" cy="6856444"/>
          </a:xfrm>
          <a:prstGeom prst="rect">
            <a:avLst/>
          </a:prstGeom>
        </p:spPr>
      </p:pic>
      <p:sp>
        <p:nvSpPr>
          <p:cNvPr id="3" name="Subtitle"/>
          <p:cNvSpPr>
            <a:spLocks noGrp="1"/>
          </p:cNvSpPr>
          <p:nvPr>
            <p:ph type="subTitle" idx="1"/>
          </p:nvPr>
        </p:nvSpPr>
        <p:spPr>
          <a:xfrm>
            <a:off x="5248656" y="3880800"/>
            <a:ext cx="5508000" cy="1267200"/>
          </a:xfrm>
        </p:spPr>
        <p:txBody>
          <a:bodyPr vert="horz" lIns="0" tIns="45720" rIns="0" bIns="45720" rtlCol="0">
            <a:normAutofit/>
          </a:bodyPr>
          <a:lstStyle>
            <a:lvl1pPr>
              <a:defRPr lang="en-GB" sz="2400" dirty="0">
                <a:solidFill>
                  <a:schemeClr val="bg1"/>
                </a:solidFill>
                <a:latin typeface="Arial" panose="020B0604020202020204" pitchFamily="34" charset="0"/>
                <a:cs typeface="Arial" panose="020B0604020202020204" pitchFamily="34" charset="0"/>
              </a:defRPr>
            </a:lvl1pPr>
          </a:lstStyle>
          <a:p>
            <a:pPr lvl="0" defTabSz="914400">
              <a:lnSpc>
                <a:spcPct val="100000"/>
              </a:lnSpc>
              <a:spcBef>
                <a:spcPts val="1000"/>
              </a:spcBef>
              <a:buFont typeface="Arial" panose="020B0604020202020204" pitchFamily="34" charset="0"/>
            </a:pPr>
            <a:endParaRPr lang="en-US"/>
          </a:p>
        </p:txBody>
      </p:sp>
      <p:sp>
        <p:nvSpPr>
          <p:cNvPr id="2" name="Title"/>
          <p:cNvSpPr>
            <a:spLocks noGrp="1"/>
          </p:cNvSpPr>
          <p:nvPr>
            <p:ph type="ctrTitle"/>
          </p:nvPr>
        </p:nvSpPr>
        <p:spPr>
          <a:xfrm>
            <a:off x="5247700" y="1285200"/>
            <a:ext cx="5508000" cy="2509200"/>
          </a:xfrm>
        </p:spPr>
        <p:txBody>
          <a:bodyPr vert="horz" lIns="0" tIns="45720" rIns="0" bIns="45720" rtlCol="0" anchor="b">
            <a:normAutofit/>
          </a:bodyPr>
          <a:lstStyle>
            <a:lvl1pPr>
              <a:defRPr lang="en-GB" sz="3200" b="0" cap="all" dirty="0">
                <a:solidFill>
                  <a:schemeClr val="bg1"/>
                </a:solidFill>
                <a:latin typeface="Arial" panose="020B0604020202020204" pitchFamily="34" charset="0"/>
                <a:cs typeface="Arial" panose="020B0604020202020204" pitchFamily="34" charset="0"/>
              </a:defRPr>
            </a:lvl1pPr>
          </a:lstStyle>
          <a:p>
            <a:pPr lvl="0" defTabSz="914400">
              <a:lnSpc>
                <a:spcPct val="90000"/>
              </a:lnSpc>
            </a:pPr>
            <a:endParaRPr lang="en-US"/>
          </a:p>
        </p:txBody>
      </p:sp>
    </p:spTree>
    <p:extLst>
      <p:ext uri="{BB962C8B-B14F-4D97-AF65-F5344CB8AC3E}">
        <p14:creationId xmlns:p14="http://schemas.microsoft.com/office/powerpoint/2010/main" val="1252992847"/>
      </p:ext>
    </p:extLst>
  </p:cSld>
  <p:clrMapOvr>
    <a:masterClrMapping/>
  </p:clrMapOvr>
  <p:extLst>
    <p:ext uri="{DCECCB84-F9BA-43D5-87BE-67443E8EF086}">
      <p15:sldGuideLst xmlns:p15="http://schemas.microsoft.com/office/powerpoint/2012/main">
        <p15:guide id="1" pos="3312">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meline layout 2">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6096000"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5334000" y="197465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104339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8233532"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747153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8" y="3716322"/>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939141" y="3356328"/>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5063724" y="3725164"/>
            <a:ext cx="2124583"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7187184" y="3360749"/>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9311767" y="3729585"/>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958472"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319647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9671915"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3145104" y="342620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5293165" y="378903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7381422" y="3438786"/>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565614" y="379390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974039"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7246509" y="2972163"/>
            <a:ext cx="1974039" cy="307777"/>
          </a:xfrm>
          <a:prstGeom prst="rect">
            <a:avLst/>
          </a:prstGeom>
          <a:noFill/>
        </p:spPr>
        <p:txBody>
          <a:bodyPr wrap="square" lIns="0" tIns="0" rIns="0" bIns="0" rtlCol="0">
            <a:spAutoFit/>
          </a:bodyPr>
          <a:lstStyle/>
          <a:p>
            <a:pPr algn="ctr"/>
            <a:r>
              <a:rPr lang="en-US" sz="2000" b="1"/>
              <a:t>20XX</a:t>
            </a:r>
          </a:p>
        </p:txBody>
      </p:sp>
      <p:grpSp>
        <p:nvGrpSpPr>
          <p:cNvPr id="11" name="Group 10">
            <a:extLst>
              <a:ext uri="{FF2B5EF4-FFF2-40B4-BE49-F238E27FC236}">
                <a16:creationId xmlns:a16="http://schemas.microsoft.com/office/drawing/2014/main" id="{C1F5C286-6F3B-FEB0-2C38-EE803213F03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8C463DB0-6267-2164-346A-C7C72F2AD5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ECF88DB-48D1-9CF3-7208-D40E951E28C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6E99E7A9-A934-DE40-7612-53CC0466195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600441B5-66ED-F915-DDEE-EC560D48D7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EA349F80-F837-20F9-D936-49BC81A14FF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6AC00D88-F194-44A7-53D5-09D8147A938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23">
              <a:extLst>
                <a:ext uri="{FF2B5EF4-FFF2-40B4-BE49-F238E27FC236}">
                  <a16:creationId xmlns:a16="http://schemas.microsoft.com/office/drawing/2014/main" id="{F9F7FE31-3D80-F148-E003-045AC0328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74136376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userDrawn="1"/>
        </p:nvCxnSpPr>
        <p:spPr>
          <a:xfrm flipV="1">
            <a:off x="102534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1322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56478" y="197465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5192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8311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069104" y="4833200"/>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529351" y="3356328"/>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42347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59459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7661342" y="3729585"/>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3687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38800" y="4833200"/>
            <a:ext cx="148631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7843449"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800" y="3426200"/>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70244" y="3789033"/>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069104" y="3438786"/>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776059" y="379390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750641"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5936940" y="2972163"/>
            <a:ext cx="1724798" cy="307777"/>
          </a:xfrm>
          <a:prstGeom prst="rect">
            <a:avLst/>
          </a:prstGeom>
          <a:noFill/>
        </p:spPr>
        <p:txBody>
          <a:bodyPr wrap="square" lIns="0" tIns="0" rIns="0" bIns="0" rtlCol="0">
            <a:spAutoFit/>
          </a:bodyPr>
          <a:lstStyle/>
          <a:p>
            <a:pPr algn="ctr"/>
            <a:r>
              <a:rPr lang="en-US" sz="2000" b="1"/>
              <a:t>20XX</a:t>
            </a:r>
          </a:p>
        </p:txBody>
      </p:sp>
      <p:sp>
        <p:nvSpPr>
          <p:cNvPr id="19" name="Rectangle 18">
            <a:extLst>
              <a:ext uri="{FF2B5EF4-FFF2-40B4-BE49-F238E27FC236}">
                <a16:creationId xmlns:a16="http://schemas.microsoft.com/office/drawing/2014/main" id="{622F5348-07E7-C888-D291-A0D3B05C7F4F}"/>
              </a:ext>
            </a:extLst>
          </p:cNvPr>
          <p:cNvSpPr/>
          <p:nvPr userDrawn="1"/>
        </p:nvSpPr>
        <p:spPr>
          <a:xfrm>
            <a:off x="93766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491410" y="3431845"/>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23" name="Text Placeholder 13">
            <a:extLst>
              <a:ext uri="{FF2B5EF4-FFF2-40B4-BE49-F238E27FC236}">
                <a16:creationId xmlns:a16="http://schemas.microsoft.com/office/drawing/2014/main" id="{90BBA5B1-2813-7ED1-260D-1FF9CA368C66}"/>
              </a:ext>
            </a:extLst>
          </p:cNvPr>
          <p:cNvSpPr>
            <a:spLocks noGrp="1"/>
          </p:cNvSpPr>
          <p:nvPr>
            <p:ph type="body" sz="quarter" idx="29" hasCustomPrompt="1"/>
          </p:nvPr>
        </p:nvSpPr>
        <p:spPr>
          <a:xfrm>
            <a:off x="9491410" y="483131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grpSp>
        <p:nvGrpSpPr>
          <p:cNvPr id="11" name="Group 10">
            <a:extLst>
              <a:ext uri="{FF2B5EF4-FFF2-40B4-BE49-F238E27FC236}">
                <a16:creationId xmlns:a16="http://schemas.microsoft.com/office/drawing/2014/main" id="{F194D94E-5449-DF2C-2F5D-D841479A455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35315254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meline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82735" y="4167972"/>
            <a:ext cx="2370062"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6327052" y="4167973"/>
            <a:ext cx="228354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8959322" y="1974657"/>
            <a:ext cx="2061952"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4558" y="3716322"/>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3457174" y="3356328"/>
            <a:ext cx="2642616"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6099790" y="3725164"/>
            <a:ext cx="2642616"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8742406" y="3360749"/>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639186" y="1974657"/>
            <a:ext cx="2304413"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95666" y="3779797"/>
            <a:ext cx="2355477"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663136" y="3426200"/>
            <a:ext cx="2280464"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6329230" y="3789033"/>
            <a:ext cx="2084631" cy="218674"/>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8936643" y="3438786"/>
            <a:ext cx="2084631"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p:nvPr userDrawn="1"/>
        </p:nvCxnSpPr>
        <p:spPr>
          <a:xfrm>
            <a:off x="3457174"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p:nvPr userDrawn="1"/>
        </p:nvCxnSpPr>
        <p:spPr>
          <a:xfrm>
            <a:off x="609600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p:nvPr userDrawn="1"/>
        </p:nvCxnSpPr>
        <p:spPr>
          <a:xfrm>
            <a:off x="8755647" y="1974657"/>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26655DE-0164-0DED-C40B-FFF77F1BA55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A1D00D42-B029-31EA-77EE-132DA59FD98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5E606B4B-B7EF-3DE8-FF5E-A458B5079D1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327A4D6-7FD4-DB4F-0421-0ADA39E33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757FF84E-14EC-EEC2-F3C3-30269E22443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DC73BCD-A2E5-F03F-C837-59728964EB0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25E1581B-5F1B-DD87-25F9-76DAEF82AEE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A16E0349-A2F4-E3C0-A57E-1E42F5F0B6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97207093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14400" y="4167972"/>
            <a:ext cx="2000356"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5237790" y="4167973"/>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7478415" y="1970236"/>
            <a:ext cx="1874223"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7606" y="3716322"/>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2991493" y="3356328"/>
            <a:ext cx="2173887"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7358943" y="3356328"/>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072034" y="1974657"/>
            <a:ext cx="1944947"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7332" y="3779797"/>
            <a:ext cx="1937679"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095985" y="3426200"/>
            <a:ext cx="1875971"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39969" y="3789033"/>
            <a:ext cx="1925154" cy="207661"/>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55737" y="3426200"/>
            <a:ext cx="1896908" cy="226839"/>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userDrawn="1"/>
        </p:nvCxnSpPr>
        <p:spPr>
          <a:xfrm>
            <a:off x="2991493"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userDrawn="1"/>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userDrawn="1"/>
        </p:nvCxnSpPr>
        <p:spPr>
          <a:xfrm>
            <a:off x="7372184" y="1970236"/>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7E0D13C8-3592-C280-CE46-204C78CC348E}"/>
              </a:ext>
            </a:extLst>
          </p:cNvPr>
          <p:cNvSpPr>
            <a:spLocks noGrp="1"/>
          </p:cNvSpPr>
          <p:nvPr>
            <p:ph type="body" sz="quarter" idx="25" hasCustomPrompt="1"/>
          </p:nvPr>
        </p:nvSpPr>
        <p:spPr>
          <a:xfrm>
            <a:off x="9613691" y="4156960"/>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5" name="Rectangle 14">
            <a:extLst>
              <a:ext uri="{FF2B5EF4-FFF2-40B4-BE49-F238E27FC236}">
                <a16:creationId xmlns:a16="http://schemas.microsoft.com/office/drawing/2014/main" id="{1CBEB14D-5BA5-643D-3888-51C635CEC8B1}"/>
              </a:ext>
            </a:extLst>
          </p:cNvPr>
          <p:cNvSpPr/>
          <p:nvPr userDrawn="1"/>
        </p:nvSpPr>
        <p:spPr>
          <a:xfrm>
            <a:off x="9541281" y="3714151"/>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15870" y="3778020"/>
            <a:ext cx="1921364"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userDrawn="1"/>
        </p:nvCxnSpPr>
        <p:spPr>
          <a:xfrm>
            <a:off x="9537491" y="3714151"/>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88510638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meline layou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632706"/>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1018195" y="2848248"/>
            <a:ext cx="836830" cy="278566"/>
          </a:xfrm>
        </p:spPr>
        <p:txBody>
          <a:bodyPr/>
          <a:lstStyle>
            <a:lvl1pPr algn="ctr">
              <a:spcBef>
                <a:spcPts val="0"/>
              </a:spcBef>
              <a:defRPr sz="1600" b="1">
                <a:solidFill>
                  <a:schemeClr val="tx1"/>
                </a:solidFill>
                <a:latin typeface="+mn-lt"/>
              </a:defRPr>
            </a:lvl1pPr>
          </a:lstStyle>
          <a:p>
            <a:pPr lvl="0"/>
            <a:r>
              <a:rPr lang="en-US"/>
              <a:t>Month</a:t>
            </a:r>
          </a:p>
        </p:txBody>
      </p:sp>
      <p:cxnSp>
        <p:nvCxnSpPr>
          <p:cNvPr id="5" name="Straight Connector 4">
            <a:extLst>
              <a:ext uri="{FF2B5EF4-FFF2-40B4-BE49-F238E27FC236}">
                <a16:creationId xmlns:a16="http://schemas.microsoft.com/office/drawing/2014/main" id="{AE09EE46-E0D2-8875-289B-BB965DB35AD8}"/>
              </a:ext>
            </a:extLst>
          </p:cNvPr>
          <p:cNvCxnSpPr>
            <a:cxnSpLocks/>
          </p:cNvCxnSpPr>
          <p:nvPr/>
        </p:nvCxnSpPr>
        <p:spPr>
          <a:xfrm flipH="1">
            <a:off x="1414181"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45C6E6A-656C-B776-A9EC-266DC79A4F43}"/>
              </a:ext>
            </a:extLst>
          </p:cNvPr>
          <p:cNvCxnSpPr>
            <a:cxnSpLocks/>
          </p:cNvCxnSpPr>
          <p:nvPr/>
        </p:nvCxnSpPr>
        <p:spPr>
          <a:xfrm flipH="1">
            <a:off x="2770377"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CCA59D9-74D3-83E3-F6E2-74908388686B}"/>
              </a:ext>
            </a:extLst>
          </p:cNvPr>
          <p:cNvCxnSpPr>
            <a:cxnSpLocks/>
          </p:cNvCxnSpPr>
          <p:nvPr/>
        </p:nvCxnSpPr>
        <p:spPr>
          <a:xfrm flipH="1">
            <a:off x="4074679"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9ADFADF-1A28-B738-466E-E2E7857C3070}"/>
              </a:ext>
            </a:extLst>
          </p:cNvPr>
          <p:cNvCxnSpPr>
            <a:cxnSpLocks/>
          </p:cNvCxnSpPr>
          <p:nvPr/>
        </p:nvCxnSpPr>
        <p:spPr>
          <a:xfrm flipH="1">
            <a:off x="5430875"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59F193-4748-038C-7CCA-0957D5412C69}"/>
              </a:ext>
            </a:extLst>
          </p:cNvPr>
          <p:cNvCxnSpPr>
            <a:cxnSpLocks/>
          </p:cNvCxnSpPr>
          <p:nvPr/>
        </p:nvCxnSpPr>
        <p:spPr>
          <a:xfrm flipH="1">
            <a:off x="6735177"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848F43D-C4FA-5E73-078B-417F436790A6}"/>
              </a:ext>
            </a:extLst>
          </p:cNvPr>
          <p:cNvCxnSpPr>
            <a:cxnSpLocks/>
          </p:cNvCxnSpPr>
          <p:nvPr/>
        </p:nvCxnSpPr>
        <p:spPr>
          <a:xfrm flipH="1">
            <a:off x="9395675"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6D8DDA-7D40-8B32-7043-CE31BCFC5F6D}"/>
              </a:ext>
            </a:extLst>
          </p:cNvPr>
          <p:cNvCxnSpPr>
            <a:cxnSpLocks/>
          </p:cNvCxnSpPr>
          <p:nvPr/>
        </p:nvCxnSpPr>
        <p:spPr>
          <a:xfrm flipH="1">
            <a:off x="80913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C290974-47D8-72F4-D1D0-3EACA05B3ED6}"/>
              </a:ext>
            </a:extLst>
          </p:cNvPr>
          <p:cNvCxnSpPr>
            <a:cxnSpLocks/>
          </p:cNvCxnSpPr>
          <p:nvPr/>
        </p:nvCxnSpPr>
        <p:spPr>
          <a:xfrm flipH="1">
            <a:off x="107518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380734E2-EE37-64C8-51E7-B7B3F4AB895E}"/>
              </a:ext>
            </a:extLst>
          </p:cNvPr>
          <p:cNvGrpSpPr/>
          <p:nvPr userDrawn="1"/>
        </p:nvGrpSpPr>
        <p:grpSpPr>
          <a:xfrm>
            <a:off x="814557" y="2289019"/>
            <a:ext cx="10621792" cy="1337130"/>
            <a:chOff x="814558" y="2289019"/>
            <a:chExt cx="8485412" cy="1068191"/>
          </a:xfrm>
        </p:grpSpPr>
        <p:sp>
          <p:nvSpPr>
            <p:cNvPr id="50" name="Freeform 49">
              <a:extLst>
                <a:ext uri="{FF2B5EF4-FFF2-40B4-BE49-F238E27FC236}">
                  <a16:creationId xmlns:a16="http://schemas.microsoft.com/office/drawing/2014/main" id="{825967E4-003B-6087-AA86-C2D4BC3742D9}"/>
                </a:ext>
              </a:extLst>
            </p:cNvPr>
            <p:cNvSpPr/>
            <p:nvPr/>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5DB58AC3-1A20-A44C-8422-27B9335BB8C3}"/>
                </a:ext>
              </a:extLst>
            </p:cNvPr>
            <p:cNvSpPr/>
            <p:nvPr/>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18C3EC2-33A3-B497-E1FD-E97BD7C74241}"/>
                </a:ext>
              </a:extLst>
            </p:cNvPr>
            <p:cNvSpPr/>
            <p:nvPr/>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5A5BCE02-9832-3CF9-F3AD-B9F218CDFC14}"/>
                </a:ext>
              </a:extLst>
            </p:cNvPr>
            <p:cNvSpPr/>
            <p:nvPr/>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67" name="Freeform 66">
              <a:extLst>
                <a:ext uri="{FF2B5EF4-FFF2-40B4-BE49-F238E27FC236}">
                  <a16:creationId xmlns:a16="http://schemas.microsoft.com/office/drawing/2014/main" id="{2AA7D64E-1783-6A8F-5DBE-E252297CB2D1}"/>
                </a:ext>
              </a:extLst>
            </p:cNvPr>
            <p:cNvSpPr/>
            <p:nvPr/>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A4849390-0335-E438-0C15-13F926F11AB7}"/>
                </a:ext>
              </a:extLst>
            </p:cNvPr>
            <p:cNvSpPr/>
            <p:nvPr/>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67ADB5B2-3954-03ED-E673-C958885E2976}"/>
                </a:ext>
              </a:extLst>
            </p:cNvPr>
            <p:cNvSpPr/>
            <p:nvPr/>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E46D0D23-79B5-5D12-8E5B-C871F288F9C5}"/>
                </a:ext>
              </a:extLst>
            </p:cNvPr>
            <p:cNvSpPr/>
            <p:nvPr/>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grpSp>
      <p:sp>
        <p:nvSpPr>
          <p:cNvPr id="71" name="Text Placeholder 13">
            <a:extLst>
              <a:ext uri="{FF2B5EF4-FFF2-40B4-BE49-F238E27FC236}">
                <a16:creationId xmlns:a16="http://schemas.microsoft.com/office/drawing/2014/main" id="{5D659581-B672-D7D2-2A0E-B5AA7C8FC763}"/>
              </a:ext>
            </a:extLst>
          </p:cNvPr>
          <p:cNvSpPr>
            <a:spLocks noGrp="1"/>
          </p:cNvSpPr>
          <p:nvPr>
            <p:ph type="body" sz="quarter" idx="22" hasCustomPrompt="1"/>
          </p:nvPr>
        </p:nvSpPr>
        <p:spPr>
          <a:xfrm>
            <a:off x="2174029" y="517983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EA4693B3-8B99-5BD1-7D9D-25730B49C010}"/>
              </a:ext>
            </a:extLst>
          </p:cNvPr>
          <p:cNvSpPr>
            <a:spLocks noGrp="1"/>
          </p:cNvSpPr>
          <p:nvPr>
            <p:ph type="body" sz="quarter" idx="23" hasCustomPrompt="1"/>
          </p:nvPr>
        </p:nvSpPr>
        <p:spPr>
          <a:xfrm>
            <a:off x="3512341" y="459682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704CAD07-CBAD-AEE2-1AB9-A06C046B4B2D}"/>
              </a:ext>
            </a:extLst>
          </p:cNvPr>
          <p:cNvSpPr>
            <a:spLocks noGrp="1"/>
          </p:cNvSpPr>
          <p:nvPr>
            <p:ph type="body" sz="quarter" idx="24" hasCustomPrompt="1"/>
          </p:nvPr>
        </p:nvSpPr>
        <p:spPr>
          <a:xfrm>
            <a:off x="4854016" y="517655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4E3AC183-4430-7808-931E-0B83E62D0F4E}"/>
              </a:ext>
            </a:extLst>
          </p:cNvPr>
          <p:cNvSpPr>
            <a:spLocks noGrp="1"/>
          </p:cNvSpPr>
          <p:nvPr>
            <p:ph type="body" sz="quarter" idx="25" hasCustomPrompt="1"/>
          </p:nvPr>
        </p:nvSpPr>
        <p:spPr>
          <a:xfrm>
            <a:off x="6147478" y="459353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5" name="Text Placeholder 13">
            <a:extLst>
              <a:ext uri="{FF2B5EF4-FFF2-40B4-BE49-F238E27FC236}">
                <a16:creationId xmlns:a16="http://schemas.microsoft.com/office/drawing/2014/main" id="{12CCF4CA-D805-B2F1-01CF-6613FC5D585A}"/>
              </a:ext>
            </a:extLst>
          </p:cNvPr>
          <p:cNvSpPr>
            <a:spLocks noGrp="1"/>
          </p:cNvSpPr>
          <p:nvPr>
            <p:ph type="body" sz="quarter" idx="26" hasCustomPrompt="1"/>
          </p:nvPr>
        </p:nvSpPr>
        <p:spPr>
          <a:xfrm>
            <a:off x="7511151" y="516030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6" name="Text Placeholder 13">
            <a:extLst>
              <a:ext uri="{FF2B5EF4-FFF2-40B4-BE49-F238E27FC236}">
                <a16:creationId xmlns:a16="http://schemas.microsoft.com/office/drawing/2014/main" id="{E530B56E-51F2-371E-B5F0-0B666660C3D6}"/>
              </a:ext>
            </a:extLst>
          </p:cNvPr>
          <p:cNvSpPr>
            <a:spLocks noGrp="1"/>
          </p:cNvSpPr>
          <p:nvPr>
            <p:ph type="body" sz="quarter" idx="27" hasCustomPrompt="1"/>
          </p:nvPr>
        </p:nvSpPr>
        <p:spPr>
          <a:xfrm>
            <a:off x="8829337" y="4603398"/>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7" name="Text Placeholder 13">
            <a:extLst>
              <a:ext uri="{FF2B5EF4-FFF2-40B4-BE49-F238E27FC236}">
                <a16:creationId xmlns:a16="http://schemas.microsoft.com/office/drawing/2014/main" id="{E298A72D-91CD-7257-47C7-A13A202C6866}"/>
              </a:ext>
            </a:extLst>
          </p:cNvPr>
          <p:cNvSpPr>
            <a:spLocks noGrp="1"/>
          </p:cNvSpPr>
          <p:nvPr>
            <p:ph type="body" sz="quarter" idx="28" hasCustomPrompt="1"/>
          </p:nvPr>
        </p:nvSpPr>
        <p:spPr>
          <a:xfrm>
            <a:off x="10187777" y="513099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384214"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701345"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5038473" y="2854091"/>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6375602"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7712731"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9049862"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10395360" y="2786424"/>
            <a:ext cx="836830" cy="278566"/>
          </a:xfrm>
        </p:spPr>
        <p:txBody>
          <a:bodyPr/>
          <a:lstStyle>
            <a:lvl1pPr algn="ctr">
              <a:spcBef>
                <a:spcPts val="0"/>
              </a:spcBef>
              <a:defRPr sz="1600" b="1">
                <a:solidFill>
                  <a:schemeClr val="tx1"/>
                </a:solidFill>
                <a:latin typeface="+mn-lt"/>
              </a:defRPr>
            </a:lvl1pPr>
          </a:lstStyle>
          <a:p>
            <a:pPr lvl="0"/>
            <a:r>
              <a:rPr lang="en-US"/>
              <a:t>Month</a:t>
            </a:r>
          </a:p>
        </p:txBody>
      </p:sp>
      <p:grpSp>
        <p:nvGrpSpPr>
          <p:cNvPr id="4" name="Group 3">
            <a:extLst>
              <a:ext uri="{FF2B5EF4-FFF2-40B4-BE49-F238E27FC236}">
                <a16:creationId xmlns:a16="http://schemas.microsoft.com/office/drawing/2014/main" id="{0A45F78C-E0EC-5257-33E2-572EA89D19A8}"/>
              </a:ext>
            </a:extLst>
          </p:cNvPr>
          <p:cNvGrpSpPr/>
          <p:nvPr userDrawn="1"/>
        </p:nvGrpSpPr>
        <p:grpSpPr>
          <a:xfrm>
            <a:off x="10863102" y="309052"/>
            <a:ext cx="911847" cy="382707"/>
            <a:chOff x="7459170" y="481236"/>
            <a:chExt cx="2697427" cy="1132124"/>
          </a:xfrm>
        </p:grpSpPr>
        <p:sp>
          <p:nvSpPr>
            <p:cNvPr id="6" name="Freeform 9">
              <a:extLst>
                <a:ext uri="{FF2B5EF4-FFF2-40B4-BE49-F238E27FC236}">
                  <a16:creationId xmlns:a16="http://schemas.microsoft.com/office/drawing/2014/main" id="{FF7E9140-F820-D1E5-6822-EC3B3C82B45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11">
              <a:extLst>
                <a:ext uri="{FF2B5EF4-FFF2-40B4-BE49-F238E27FC236}">
                  <a16:creationId xmlns:a16="http://schemas.microsoft.com/office/drawing/2014/main" id="{51D1522A-3880-080A-EF51-005586D4304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9" name="Freeform 14">
              <a:extLst>
                <a:ext uri="{FF2B5EF4-FFF2-40B4-BE49-F238E27FC236}">
                  <a16:creationId xmlns:a16="http://schemas.microsoft.com/office/drawing/2014/main" id="{052FC3D8-BA21-B9E1-AF8B-DCC1C16FB79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18">
              <a:extLst>
                <a:ext uri="{FF2B5EF4-FFF2-40B4-BE49-F238E27FC236}">
                  <a16:creationId xmlns:a16="http://schemas.microsoft.com/office/drawing/2014/main" id="{39231176-BB7D-F78E-746B-1996786C07C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9">
              <a:extLst>
                <a:ext uri="{FF2B5EF4-FFF2-40B4-BE49-F238E27FC236}">
                  <a16:creationId xmlns:a16="http://schemas.microsoft.com/office/drawing/2014/main" id="{E99AFDF9-8AE0-852F-4346-1F117166A08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20">
              <a:extLst>
                <a:ext uri="{FF2B5EF4-FFF2-40B4-BE49-F238E27FC236}">
                  <a16:creationId xmlns:a16="http://schemas.microsoft.com/office/drawing/2014/main" id="{41029F4F-7254-9972-2098-8ED378ABBEC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23">
              <a:extLst>
                <a:ext uri="{FF2B5EF4-FFF2-40B4-BE49-F238E27FC236}">
                  <a16:creationId xmlns:a16="http://schemas.microsoft.com/office/drawing/2014/main" id="{D24F38DE-4B99-507B-9609-8CF605F706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77380420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meline layou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48339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75297" y="2705156"/>
            <a:ext cx="703290" cy="359834"/>
          </a:xfrm>
        </p:spPr>
        <p:txBody>
          <a:bodyPr/>
          <a:lstStyle>
            <a:lvl1pPr algn="ctr">
              <a:spcBef>
                <a:spcPts val="0"/>
              </a:spcBef>
              <a:defRPr sz="1600" b="1">
                <a:solidFill>
                  <a:schemeClr val="tx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004223" y="2726946"/>
            <a:ext cx="742555" cy="281841"/>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100411" y="2725269"/>
            <a:ext cx="714556" cy="283517"/>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4137005" y="2711533"/>
            <a:ext cx="746152" cy="278565"/>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5223190" y="2693233"/>
            <a:ext cx="728157" cy="296865"/>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6290907" y="2701306"/>
            <a:ext cx="728631" cy="288792"/>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7340174" y="2701306"/>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8450118" y="2695765"/>
            <a:ext cx="675264" cy="279767"/>
          </a:xfrm>
        </p:spPr>
        <p:txBody>
          <a:bodyPr/>
          <a:lstStyle>
            <a:lvl1pPr algn="ctr">
              <a:spcBef>
                <a:spcPts val="0"/>
              </a:spcBef>
              <a:defRPr sz="1600" b="1">
                <a:solidFill>
                  <a:schemeClr val="tx1"/>
                </a:solidFill>
                <a:latin typeface="+mn-lt"/>
              </a:defRPr>
            </a:lvl1pPr>
          </a:lstStyle>
          <a:p>
            <a:pPr lvl="0"/>
            <a:r>
              <a:rPr lang="en-US"/>
              <a:t>Month</a:t>
            </a:r>
          </a:p>
        </p:txBody>
      </p:sp>
      <p:cxnSp>
        <p:nvCxnSpPr>
          <p:cNvPr id="4" name="Straight Connector 3">
            <a:extLst>
              <a:ext uri="{FF2B5EF4-FFF2-40B4-BE49-F238E27FC236}">
                <a16:creationId xmlns:a16="http://schemas.microsoft.com/office/drawing/2014/main" id="{AE9F1964-41CA-4420-214C-455238CA8BE5}"/>
              </a:ext>
            </a:extLst>
          </p:cNvPr>
          <p:cNvCxnSpPr>
            <a:cxnSpLocks/>
          </p:cNvCxnSpPr>
          <p:nvPr userDrawn="1"/>
        </p:nvCxnSpPr>
        <p:spPr>
          <a:xfrm flipH="1">
            <a:off x="1292650"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69D8EB6-24AB-0C47-A36C-AD4BA9D5B0ED}"/>
              </a:ext>
            </a:extLst>
          </p:cNvPr>
          <p:cNvCxnSpPr>
            <a:cxnSpLocks/>
          </p:cNvCxnSpPr>
          <p:nvPr userDrawn="1"/>
        </p:nvCxnSpPr>
        <p:spPr>
          <a:xfrm flipH="1">
            <a:off x="2345887"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64A5A6-74A9-7300-6FED-5EA0A9B1E5E9}"/>
              </a:ext>
            </a:extLst>
          </p:cNvPr>
          <p:cNvCxnSpPr>
            <a:cxnSpLocks/>
          </p:cNvCxnSpPr>
          <p:nvPr userDrawn="1"/>
        </p:nvCxnSpPr>
        <p:spPr>
          <a:xfrm flipH="1">
            <a:off x="339414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239E9-715A-C94A-6809-01997C546D4A}"/>
              </a:ext>
            </a:extLst>
          </p:cNvPr>
          <p:cNvCxnSpPr>
            <a:cxnSpLocks/>
            <a:stCxn id="29" idx="11"/>
          </p:cNvCxnSpPr>
          <p:nvPr userDrawn="1"/>
        </p:nvCxnSpPr>
        <p:spPr>
          <a:xfrm flipH="1">
            <a:off x="4523168" y="3357210"/>
            <a:ext cx="1" cy="1563212"/>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E38CA4C-1513-E9B6-6CAD-5CFC9BCD83EF}"/>
              </a:ext>
            </a:extLst>
          </p:cNvPr>
          <p:cNvCxnSpPr>
            <a:cxnSpLocks/>
          </p:cNvCxnSpPr>
          <p:nvPr userDrawn="1"/>
        </p:nvCxnSpPr>
        <p:spPr>
          <a:xfrm flipH="1">
            <a:off x="558461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0CF8D4F-3FF0-0019-9E92-6E3598998180}"/>
              </a:ext>
            </a:extLst>
          </p:cNvPr>
          <p:cNvCxnSpPr>
            <a:cxnSpLocks/>
          </p:cNvCxnSpPr>
          <p:nvPr userDrawn="1"/>
        </p:nvCxnSpPr>
        <p:spPr>
          <a:xfrm flipH="1">
            <a:off x="7714076"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DEBFE7-A572-AEBD-84E7-B15D655F97CE}"/>
              </a:ext>
            </a:extLst>
          </p:cNvPr>
          <p:cNvCxnSpPr>
            <a:cxnSpLocks/>
          </p:cNvCxnSpPr>
          <p:nvPr userDrawn="1"/>
        </p:nvCxnSpPr>
        <p:spPr>
          <a:xfrm flipH="1">
            <a:off x="9868225"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95EB653-7589-E527-E6AE-E3EEA77A8770}"/>
              </a:ext>
            </a:extLst>
          </p:cNvPr>
          <p:cNvCxnSpPr>
            <a:cxnSpLocks/>
          </p:cNvCxnSpPr>
          <p:nvPr userDrawn="1"/>
        </p:nvCxnSpPr>
        <p:spPr>
          <a:xfrm flipH="1">
            <a:off x="6629400" y="3268201"/>
            <a:ext cx="11028"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3C217F-1D24-C88D-4254-02A0DE9740D5}"/>
              </a:ext>
            </a:extLst>
          </p:cNvPr>
          <p:cNvCxnSpPr>
            <a:cxnSpLocks/>
          </p:cNvCxnSpPr>
          <p:nvPr userDrawn="1"/>
        </p:nvCxnSpPr>
        <p:spPr>
          <a:xfrm flipH="1">
            <a:off x="8755498"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DCD36F2-0F6A-E9B4-26AB-5C85B995DC83}"/>
              </a:ext>
            </a:extLst>
          </p:cNvPr>
          <p:cNvCxnSpPr>
            <a:cxnSpLocks/>
            <a:stCxn id="23" idx="4"/>
          </p:cNvCxnSpPr>
          <p:nvPr userDrawn="1"/>
        </p:nvCxnSpPr>
        <p:spPr>
          <a:xfrm flipH="1">
            <a:off x="10932308" y="3224592"/>
            <a:ext cx="1" cy="169873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sp>
        <p:nvSpPr>
          <p:cNvPr id="19" name="Freeform 18">
            <a:extLst>
              <a:ext uri="{FF2B5EF4-FFF2-40B4-BE49-F238E27FC236}">
                <a16:creationId xmlns:a16="http://schemas.microsoft.com/office/drawing/2014/main" id="{7CC51C76-3BE9-1754-213A-DDD53D63D6DE}"/>
              </a:ext>
            </a:extLst>
          </p:cNvPr>
          <p:cNvSpPr/>
          <p:nvPr userDrawn="1"/>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7E2B89C7-89E9-6D6B-91BE-B9174231C36C}"/>
              </a:ext>
            </a:extLst>
          </p:cNvPr>
          <p:cNvSpPr/>
          <p:nvPr userDrawn="1"/>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9F22FF9-9BBF-8671-D719-9D527CBDC7E5}"/>
              </a:ext>
            </a:extLst>
          </p:cNvPr>
          <p:cNvSpPr/>
          <p:nvPr userDrawn="1"/>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CF6109F0-5F1B-A48D-C628-626900BDF208}"/>
              </a:ext>
            </a:extLst>
          </p:cNvPr>
          <p:cNvSpPr/>
          <p:nvPr userDrawn="1"/>
        </p:nvSpPr>
        <p:spPr>
          <a:xfrm rot="5400000">
            <a:off x="933002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41990C06-3661-0A11-256F-248AB3E94A07}"/>
              </a:ext>
            </a:extLst>
          </p:cNvPr>
          <p:cNvSpPr/>
          <p:nvPr userDrawn="1"/>
        </p:nvSpPr>
        <p:spPr>
          <a:xfrm rot="5400000">
            <a:off x="1039821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6B79BA07-E715-5C83-C9A2-72A4F9E01992}"/>
              </a:ext>
            </a:extLst>
          </p:cNvPr>
          <p:cNvSpPr/>
          <p:nvPr userDrawn="1"/>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A7EC230C-E19B-A95B-9723-9801CF1E6D08}"/>
              </a:ext>
            </a:extLst>
          </p:cNvPr>
          <p:cNvSpPr/>
          <p:nvPr userDrawn="1"/>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BD935932-9E6C-B194-28FE-9423B0356A12}"/>
              </a:ext>
            </a:extLst>
          </p:cNvPr>
          <p:cNvSpPr/>
          <p:nvPr userDrawn="1"/>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E2943239-69B8-38E0-98F6-991E955934C3}"/>
              </a:ext>
            </a:extLst>
          </p:cNvPr>
          <p:cNvSpPr/>
          <p:nvPr userDrawn="1"/>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A5FCCFE9-7B8E-F288-97D6-49010D2A0F59}"/>
              </a:ext>
            </a:extLst>
          </p:cNvPr>
          <p:cNvSpPr/>
          <p:nvPr userDrawn="1"/>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31" name="Text Placeholder 7">
            <a:extLst>
              <a:ext uri="{FF2B5EF4-FFF2-40B4-BE49-F238E27FC236}">
                <a16:creationId xmlns:a16="http://schemas.microsoft.com/office/drawing/2014/main" id="{0590D450-87F7-FB95-0B7E-1C236D3FF27E}"/>
              </a:ext>
            </a:extLst>
          </p:cNvPr>
          <p:cNvSpPr>
            <a:spLocks noGrp="1"/>
          </p:cNvSpPr>
          <p:nvPr>
            <p:ph type="body" sz="quarter" idx="36" hasCustomPrompt="1"/>
          </p:nvPr>
        </p:nvSpPr>
        <p:spPr>
          <a:xfrm>
            <a:off x="9494448" y="2694503"/>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32" name="Text Placeholder 7">
            <a:extLst>
              <a:ext uri="{FF2B5EF4-FFF2-40B4-BE49-F238E27FC236}">
                <a16:creationId xmlns:a16="http://schemas.microsoft.com/office/drawing/2014/main" id="{9E02B287-4C11-031E-117E-F1E008B2589A}"/>
              </a:ext>
            </a:extLst>
          </p:cNvPr>
          <p:cNvSpPr>
            <a:spLocks noGrp="1"/>
          </p:cNvSpPr>
          <p:nvPr>
            <p:ph type="body" sz="quarter" idx="37" hasCustomPrompt="1"/>
          </p:nvPr>
        </p:nvSpPr>
        <p:spPr>
          <a:xfrm>
            <a:off x="10604392" y="2688962"/>
            <a:ext cx="675264" cy="279767"/>
          </a:xfrm>
        </p:spPr>
        <p:txBody>
          <a:bodyPr/>
          <a:lstStyle>
            <a:lvl1pPr algn="ctr">
              <a:spcBef>
                <a:spcPts val="0"/>
              </a:spcBef>
              <a:defRPr sz="1600" b="1">
                <a:solidFill>
                  <a:schemeClr val="tx1"/>
                </a:solidFill>
                <a:latin typeface="+mn-lt"/>
              </a:defRPr>
            </a:lvl1pPr>
          </a:lstStyle>
          <a:p>
            <a:pPr lvl="0"/>
            <a:r>
              <a:rPr lang="en-US"/>
              <a:t>Month</a:t>
            </a:r>
          </a:p>
        </p:txBody>
      </p:sp>
      <p:sp>
        <p:nvSpPr>
          <p:cNvPr id="33" name="Text Placeholder 13">
            <a:extLst>
              <a:ext uri="{FF2B5EF4-FFF2-40B4-BE49-F238E27FC236}">
                <a16:creationId xmlns:a16="http://schemas.microsoft.com/office/drawing/2014/main" id="{D058A047-4923-04D7-55E5-6ED5AEFEA4CB}"/>
              </a:ext>
            </a:extLst>
          </p:cNvPr>
          <p:cNvSpPr>
            <a:spLocks noGrp="1"/>
          </p:cNvSpPr>
          <p:nvPr>
            <p:ph type="body" sz="quarter" idx="38" hasCustomPrompt="1"/>
          </p:nvPr>
        </p:nvSpPr>
        <p:spPr>
          <a:xfrm>
            <a:off x="1865106" y="500369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46DD8558-EF00-1D5F-8837-8CAC1CBC2050}"/>
              </a:ext>
            </a:extLst>
          </p:cNvPr>
          <p:cNvSpPr>
            <a:spLocks noGrp="1"/>
          </p:cNvSpPr>
          <p:nvPr>
            <p:ph type="body" sz="quarter" idx="39" hasCustomPrompt="1"/>
          </p:nvPr>
        </p:nvSpPr>
        <p:spPr>
          <a:xfrm>
            <a:off x="2937384" y="443810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A702FD9C-A16E-9E70-15B7-BE6EF927643F}"/>
              </a:ext>
            </a:extLst>
          </p:cNvPr>
          <p:cNvSpPr>
            <a:spLocks noGrp="1"/>
          </p:cNvSpPr>
          <p:nvPr>
            <p:ph type="body" sz="quarter" idx="40" hasCustomPrompt="1"/>
          </p:nvPr>
        </p:nvSpPr>
        <p:spPr>
          <a:xfrm>
            <a:off x="4072588" y="5023166"/>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AD38D1E5-5CA9-7733-7F60-A19D7D2027C5}"/>
              </a:ext>
            </a:extLst>
          </p:cNvPr>
          <p:cNvSpPr>
            <a:spLocks noGrp="1"/>
          </p:cNvSpPr>
          <p:nvPr>
            <p:ph type="body" sz="quarter" idx="41" hasCustomPrompt="1"/>
          </p:nvPr>
        </p:nvSpPr>
        <p:spPr>
          <a:xfrm>
            <a:off x="5144866" y="44575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8" name="Text Placeholder 13">
            <a:extLst>
              <a:ext uri="{FF2B5EF4-FFF2-40B4-BE49-F238E27FC236}">
                <a16:creationId xmlns:a16="http://schemas.microsoft.com/office/drawing/2014/main" id="{90B2115A-6911-5957-2E3C-13D5AAEB4B94}"/>
              </a:ext>
            </a:extLst>
          </p:cNvPr>
          <p:cNvSpPr>
            <a:spLocks noGrp="1"/>
          </p:cNvSpPr>
          <p:nvPr>
            <p:ph type="body" sz="quarter" idx="42" hasCustomPrompt="1"/>
          </p:nvPr>
        </p:nvSpPr>
        <p:spPr>
          <a:xfrm>
            <a:off x="6201239" y="50061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9" name="Text Placeholder 13">
            <a:extLst>
              <a:ext uri="{FF2B5EF4-FFF2-40B4-BE49-F238E27FC236}">
                <a16:creationId xmlns:a16="http://schemas.microsoft.com/office/drawing/2014/main" id="{B2272BC2-1508-B933-5537-462D28CAD725}"/>
              </a:ext>
            </a:extLst>
          </p:cNvPr>
          <p:cNvSpPr>
            <a:spLocks noGrp="1"/>
          </p:cNvSpPr>
          <p:nvPr>
            <p:ph type="body" sz="quarter" idx="43" hasCustomPrompt="1"/>
          </p:nvPr>
        </p:nvSpPr>
        <p:spPr>
          <a:xfrm>
            <a:off x="7256835" y="447294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3" name="Text Placeholder 13">
            <a:extLst>
              <a:ext uri="{FF2B5EF4-FFF2-40B4-BE49-F238E27FC236}">
                <a16:creationId xmlns:a16="http://schemas.microsoft.com/office/drawing/2014/main" id="{5AF01362-0715-F46A-0152-3092837441F1}"/>
              </a:ext>
            </a:extLst>
          </p:cNvPr>
          <p:cNvSpPr>
            <a:spLocks noGrp="1"/>
          </p:cNvSpPr>
          <p:nvPr>
            <p:ph type="body" sz="quarter" idx="44" hasCustomPrompt="1"/>
          </p:nvPr>
        </p:nvSpPr>
        <p:spPr>
          <a:xfrm>
            <a:off x="8329890" y="502111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5" name="Text Placeholder 13">
            <a:extLst>
              <a:ext uri="{FF2B5EF4-FFF2-40B4-BE49-F238E27FC236}">
                <a16:creationId xmlns:a16="http://schemas.microsoft.com/office/drawing/2014/main" id="{83AB836A-6D6B-BABC-A01F-F8884EA0ACEB}"/>
              </a:ext>
            </a:extLst>
          </p:cNvPr>
          <p:cNvSpPr>
            <a:spLocks noGrp="1"/>
          </p:cNvSpPr>
          <p:nvPr>
            <p:ph type="body" sz="quarter" idx="45" hasCustomPrompt="1"/>
          </p:nvPr>
        </p:nvSpPr>
        <p:spPr>
          <a:xfrm>
            <a:off x="9385486" y="448788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6" name="Text Placeholder 13">
            <a:extLst>
              <a:ext uri="{FF2B5EF4-FFF2-40B4-BE49-F238E27FC236}">
                <a16:creationId xmlns:a16="http://schemas.microsoft.com/office/drawing/2014/main" id="{E1B01A04-FAFA-AFFD-B3F0-B9E6735A5C46}"/>
              </a:ext>
            </a:extLst>
          </p:cNvPr>
          <p:cNvSpPr>
            <a:spLocks noGrp="1"/>
          </p:cNvSpPr>
          <p:nvPr>
            <p:ph type="body" sz="quarter" idx="46" hasCustomPrompt="1"/>
          </p:nvPr>
        </p:nvSpPr>
        <p:spPr>
          <a:xfrm>
            <a:off x="10505857" y="501914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grpSp>
        <p:nvGrpSpPr>
          <p:cNvPr id="5" name="Group 4">
            <a:extLst>
              <a:ext uri="{FF2B5EF4-FFF2-40B4-BE49-F238E27FC236}">
                <a16:creationId xmlns:a16="http://schemas.microsoft.com/office/drawing/2014/main" id="{4D03EE2A-18C9-631D-FA3A-3884BB6AEAC8}"/>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F3BDDA2-C961-DDFB-541C-1CBAA8B957D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B972998B-0F48-711F-6AA1-FE7F38D83A4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6" name="Freeform 14">
              <a:extLst>
                <a:ext uri="{FF2B5EF4-FFF2-40B4-BE49-F238E27FC236}">
                  <a16:creationId xmlns:a16="http://schemas.microsoft.com/office/drawing/2014/main" id="{B2CD8A56-6A12-2BDF-60C5-86E982A21F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4" name="Freeform 18">
              <a:extLst>
                <a:ext uri="{FF2B5EF4-FFF2-40B4-BE49-F238E27FC236}">
                  <a16:creationId xmlns:a16="http://schemas.microsoft.com/office/drawing/2014/main" id="{7B110A86-F54F-A69C-867F-9DE3D51ECA9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40" name="Freeform 19">
              <a:extLst>
                <a:ext uri="{FF2B5EF4-FFF2-40B4-BE49-F238E27FC236}">
                  <a16:creationId xmlns:a16="http://schemas.microsoft.com/office/drawing/2014/main" id="{CABDD6FC-812D-5F0A-679E-BE61AD54522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41" name="Freeform 20">
              <a:extLst>
                <a:ext uri="{FF2B5EF4-FFF2-40B4-BE49-F238E27FC236}">
                  <a16:creationId xmlns:a16="http://schemas.microsoft.com/office/drawing/2014/main" id="{E5FACE0A-C1F7-0FE4-7379-B8A1F87EC6F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2" name="Freeform 23">
              <a:extLst>
                <a:ext uri="{FF2B5EF4-FFF2-40B4-BE49-F238E27FC236}">
                  <a16:creationId xmlns:a16="http://schemas.microsoft.com/office/drawing/2014/main" id="{7E2A1364-4FA2-CE32-6CE0-4FD6271AEC0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1976781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meline journe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Journey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08" name="Right Arrow 107">
            <a:extLst>
              <a:ext uri="{FF2B5EF4-FFF2-40B4-BE49-F238E27FC236}">
                <a16:creationId xmlns:a16="http://schemas.microsoft.com/office/drawing/2014/main" id="{BF6BC53D-4BB0-A096-2ED6-FC5C98AF3326}"/>
              </a:ext>
            </a:extLst>
          </p:cNvPr>
          <p:cNvSpPr/>
          <p:nvPr userDrawn="1"/>
        </p:nvSpPr>
        <p:spPr>
          <a:xfrm>
            <a:off x="-38299" y="3465750"/>
            <a:ext cx="11436338" cy="208309"/>
          </a:xfrm>
          <a:prstGeom prst="rightArrow">
            <a:avLst>
              <a:gd name="adj1" fmla="val 100000"/>
              <a:gd name="adj2" fmla="val 52411"/>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nvGrpSpPr>
          <p:cNvPr id="4" name="Group 3">
            <a:extLst>
              <a:ext uri="{FF2B5EF4-FFF2-40B4-BE49-F238E27FC236}">
                <a16:creationId xmlns:a16="http://schemas.microsoft.com/office/drawing/2014/main" id="{224C94B9-D6D1-5E19-36FB-31C4880E39C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D42D9404-CE00-17A8-520F-56859AC9A40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F1B65EB-6F12-F70C-D2C1-8F78C8D98D1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B5945D3-A3EE-8EE2-FC68-F88F776F0E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8129CACA-077F-CC19-40B6-19EE94B72E6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7AF3A481-678A-C1CE-57F7-0AC64D5F293F}"/>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4EA1D11D-2258-41B5-A282-FDB33F6CAC6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6B39AFC5-1D94-A152-A29D-5967E885051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6780350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7738357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userDrawn="1"/>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48" name="Group 47">
            <a:extLst>
              <a:ext uri="{FF2B5EF4-FFF2-40B4-BE49-F238E27FC236}">
                <a16:creationId xmlns:a16="http://schemas.microsoft.com/office/drawing/2014/main" id="{5F749ED8-1005-1A68-85FF-0BB1D7AF27CD}"/>
              </a:ext>
            </a:extLst>
          </p:cNvPr>
          <p:cNvGrpSpPr/>
          <p:nvPr userDrawn="1"/>
        </p:nvGrpSpPr>
        <p:grpSpPr>
          <a:xfrm>
            <a:off x="1098600" y="2425597"/>
            <a:ext cx="1639650" cy="2193648"/>
            <a:chOff x="1098600" y="2425597"/>
            <a:chExt cx="1639650" cy="2193648"/>
          </a:xfrm>
        </p:grpSpPr>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0" name="Rectangle 49">
              <a:extLst>
                <a:ext uri="{FF2B5EF4-FFF2-40B4-BE49-F238E27FC236}">
                  <a16:creationId xmlns:a16="http://schemas.microsoft.com/office/drawing/2014/main" id="{E07ECE87-31D9-CBFE-793A-E0EDDDF7BF33}"/>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51" name="Group 50">
            <a:extLst>
              <a:ext uri="{FF2B5EF4-FFF2-40B4-BE49-F238E27FC236}">
                <a16:creationId xmlns:a16="http://schemas.microsoft.com/office/drawing/2014/main" id="{788406FD-B7A2-FF35-2EDC-9117E6714FF3}"/>
              </a:ext>
            </a:extLst>
          </p:cNvPr>
          <p:cNvGrpSpPr/>
          <p:nvPr userDrawn="1"/>
        </p:nvGrpSpPr>
        <p:grpSpPr>
          <a:xfrm>
            <a:off x="3192238" y="2979595"/>
            <a:ext cx="1639650" cy="2193648"/>
            <a:chOff x="3192238" y="2979595"/>
            <a:chExt cx="1639650" cy="2193648"/>
          </a:xfrm>
        </p:grpSpPr>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3" name="Rectangle 52">
              <a:extLst>
                <a:ext uri="{FF2B5EF4-FFF2-40B4-BE49-F238E27FC236}">
                  <a16:creationId xmlns:a16="http://schemas.microsoft.com/office/drawing/2014/main" id="{EF87CE87-D630-0372-4DAD-B00263E7EDB9}"/>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54" name="Group 53">
            <a:extLst>
              <a:ext uri="{FF2B5EF4-FFF2-40B4-BE49-F238E27FC236}">
                <a16:creationId xmlns:a16="http://schemas.microsoft.com/office/drawing/2014/main" id="{C2A4C9AE-39B2-B996-E95C-B203D767E881}"/>
              </a:ext>
            </a:extLst>
          </p:cNvPr>
          <p:cNvGrpSpPr/>
          <p:nvPr userDrawn="1"/>
        </p:nvGrpSpPr>
        <p:grpSpPr>
          <a:xfrm>
            <a:off x="5281263" y="2425597"/>
            <a:ext cx="1639650" cy="2193648"/>
            <a:chOff x="5281263" y="2425597"/>
            <a:chExt cx="1639650" cy="2193648"/>
          </a:xfrm>
        </p:grpSpPr>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6" name="Rectangle 55">
              <a:extLst>
                <a:ext uri="{FF2B5EF4-FFF2-40B4-BE49-F238E27FC236}">
                  <a16:creationId xmlns:a16="http://schemas.microsoft.com/office/drawing/2014/main" id="{80202B90-3BEC-EA4C-C824-2F41115E913E}"/>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57" name="Group 56">
            <a:extLst>
              <a:ext uri="{FF2B5EF4-FFF2-40B4-BE49-F238E27FC236}">
                <a16:creationId xmlns:a16="http://schemas.microsoft.com/office/drawing/2014/main" id="{37D47042-1C56-7671-2C9A-D1436407C7CA}"/>
              </a:ext>
            </a:extLst>
          </p:cNvPr>
          <p:cNvGrpSpPr/>
          <p:nvPr userDrawn="1"/>
        </p:nvGrpSpPr>
        <p:grpSpPr>
          <a:xfrm>
            <a:off x="7363945" y="2979595"/>
            <a:ext cx="1639650" cy="2180164"/>
            <a:chOff x="7363945" y="2979595"/>
            <a:chExt cx="1639650" cy="2180164"/>
          </a:xfrm>
        </p:grpSpPr>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9" name="Rectangle 58">
              <a:extLst>
                <a:ext uri="{FF2B5EF4-FFF2-40B4-BE49-F238E27FC236}">
                  <a16:creationId xmlns:a16="http://schemas.microsoft.com/office/drawing/2014/main" id="{25BBDAA1-4F56-41BD-AD67-5AFD964577D8}"/>
                </a:ext>
              </a:extLst>
            </p:cNvPr>
            <p:cNvSpPr/>
            <p:nvPr/>
          </p:nvSpPr>
          <p:spPr>
            <a:xfrm>
              <a:off x="7926988" y="4605761"/>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60" name="Group 59">
            <a:extLst>
              <a:ext uri="{FF2B5EF4-FFF2-40B4-BE49-F238E27FC236}">
                <a16:creationId xmlns:a16="http://schemas.microsoft.com/office/drawing/2014/main" id="{791C01F6-01E0-EF5A-D98A-823A20014928}"/>
              </a:ext>
            </a:extLst>
          </p:cNvPr>
          <p:cNvGrpSpPr/>
          <p:nvPr userDrawn="1"/>
        </p:nvGrpSpPr>
        <p:grpSpPr>
          <a:xfrm>
            <a:off x="9441696" y="2425597"/>
            <a:ext cx="1639650" cy="2193648"/>
            <a:chOff x="9441696" y="2425597"/>
            <a:chExt cx="1639650" cy="2193648"/>
          </a:xfrm>
        </p:grpSpPr>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62" name="Rectangle 61">
              <a:extLst>
                <a:ext uri="{FF2B5EF4-FFF2-40B4-BE49-F238E27FC236}">
                  <a16:creationId xmlns:a16="http://schemas.microsoft.com/office/drawing/2014/main" id="{C4F5709A-889C-7AB8-738A-A94D4F500368}"/>
                </a:ext>
              </a:extLst>
            </p:cNvPr>
            <p:cNvSpPr/>
            <p:nvPr/>
          </p:nvSpPr>
          <p:spPr>
            <a:xfrm>
              <a:off x="9984522"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ive steps</a:t>
            </a:r>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9570014" y="3031910"/>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3" name="Text Placeholder 13">
            <a:extLst>
              <a:ext uri="{FF2B5EF4-FFF2-40B4-BE49-F238E27FC236}">
                <a16:creationId xmlns:a16="http://schemas.microsoft.com/office/drawing/2014/main" id="{3F12520C-20EB-9611-823C-6FE27C8CC0AA}"/>
              </a:ext>
            </a:extLst>
          </p:cNvPr>
          <p:cNvSpPr>
            <a:spLocks noGrp="1"/>
          </p:cNvSpPr>
          <p:nvPr>
            <p:ph type="body" sz="quarter" idx="19" hasCustomPrompt="1"/>
          </p:nvPr>
        </p:nvSpPr>
        <p:spPr>
          <a:xfrm>
            <a:off x="7502594" y="304930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4" name="Text Placeholder 13">
            <a:extLst>
              <a:ext uri="{FF2B5EF4-FFF2-40B4-BE49-F238E27FC236}">
                <a16:creationId xmlns:a16="http://schemas.microsoft.com/office/drawing/2014/main" id="{7D052B7F-2721-13C1-C404-032445D1B13B}"/>
              </a:ext>
            </a:extLst>
          </p:cNvPr>
          <p:cNvSpPr>
            <a:spLocks noGrp="1"/>
          </p:cNvSpPr>
          <p:nvPr>
            <p:ph type="body" sz="quarter" idx="20" hasCustomPrompt="1"/>
          </p:nvPr>
        </p:nvSpPr>
        <p:spPr>
          <a:xfrm>
            <a:off x="5385019"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5" name="Text Placeholder 13">
            <a:extLst>
              <a:ext uri="{FF2B5EF4-FFF2-40B4-BE49-F238E27FC236}">
                <a16:creationId xmlns:a16="http://schemas.microsoft.com/office/drawing/2014/main" id="{F65EDA93-4503-51CA-F678-63C71EC9623E}"/>
              </a:ext>
            </a:extLst>
          </p:cNvPr>
          <p:cNvSpPr>
            <a:spLocks noGrp="1"/>
          </p:cNvSpPr>
          <p:nvPr>
            <p:ph type="body" sz="quarter" idx="21" hasCustomPrompt="1"/>
          </p:nvPr>
        </p:nvSpPr>
        <p:spPr>
          <a:xfrm>
            <a:off x="3310670"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6" name="Text Placeholder 13">
            <a:extLst>
              <a:ext uri="{FF2B5EF4-FFF2-40B4-BE49-F238E27FC236}">
                <a16:creationId xmlns:a16="http://schemas.microsoft.com/office/drawing/2014/main" id="{60ED96AB-A9DF-CCB0-6A3C-8C2335B359B6}"/>
              </a:ext>
            </a:extLst>
          </p:cNvPr>
          <p:cNvSpPr>
            <a:spLocks noGrp="1"/>
          </p:cNvSpPr>
          <p:nvPr>
            <p:ph type="body" sz="quarter" idx="22" hasCustomPrompt="1"/>
          </p:nvPr>
        </p:nvSpPr>
        <p:spPr>
          <a:xfrm>
            <a:off x="1218581" y="306486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4" name="Group 3">
            <a:extLst>
              <a:ext uri="{FF2B5EF4-FFF2-40B4-BE49-F238E27FC236}">
                <a16:creationId xmlns:a16="http://schemas.microsoft.com/office/drawing/2014/main" id="{3E43F683-1C6F-A88B-EFFC-61BC47677550}"/>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3176286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6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ix steps</a:t>
            </a:r>
          </a:p>
        </p:txBody>
      </p:sp>
      <p:grpSp>
        <p:nvGrpSpPr>
          <p:cNvPr id="4" name="Group 3">
            <a:extLst>
              <a:ext uri="{FF2B5EF4-FFF2-40B4-BE49-F238E27FC236}">
                <a16:creationId xmlns:a16="http://schemas.microsoft.com/office/drawing/2014/main" id="{E2410661-25E7-BC05-F79F-7A1B3B5C2723}"/>
              </a:ext>
            </a:extLst>
          </p:cNvPr>
          <p:cNvGrpSpPr/>
          <p:nvPr userDrawn="1"/>
        </p:nvGrpSpPr>
        <p:grpSpPr>
          <a:xfrm>
            <a:off x="2030682" y="2280627"/>
            <a:ext cx="6609908" cy="1843161"/>
            <a:chOff x="2013336" y="1825825"/>
            <a:chExt cx="6609908" cy="2357252"/>
          </a:xfrm>
        </p:grpSpPr>
        <p:cxnSp>
          <p:nvCxnSpPr>
            <p:cNvPr id="5" name="Straight Connector 4">
              <a:extLst>
                <a:ext uri="{FF2B5EF4-FFF2-40B4-BE49-F238E27FC236}">
                  <a16:creationId xmlns:a16="http://schemas.microsoft.com/office/drawing/2014/main" id="{9FDDAACE-DDD2-7AD0-6D39-7983859DEA4B}"/>
                </a:ext>
              </a:extLst>
            </p:cNvPr>
            <p:cNvCxnSpPr>
              <a:cxnSpLocks/>
            </p:cNvCxnSpPr>
            <p:nvPr/>
          </p:nvCxnSpPr>
          <p:spPr>
            <a:xfrm flipV="1">
              <a:off x="531903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95451CD-AC90-039A-560D-00D23DF21C19}"/>
                </a:ext>
              </a:extLst>
            </p:cNvPr>
            <p:cNvCxnSpPr>
              <a:cxnSpLocks/>
            </p:cNvCxnSpPr>
            <p:nvPr/>
          </p:nvCxnSpPr>
          <p:spPr>
            <a:xfrm flipV="1">
              <a:off x="862324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F6B862-3D97-E7E4-E8D7-D07A5CB23555}"/>
                </a:ext>
              </a:extLst>
            </p:cNvPr>
            <p:cNvCxnSpPr>
              <a:cxnSpLocks/>
            </p:cNvCxnSpPr>
            <p:nvPr/>
          </p:nvCxnSpPr>
          <p:spPr>
            <a:xfrm flipV="1">
              <a:off x="2013336" y="1825825"/>
              <a:ext cx="0" cy="2357252"/>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32E741A1-36F0-35A5-D6AF-BF9437705307}"/>
              </a:ext>
            </a:extLst>
          </p:cNvPr>
          <p:cNvGrpSpPr/>
          <p:nvPr userDrawn="1"/>
        </p:nvGrpSpPr>
        <p:grpSpPr>
          <a:xfrm>
            <a:off x="3636041" y="3400388"/>
            <a:ext cx="6599890" cy="1563386"/>
            <a:chOff x="1973738" y="1825824"/>
            <a:chExt cx="6599890" cy="1824577"/>
          </a:xfrm>
        </p:grpSpPr>
        <p:cxnSp>
          <p:nvCxnSpPr>
            <p:cNvPr id="9" name="Straight Connector 8">
              <a:extLst>
                <a:ext uri="{FF2B5EF4-FFF2-40B4-BE49-F238E27FC236}">
                  <a16:creationId xmlns:a16="http://schemas.microsoft.com/office/drawing/2014/main" id="{1EF9C788-2C3D-7C08-CAB3-D39E6666EC9A}"/>
                </a:ext>
              </a:extLst>
            </p:cNvPr>
            <p:cNvCxnSpPr>
              <a:cxnSpLocks/>
            </p:cNvCxnSpPr>
            <p:nvPr/>
          </p:nvCxnSpPr>
          <p:spPr>
            <a:xfrm flipV="1">
              <a:off x="5303439" y="1825824"/>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BE302A-AA31-3A92-30E2-00CF2A0E89AE}"/>
                </a:ext>
              </a:extLst>
            </p:cNvPr>
            <p:cNvCxnSpPr>
              <a:cxnSpLocks/>
            </p:cNvCxnSpPr>
            <p:nvPr/>
          </p:nvCxnSpPr>
          <p:spPr>
            <a:xfrm flipV="1">
              <a:off x="857362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08CBAF4-4C32-3A25-D613-89773A2F0258}"/>
                </a:ext>
              </a:extLst>
            </p:cNvPr>
            <p:cNvCxnSpPr>
              <a:cxnSpLocks/>
            </p:cNvCxnSpPr>
            <p:nvPr/>
          </p:nvCxnSpPr>
          <p:spPr>
            <a:xfrm flipV="1">
              <a:off x="197373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74D63780-8115-8D3D-24EE-7E948E36E9E1}"/>
              </a:ext>
            </a:extLst>
          </p:cNvPr>
          <p:cNvSpPr/>
          <p:nvPr userDrawn="1"/>
        </p:nvSpPr>
        <p:spPr>
          <a:xfrm>
            <a:off x="6432119"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sp>
        <p:nvSpPr>
          <p:cNvPr id="13" name="Rectangle 12">
            <a:extLst>
              <a:ext uri="{FF2B5EF4-FFF2-40B4-BE49-F238E27FC236}">
                <a16:creationId xmlns:a16="http://schemas.microsoft.com/office/drawing/2014/main" id="{89612DB7-5E79-E814-553D-DF6797AA6016}"/>
              </a:ext>
            </a:extLst>
          </p:cNvPr>
          <p:cNvSpPr/>
          <p:nvPr userDrawn="1"/>
        </p:nvSpPr>
        <p:spPr>
          <a:xfrm>
            <a:off x="482218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sp>
        <p:nvSpPr>
          <p:cNvPr id="14" name="Rectangle 13">
            <a:extLst>
              <a:ext uri="{FF2B5EF4-FFF2-40B4-BE49-F238E27FC236}">
                <a16:creationId xmlns:a16="http://schemas.microsoft.com/office/drawing/2014/main" id="{84875804-D392-3F28-6F27-423910218D1E}"/>
              </a:ext>
            </a:extLst>
          </p:cNvPr>
          <p:cNvSpPr/>
          <p:nvPr userDrawn="1"/>
        </p:nvSpPr>
        <p:spPr>
          <a:xfrm>
            <a:off x="813085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sp>
        <p:nvSpPr>
          <p:cNvPr id="15" name="Rectangle 14">
            <a:extLst>
              <a:ext uri="{FF2B5EF4-FFF2-40B4-BE49-F238E27FC236}">
                <a16:creationId xmlns:a16="http://schemas.microsoft.com/office/drawing/2014/main" id="{14052B3B-A426-9271-A001-5B911C7112CF}"/>
              </a:ext>
            </a:extLst>
          </p:cNvPr>
          <p:cNvSpPr/>
          <p:nvPr userDrawn="1"/>
        </p:nvSpPr>
        <p:spPr>
          <a:xfrm>
            <a:off x="3138004"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sp>
        <p:nvSpPr>
          <p:cNvPr id="17" name="Rectangle 16">
            <a:extLst>
              <a:ext uri="{FF2B5EF4-FFF2-40B4-BE49-F238E27FC236}">
                <a16:creationId xmlns:a16="http://schemas.microsoft.com/office/drawing/2014/main" id="{1D1F476D-1A4F-975C-22BD-6CBA9ADB5D67}"/>
              </a:ext>
            </a:extLst>
          </p:cNvPr>
          <p:cNvSpPr/>
          <p:nvPr userDrawn="1"/>
        </p:nvSpPr>
        <p:spPr>
          <a:xfrm>
            <a:off x="150110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sp>
        <p:nvSpPr>
          <p:cNvPr id="18" name="Freeform 17">
            <a:extLst>
              <a:ext uri="{FF2B5EF4-FFF2-40B4-BE49-F238E27FC236}">
                <a16:creationId xmlns:a16="http://schemas.microsoft.com/office/drawing/2014/main" id="{2F90AA44-A558-D041-048A-DF649593567D}"/>
              </a:ext>
            </a:extLst>
          </p:cNvPr>
          <p:cNvSpPr/>
          <p:nvPr userDrawn="1"/>
        </p:nvSpPr>
        <p:spPr>
          <a:xfrm>
            <a:off x="809471" y="2772455"/>
            <a:ext cx="10626879" cy="1843161"/>
          </a:xfrm>
          <a:custGeom>
            <a:avLst/>
            <a:gdLst>
              <a:gd name="connsiteX0" fmla="*/ 10110574 w 10565864"/>
              <a:gd name="connsiteY0" fmla="*/ 0 h 1832578"/>
              <a:gd name="connsiteX1" fmla="*/ 10286830 w 10565864"/>
              <a:gd name="connsiteY1" fmla="*/ 0 h 1832578"/>
              <a:gd name="connsiteX2" fmla="*/ 10286830 w 10565864"/>
              <a:gd name="connsiteY2" fmla="*/ 452 h 1832578"/>
              <a:gd name="connsiteX3" fmla="*/ 10286831 w 10565864"/>
              <a:gd name="connsiteY3" fmla="*/ 452 h 1832578"/>
              <a:gd name="connsiteX4" fmla="*/ 10286831 w 10565864"/>
              <a:gd name="connsiteY4" fmla="*/ 176709 h 1832578"/>
              <a:gd name="connsiteX5" fmla="*/ 10286830 w 10565864"/>
              <a:gd name="connsiteY5" fmla="*/ 176709 h 1832578"/>
              <a:gd name="connsiteX6" fmla="*/ 10286830 w 10565864"/>
              <a:gd name="connsiteY6" fmla="*/ 1656321 h 1832578"/>
              <a:gd name="connsiteX7" fmla="*/ 10565864 w 10565864"/>
              <a:gd name="connsiteY7" fmla="*/ 1656321 h 1832578"/>
              <a:gd name="connsiteX8" fmla="*/ 10565864 w 10565864"/>
              <a:gd name="connsiteY8" fmla="*/ 1832578 h 1832578"/>
              <a:gd name="connsiteX9" fmla="*/ 10118439 w 10565864"/>
              <a:gd name="connsiteY9" fmla="*/ 1832578 h 1832578"/>
              <a:gd name="connsiteX10" fmla="*/ 10118439 w 10565864"/>
              <a:gd name="connsiteY10" fmla="*/ 1814553 h 1832578"/>
              <a:gd name="connsiteX11" fmla="*/ 10110574 w 10565864"/>
              <a:gd name="connsiteY11" fmla="*/ 1814553 h 1832578"/>
              <a:gd name="connsiteX12" fmla="*/ 10110574 w 10565864"/>
              <a:gd name="connsiteY12" fmla="*/ 176709 h 1832578"/>
              <a:gd name="connsiteX13" fmla="*/ 8658823 w 10565864"/>
              <a:gd name="connsiteY13" fmla="*/ 176709 h 1832578"/>
              <a:gd name="connsiteX14" fmla="*/ 8658823 w 10565864"/>
              <a:gd name="connsiteY14" fmla="*/ 1626887 h 1832578"/>
              <a:gd name="connsiteX15" fmla="*/ 8658823 w 10565864"/>
              <a:gd name="connsiteY15" fmla="*/ 1814552 h 1832578"/>
              <a:gd name="connsiteX16" fmla="*/ 8471157 w 10565864"/>
              <a:gd name="connsiteY16" fmla="*/ 1814552 h 1832578"/>
              <a:gd name="connsiteX17" fmla="*/ 7032390 w 10565864"/>
              <a:gd name="connsiteY17" fmla="*/ 1814552 h 1832578"/>
              <a:gd name="connsiteX18" fmla="*/ 6844727 w 10565864"/>
              <a:gd name="connsiteY18" fmla="*/ 1814552 h 1832578"/>
              <a:gd name="connsiteX19" fmla="*/ 6844727 w 10565864"/>
              <a:gd name="connsiteY19" fmla="*/ 1626887 h 1832578"/>
              <a:gd name="connsiteX20" fmla="*/ 6844727 w 10565864"/>
              <a:gd name="connsiteY20" fmla="*/ 188119 h 1832578"/>
              <a:gd name="connsiteX21" fmla="*/ 5376188 w 10565864"/>
              <a:gd name="connsiteY21" fmla="*/ 188119 h 1832578"/>
              <a:gd name="connsiteX22" fmla="*/ 5376188 w 10565864"/>
              <a:gd name="connsiteY22" fmla="*/ 1626887 h 1832578"/>
              <a:gd name="connsiteX23" fmla="*/ 5376188 w 10565864"/>
              <a:gd name="connsiteY23" fmla="*/ 1814552 h 1832578"/>
              <a:gd name="connsiteX24" fmla="*/ 5188522 w 10565864"/>
              <a:gd name="connsiteY24" fmla="*/ 1814552 h 1832578"/>
              <a:gd name="connsiteX25" fmla="*/ 3749756 w 10565864"/>
              <a:gd name="connsiteY25" fmla="*/ 1814552 h 1832578"/>
              <a:gd name="connsiteX26" fmla="*/ 3562090 w 10565864"/>
              <a:gd name="connsiteY26" fmla="*/ 1814552 h 1832578"/>
              <a:gd name="connsiteX27" fmla="*/ 3562090 w 10565864"/>
              <a:gd name="connsiteY27" fmla="*/ 1626887 h 1832578"/>
              <a:gd name="connsiteX28" fmla="*/ 3562090 w 10565864"/>
              <a:gd name="connsiteY28" fmla="*/ 188119 h 1832578"/>
              <a:gd name="connsiteX29" fmla="*/ 2085683 w 10565864"/>
              <a:gd name="connsiteY29" fmla="*/ 188119 h 1832578"/>
              <a:gd name="connsiteX30" fmla="*/ 2085683 w 10565864"/>
              <a:gd name="connsiteY30" fmla="*/ 1626887 h 1832578"/>
              <a:gd name="connsiteX31" fmla="*/ 2085683 w 10565864"/>
              <a:gd name="connsiteY31" fmla="*/ 1814552 h 1832578"/>
              <a:gd name="connsiteX32" fmla="*/ 1898017 w 10565864"/>
              <a:gd name="connsiteY32" fmla="*/ 1814552 h 1832578"/>
              <a:gd name="connsiteX33" fmla="*/ 459251 w 10565864"/>
              <a:gd name="connsiteY33" fmla="*/ 1814552 h 1832578"/>
              <a:gd name="connsiteX34" fmla="*/ 271585 w 10565864"/>
              <a:gd name="connsiteY34" fmla="*/ 1814552 h 1832578"/>
              <a:gd name="connsiteX35" fmla="*/ 271585 w 10565864"/>
              <a:gd name="connsiteY35" fmla="*/ 1626887 h 1832578"/>
              <a:gd name="connsiteX36" fmla="*/ 271585 w 10565864"/>
              <a:gd name="connsiteY36" fmla="*/ 188119 h 1832578"/>
              <a:gd name="connsiteX37" fmla="*/ 0 w 10565864"/>
              <a:gd name="connsiteY37" fmla="*/ 188119 h 1832578"/>
              <a:gd name="connsiteX38" fmla="*/ 0 w 10565864"/>
              <a:gd name="connsiteY38" fmla="*/ 453 h 1832578"/>
              <a:gd name="connsiteX39" fmla="*/ 459251 w 10565864"/>
              <a:gd name="connsiteY39" fmla="*/ 453 h 1832578"/>
              <a:gd name="connsiteX40" fmla="*/ 459251 w 10565864"/>
              <a:gd name="connsiteY40" fmla="*/ 454 h 1832578"/>
              <a:gd name="connsiteX41" fmla="*/ 459251 w 10565864"/>
              <a:gd name="connsiteY41" fmla="*/ 188119 h 1832578"/>
              <a:gd name="connsiteX42" fmla="*/ 459251 w 10565864"/>
              <a:gd name="connsiteY42" fmla="*/ 1626887 h 1832578"/>
              <a:gd name="connsiteX43" fmla="*/ 1898017 w 10565864"/>
              <a:gd name="connsiteY43" fmla="*/ 1626887 h 1832578"/>
              <a:gd name="connsiteX44" fmla="*/ 1898017 w 10565864"/>
              <a:gd name="connsiteY44" fmla="*/ 454 h 1832578"/>
              <a:gd name="connsiteX45" fmla="*/ 1935658 w 10565864"/>
              <a:gd name="connsiteY45" fmla="*/ 454 h 1832578"/>
              <a:gd name="connsiteX46" fmla="*/ 1935658 w 10565864"/>
              <a:gd name="connsiteY46" fmla="*/ 453 h 1832578"/>
              <a:gd name="connsiteX47" fmla="*/ 3749756 w 10565864"/>
              <a:gd name="connsiteY47" fmla="*/ 453 h 1832578"/>
              <a:gd name="connsiteX48" fmla="*/ 3749756 w 10565864"/>
              <a:gd name="connsiteY48" fmla="*/ 454 h 1832578"/>
              <a:gd name="connsiteX49" fmla="*/ 3749756 w 10565864"/>
              <a:gd name="connsiteY49" fmla="*/ 188119 h 1832578"/>
              <a:gd name="connsiteX50" fmla="*/ 3749756 w 10565864"/>
              <a:gd name="connsiteY50" fmla="*/ 1626887 h 1832578"/>
              <a:gd name="connsiteX51" fmla="*/ 5188522 w 10565864"/>
              <a:gd name="connsiteY51" fmla="*/ 1626887 h 1832578"/>
              <a:gd name="connsiteX52" fmla="*/ 5188522 w 10565864"/>
              <a:gd name="connsiteY52" fmla="*/ 454 h 1832578"/>
              <a:gd name="connsiteX53" fmla="*/ 5218294 w 10565864"/>
              <a:gd name="connsiteY53" fmla="*/ 454 h 1832578"/>
              <a:gd name="connsiteX54" fmla="*/ 5218294 w 10565864"/>
              <a:gd name="connsiteY54" fmla="*/ 453 h 1832578"/>
              <a:gd name="connsiteX55" fmla="*/ 7032390 w 10565864"/>
              <a:gd name="connsiteY55" fmla="*/ 453 h 1832578"/>
              <a:gd name="connsiteX56" fmla="*/ 7032390 w 10565864"/>
              <a:gd name="connsiteY56" fmla="*/ 454 h 1832578"/>
              <a:gd name="connsiteX57" fmla="*/ 7032390 w 10565864"/>
              <a:gd name="connsiteY57" fmla="*/ 188119 h 1832578"/>
              <a:gd name="connsiteX58" fmla="*/ 7032390 w 10565864"/>
              <a:gd name="connsiteY58" fmla="*/ 1626887 h 1832578"/>
              <a:gd name="connsiteX59" fmla="*/ 8471157 w 10565864"/>
              <a:gd name="connsiteY59" fmla="*/ 1626887 h 1832578"/>
              <a:gd name="connsiteX60" fmla="*/ 8471157 w 10565864"/>
              <a:gd name="connsiteY60" fmla="*/ 454 h 1832578"/>
              <a:gd name="connsiteX61" fmla="*/ 8472279 w 10565864"/>
              <a:gd name="connsiteY61" fmla="*/ 454 h 1832578"/>
              <a:gd name="connsiteX62" fmla="*/ 8472279 w 10565864"/>
              <a:gd name="connsiteY62" fmla="*/ 452 h 1832578"/>
              <a:gd name="connsiteX63" fmla="*/ 8508797 w 10565864"/>
              <a:gd name="connsiteY63" fmla="*/ 452 h 1832578"/>
              <a:gd name="connsiteX64" fmla="*/ 8881551 w 10565864"/>
              <a:gd name="connsiteY64" fmla="*/ 452 h 1832578"/>
              <a:gd name="connsiteX65" fmla="*/ 10110574 w 10565864"/>
              <a:gd name="connsiteY65" fmla="*/ 452 h 183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565864" h="1832578">
                <a:moveTo>
                  <a:pt x="10110574" y="0"/>
                </a:moveTo>
                <a:lnTo>
                  <a:pt x="10286830" y="0"/>
                </a:lnTo>
                <a:lnTo>
                  <a:pt x="10286830" y="452"/>
                </a:lnTo>
                <a:lnTo>
                  <a:pt x="10286831" y="452"/>
                </a:lnTo>
                <a:lnTo>
                  <a:pt x="10286831" y="176709"/>
                </a:lnTo>
                <a:lnTo>
                  <a:pt x="10286830" y="176709"/>
                </a:lnTo>
                <a:lnTo>
                  <a:pt x="10286830" y="1656321"/>
                </a:lnTo>
                <a:lnTo>
                  <a:pt x="10565864" y="1656321"/>
                </a:lnTo>
                <a:lnTo>
                  <a:pt x="10565864" y="1832578"/>
                </a:lnTo>
                <a:lnTo>
                  <a:pt x="10118439" y="1832578"/>
                </a:lnTo>
                <a:lnTo>
                  <a:pt x="10118439" y="1814553"/>
                </a:lnTo>
                <a:lnTo>
                  <a:pt x="10110574" y="1814553"/>
                </a:lnTo>
                <a:lnTo>
                  <a:pt x="10110574" y="176709"/>
                </a:lnTo>
                <a:lnTo>
                  <a:pt x="8658823" y="176709"/>
                </a:lnTo>
                <a:lnTo>
                  <a:pt x="8658823" y="1626887"/>
                </a:lnTo>
                <a:lnTo>
                  <a:pt x="8658823" y="1814552"/>
                </a:lnTo>
                <a:lnTo>
                  <a:pt x="8471157" y="1814552"/>
                </a:lnTo>
                <a:lnTo>
                  <a:pt x="7032390" y="1814552"/>
                </a:lnTo>
                <a:lnTo>
                  <a:pt x="6844727" y="1814552"/>
                </a:lnTo>
                <a:lnTo>
                  <a:pt x="6844727" y="1626887"/>
                </a:lnTo>
                <a:lnTo>
                  <a:pt x="6844727" y="188119"/>
                </a:lnTo>
                <a:lnTo>
                  <a:pt x="5376188" y="188119"/>
                </a:lnTo>
                <a:lnTo>
                  <a:pt x="5376188" y="1626887"/>
                </a:lnTo>
                <a:lnTo>
                  <a:pt x="5376188" y="1814552"/>
                </a:lnTo>
                <a:lnTo>
                  <a:pt x="5188522" y="1814552"/>
                </a:lnTo>
                <a:lnTo>
                  <a:pt x="3749756" y="1814552"/>
                </a:lnTo>
                <a:lnTo>
                  <a:pt x="3562090" y="1814552"/>
                </a:lnTo>
                <a:lnTo>
                  <a:pt x="3562090" y="1626887"/>
                </a:lnTo>
                <a:lnTo>
                  <a:pt x="3562090" y="188119"/>
                </a:lnTo>
                <a:lnTo>
                  <a:pt x="2085683" y="188119"/>
                </a:lnTo>
                <a:lnTo>
                  <a:pt x="2085683" y="1626887"/>
                </a:lnTo>
                <a:lnTo>
                  <a:pt x="2085683" y="1814552"/>
                </a:lnTo>
                <a:lnTo>
                  <a:pt x="1898017" y="1814552"/>
                </a:lnTo>
                <a:lnTo>
                  <a:pt x="459251" y="1814552"/>
                </a:lnTo>
                <a:lnTo>
                  <a:pt x="271585" y="1814552"/>
                </a:lnTo>
                <a:lnTo>
                  <a:pt x="271585" y="1626887"/>
                </a:lnTo>
                <a:lnTo>
                  <a:pt x="271585" y="188119"/>
                </a:lnTo>
                <a:lnTo>
                  <a:pt x="0" y="188119"/>
                </a:lnTo>
                <a:lnTo>
                  <a:pt x="0" y="453"/>
                </a:lnTo>
                <a:lnTo>
                  <a:pt x="459251" y="453"/>
                </a:lnTo>
                <a:lnTo>
                  <a:pt x="459251" y="454"/>
                </a:lnTo>
                <a:lnTo>
                  <a:pt x="459251" y="188119"/>
                </a:lnTo>
                <a:lnTo>
                  <a:pt x="459251" y="1626887"/>
                </a:lnTo>
                <a:lnTo>
                  <a:pt x="1898017" y="1626887"/>
                </a:lnTo>
                <a:lnTo>
                  <a:pt x="1898017" y="454"/>
                </a:lnTo>
                <a:lnTo>
                  <a:pt x="1935658" y="454"/>
                </a:lnTo>
                <a:lnTo>
                  <a:pt x="1935658" y="453"/>
                </a:lnTo>
                <a:lnTo>
                  <a:pt x="3749756" y="453"/>
                </a:lnTo>
                <a:lnTo>
                  <a:pt x="3749756" y="454"/>
                </a:lnTo>
                <a:lnTo>
                  <a:pt x="3749756" y="188119"/>
                </a:lnTo>
                <a:lnTo>
                  <a:pt x="3749756" y="1626887"/>
                </a:lnTo>
                <a:lnTo>
                  <a:pt x="5188522" y="1626887"/>
                </a:lnTo>
                <a:lnTo>
                  <a:pt x="5188522" y="454"/>
                </a:lnTo>
                <a:lnTo>
                  <a:pt x="5218294" y="454"/>
                </a:lnTo>
                <a:lnTo>
                  <a:pt x="5218294" y="453"/>
                </a:lnTo>
                <a:lnTo>
                  <a:pt x="7032390" y="453"/>
                </a:lnTo>
                <a:lnTo>
                  <a:pt x="7032390" y="454"/>
                </a:lnTo>
                <a:lnTo>
                  <a:pt x="7032390" y="188119"/>
                </a:lnTo>
                <a:lnTo>
                  <a:pt x="7032390" y="1626887"/>
                </a:lnTo>
                <a:lnTo>
                  <a:pt x="8471157" y="1626887"/>
                </a:lnTo>
                <a:lnTo>
                  <a:pt x="8471157" y="454"/>
                </a:lnTo>
                <a:lnTo>
                  <a:pt x="8472279" y="454"/>
                </a:lnTo>
                <a:lnTo>
                  <a:pt x="8472279" y="452"/>
                </a:lnTo>
                <a:lnTo>
                  <a:pt x="8508797" y="452"/>
                </a:lnTo>
                <a:lnTo>
                  <a:pt x="8881551" y="452"/>
                </a:lnTo>
                <a:lnTo>
                  <a:pt x="10110574" y="452"/>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sp>
        <p:nvSpPr>
          <p:cNvPr id="19" name="Rectangle 18">
            <a:extLst>
              <a:ext uri="{FF2B5EF4-FFF2-40B4-BE49-F238E27FC236}">
                <a16:creationId xmlns:a16="http://schemas.microsoft.com/office/drawing/2014/main" id="{1A532B10-94D2-2983-7A95-ABD9FBD86D9C}"/>
              </a:ext>
            </a:extLst>
          </p:cNvPr>
          <p:cNvSpPr/>
          <p:nvPr userDrawn="1"/>
        </p:nvSpPr>
        <p:spPr>
          <a:xfrm>
            <a:off x="9745250"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1219200" y="1907838"/>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885736" y="503085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633747" y="1921846"/>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203743" y="4994392"/>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7878591" y="1921465"/>
            <a:ext cx="1523997" cy="330340"/>
          </a:xfrm>
        </p:spPr>
        <p:txBody>
          <a:bodyPr rIns="0"/>
          <a:lstStyle>
            <a:lvl1pPr algn="ctr">
              <a:spcBef>
                <a:spcPts val="0"/>
              </a:spcBef>
              <a:defRPr sz="2000">
                <a:solidFill>
                  <a:schemeClr val="tx1"/>
                </a:solidFill>
              </a:defRPr>
            </a:lvl1pPr>
          </a:lstStyle>
          <a:p>
            <a:pPr lvl="0"/>
            <a:r>
              <a:rPr lang="en-GB"/>
              <a:t>Five steps</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523780" y="4963773"/>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20" name="Group 19">
            <a:extLst>
              <a:ext uri="{FF2B5EF4-FFF2-40B4-BE49-F238E27FC236}">
                <a16:creationId xmlns:a16="http://schemas.microsoft.com/office/drawing/2014/main" id="{32A8C1D3-01D9-B985-251B-39ADAE83B9FA}"/>
              </a:ext>
            </a:extLst>
          </p:cNvPr>
          <p:cNvGrpSpPr/>
          <p:nvPr userDrawn="1"/>
        </p:nvGrpSpPr>
        <p:grpSpPr>
          <a:xfrm>
            <a:off x="10863102" y="309052"/>
            <a:ext cx="911847" cy="382707"/>
            <a:chOff x="7459170" y="481236"/>
            <a:chExt cx="2697427" cy="1132124"/>
          </a:xfrm>
        </p:grpSpPr>
        <p:sp>
          <p:nvSpPr>
            <p:cNvPr id="21" name="Freeform 9">
              <a:extLst>
                <a:ext uri="{FF2B5EF4-FFF2-40B4-BE49-F238E27FC236}">
                  <a16:creationId xmlns:a16="http://schemas.microsoft.com/office/drawing/2014/main" id="{D354E2E7-A838-B3A0-8B4C-4D0E7F026AC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2" name="Freeform 11">
              <a:extLst>
                <a:ext uri="{FF2B5EF4-FFF2-40B4-BE49-F238E27FC236}">
                  <a16:creationId xmlns:a16="http://schemas.microsoft.com/office/drawing/2014/main" id="{AE956161-758C-70C9-7CE4-B74CDAE56B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286EE0D6-3C60-65FE-B56C-ED6D5787BA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EAEFB32D-5617-9097-DDAF-07FAEC69A09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FA4363B-DCC7-FAE5-6AB6-7501B7F6063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62EBB3B-C78C-6DE2-EDE1-2DFD7A15DB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ECC38E84-0F92-330C-CFEF-BCD064E01D9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903806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6" name="Content Placeholder 1"/>
          <p:cNvSpPr>
            <a:spLocks noGrp="1"/>
          </p:cNvSpPr>
          <p:nvPr>
            <p:ph idx="31" hasCustomPrompt="1"/>
            <p:custDataLst>
              <p:tags r:id="rId1"/>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hasCustomPrompt="1"/>
            <p:custDataLst>
              <p:tags r:id="rId2"/>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idx="12" hasCustomPrompt="1"/>
            <p:custDataLst>
              <p:tags r:id="rId3"/>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p:cNvSpPr>
            <a:spLocks noGrp="1"/>
          </p:cNvSpPr>
          <p:nvPr>
            <p:ph idx="13" hasCustomPrompt="1"/>
            <p:custDataLst>
              <p:tags r:id="rId4"/>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idx="14" hasCustomPrompt="1"/>
            <p:custDataLst>
              <p:tags r:id="rId5"/>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p:cNvSpPr>
            <a:spLocks noGrp="1"/>
          </p:cNvSpPr>
          <p:nvPr>
            <p:ph idx="15" hasCustomPrompt="1"/>
            <p:custDataLst>
              <p:tags r:id="rId6"/>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p:cNvSpPr>
            <a:spLocks noGrp="1"/>
          </p:cNvSpPr>
          <p:nvPr>
            <p:ph idx="16" hasCustomPrompt="1"/>
            <p:custDataLst>
              <p:tags r:id="rId7"/>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p:cNvSpPr>
            <a:spLocks noGrp="1"/>
          </p:cNvSpPr>
          <p:nvPr>
            <p:ph idx="17" hasCustomPrompt="1"/>
            <p:custDataLst>
              <p:tags r:id="rId8"/>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9"/>
          <p:cNvSpPr>
            <a:spLocks noGrp="1"/>
          </p:cNvSpPr>
          <p:nvPr>
            <p:ph idx="18" hasCustomPrompt="1"/>
            <p:custDataLst>
              <p:tags r:id="rId9"/>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p:cNvSpPr>
            <a:spLocks noGrp="1"/>
          </p:cNvSpPr>
          <p:nvPr>
            <p:ph idx="19" hasCustomPrompt="1"/>
            <p:custDataLst>
              <p:tags r:id="rId10"/>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1"/>
          <p:cNvSpPr>
            <a:spLocks noGrp="1"/>
          </p:cNvSpPr>
          <p:nvPr>
            <p:ph idx="20" hasCustomPrompt="1"/>
            <p:custDataLst>
              <p:tags r:id="rId11"/>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2"/>
          <p:cNvSpPr>
            <a:spLocks noGrp="1"/>
          </p:cNvSpPr>
          <p:nvPr>
            <p:ph idx="21" hasCustomPrompt="1"/>
            <p:custDataLst>
              <p:tags r:id="rId12"/>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3"/>
          <p:cNvSpPr>
            <a:spLocks noGrp="1"/>
          </p:cNvSpPr>
          <p:nvPr>
            <p:ph idx="22" hasCustomPrompt="1"/>
            <p:custDataLst>
              <p:tags r:id="rId13"/>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4"/>
          <p:cNvSpPr>
            <a:spLocks noGrp="1"/>
          </p:cNvSpPr>
          <p:nvPr>
            <p:ph idx="23" hasCustomPrompt="1"/>
            <p:custDataLst>
              <p:tags r:id="rId14"/>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5"/>
          <p:cNvSpPr>
            <a:spLocks noGrp="1"/>
          </p:cNvSpPr>
          <p:nvPr>
            <p:ph idx="24" hasCustomPrompt="1"/>
            <p:custDataLst>
              <p:tags r:id="rId15"/>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6"/>
          <p:cNvSpPr>
            <a:spLocks noGrp="1"/>
          </p:cNvSpPr>
          <p:nvPr>
            <p:ph idx="25" hasCustomPrompt="1"/>
            <p:custDataLst>
              <p:tags r:id="rId16"/>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7"/>
          <p:cNvSpPr>
            <a:spLocks noGrp="1"/>
          </p:cNvSpPr>
          <p:nvPr>
            <p:ph idx="26" hasCustomPrompt="1"/>
            <p:custDataLst>
              <p:tags r:id="rId17"/>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8"/>
          <p:cNvSpPr>
            <a:spLocks noGrp="1"/>
          </p:cNvSpPr>
          <p:nvPr>
            <p:ph idx="27" hasCustomPrompt="1"/>
            <p:custDataLst>
              <p:tags r:id="rId18"/>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9"/>
          <p:cNvSpPr>
            <a:spLocks noGrp="1"/>
          </p:cNvSpPr>
          <p:nvPr>
            <p:ph idx="28" hasCustomPrompt="1"/>
            <p:custDataLst>
              <p:tags r:id="rId19"/>
            </p:custDataLst>
          </p:nvPr>
        </p:nvSpPr>
        <p:spPr>
          <a:xfrm>
            <a:off x="12518032" y="630563"/>
            <a:ext cx="480000" cy="36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284FF1C-502E-4E60-8F3C-B3CE8413E7C2}"/>
              </a:ext>
            </a:extLst>
          </p:cNvPr>
          <p:cNvSpPr>
            <a:spLocks noGrp="1"/>
          </p:cNvSpPr>
          <p:nvPr>
            <p:ph type="title"/>
          </p:nvPr>
        </p:nvSpPr>
        <p:spPr/>
        <p:txBody>
          <a:bodyPr/>
          <a:lstStyle/>
          <a:p>
            <a:r>
              <a:rPr lang="en-US"/>
              <a:t>Click to edit Master title style</a:t>
            </a:r>
          </a:p>
        </p:txBody>
      </p:sp>
      <p:sp>
        <p:nvSpPr>
          <p:cNvPr id="25" name="Content Placeholder 24">
            <a:extLst>
              <a:ext uri="{FF2B5EF4-FFF2-40B4-BE49-F238E27FC236}">
                <a16:creationId xmlns:a16="http://schemas.microsoft.com/office/drawing/2014/main" id="{15143E86-C8FC-4909-957B-B9B23EDA5854}"/>
              </a:ext>
            </a:extLst>
          </p:cNvPr>
          <p:cNvSpPr>
            <a:spLocks noGrp="1"/>
          </p:cNvSpPr>
          <p:nvPr>
            <p:ph sz="quarter" idx="32"/>
          </p:nvPr>
        </p:nvSpPr>
        <p:spPr>
          <a:xfrm>
            <a:off x="609600" y="838200"/>
            <a:ext cx="107412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Slide Number Placeholder 27">
            <a:extLst>
              <a:ext uri="{FF2B5EF4-FFF2-40B4-BE49-F238E27FC236}">
                <a16:creationId xmlns:a16="http://schemas.microsoft.com/office/drawing/2014/main" id="{4C07A5BD-C1D5-4482-8E4C-B9ED4E325427}"/>
              </a:ext>
            </a:extLst>
          </p:cNvPr>
          <p:cNvSpPr>
            <a:spLocks noGrp="1"/>
          </p:cNvSpPr>
          <p:nvPr>
            <p:ph type="sldNum" sz="quarter" idx="33"/>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85219624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7 step process square">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4F697B3-5F52-F563-C703-96202FC2B31E}"/>
              </a:ext>
            </a:extLst>
          </p:cNvPr>
          <p:cNvGrpSpPr/>
          <p:nvPr userDrawn="1"/>
        </p:nvGrpSpPr>
        <p:grpSpPr>
          <a:xfrm>
            <a:off x="815974" y="2285999"/>
            <a:ext cx="10620376" cy="2911014"/>
            <a:chOff x="815974" y="2177107"/>
            <a:chExt cx="10531650" cy="2886693"/>
          </a:xfrm>
        </p:grpSpPr>
        <p:grpSp>
          <p:nvGrpSpPr>
            <p:cNvPr id="25" name="Group 24">
              <a:extLst>
                <a:ext uri="{FF2B5EF4-FFF2-40B4-BE49-F238E27FC236}">
                  <a16:creationId xmlns:a16="http://schemas.microsoft.com/office/drawing/2014/main" id="{796CD2C5-04C2-BA40-BCBA-FD69F9120D2C}"/>
                </a:ext>
              </a:extLst>
            </p:cNvPr>
            <p:cNvGrpSpPr/>
            <p:nvPr/>
          </p:nvGrpSpPr>
          <p:grpSpPr>
            <a:xfrm>
              <a:off x="7118880" y="3246448"/>
              <a:ext cx="919869" cy="1817352"/>
              <a:chOff x="7118880" y="3246448"/>
              <a:chExt cx="919869" cy="1817352"/>
            </a:xfrm>
          </p:grpSpPr>
          <p:cxnSp>
            <p:nvCxnSpPr>
              <p:cNvPr id="45" name="Straight Connector 44">
                <a:extLst>
                  <a:ext uri="{FF2B5EF4-FFF2-40B4-BE49-F238E27FC236}">
                    <a16:creationId xmlns:a16="http://schemas.microsoft.com/office/drawing/2014/main" id="{500BE1BA-A902-07AA-FD88-7171A29F7E19}"/>
                  </a:ext>
                </a:extLst>
              </p:cNvPr>
              <p:cNvCxnSpPr>
                <a:cxnSpLocks/>
              </p:cNvCxnSpPr>
              <p:nvPr/>
            </p:nvCxnSpPr>
            <p:spPr>
              <a:xfrm flipV="1">
                <a:off x="7595974"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48748A9-BF15-947A-8C51-594580E9B2A0}"/>
                  </a:ext>
                </a:extLst>
              </p:cNvPr>
              <p:cNvSpPr/>
              <p:nvPr/>
            </p:nvSpPr>
            <p:spPr>
              <a:xfrm>
                <a:off x="7118880"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26" name="Group 25">
              <a:extLst>
                <a:ext uri="{FF2B5EF4-FFF2-40B4-BE49-F238E27FC236}">
                  <a16:creationId xmlns:a16="http://schemas.microsoft.com/office/drawing/2014/main" id="{5D13811C-9CF3-8F26-929A-C09DA2B962C5}"/>
                </a:ext>
              </a:extLst>
            </p:cNvPr>
            <p:cNvGrpSpPr/>
            <p:nvPr/>
          </p:nvGrpSpPr>
          <p:grpSpPr>
            <a:xfrm>
              <a:off x="5666228" y="2177107"/>
              <a:ext cx="919869" cy="1989210"/>
              <a:chOff x="5666228" y="2177107"/>
              <a:chExt cx="919869" cy="1989210"/>
            </a:xfrm>
          </p:grpSpPr>
          <p:cxnSp>
            <p:nvCxnSpPr>
              <p:cNvPr id="43" name="Straight Connector 42">
                <a:extLst>
                  <a:ext uri="{FF2B5EF4-FFF2-40B4-BE49-F238E27FC236}">
                    <a16:creationId xmlns:a16="http://schemas.microsoft.com/office/drawing/2014/main" id="{722A0477-BCDF-F148-2E80-8AE896A9B308}"/>
                  </a:ext>
                </a:extLst>
              </p:cNvPr>
              <p:cNvCxnSpPr>
                <a:cxnSpLocks/>
              </p:cNvCxnSpPr>
              <p:nvPr/>
            </p:nvCxnSpPr>
            <p:spPr>
              <a:xfrm flipV="1">
                <a:off x="6111386"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70A55127-9415-1B5E-B1D8-C809857A8A00}"/>
                  </a:ext>
                </a:extLst>
              </p:cNvPr>
              <p:cNvSpPr/>
              <p:nvPr/>
            </p:nvSpPr>
            <p:spPr>
              <a:xfrm>
                <a:off x="5666228"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27" name="Group 26">
              <a:extLst>
                <a:ext uri="{FF2B5EF4-FFF2-40B4-BE49-F238E27FC236}">
                  <a16:creationId xmlns:a16="http://schemas.microsoft.com/office/drawing/2014/main" id="{A158A236-6964-37B7-7894-267F1AAAF2BE}"/>
                </a:ext>
              </a:extLst>
            </p:cNvPr>
            <p:cNvGrpSpPr/>
            <p:nvPr/>
          </p:nvGrpSpPr>
          <p:grpSpPr>
            <a:xfrm>
              <a:off x="8651667" y="2177107"/>
              <a:ext cx="919869" cy="1989210"/>
              <a:chOff x="8651667" y="2177107"/>
              <a:chExt cx="919869" cy="1989210"/>
            </a:xfrm>
          </p:grpSpPr>
          <p:cxnSp>
            <p:nvCxnSpPr>
              <p:cNvPr id="41" name="Straight Connector 40">
                <a:extLst>
                  <a:ext uri="{FF2B5EF4-FFF2-40B4-BE49-F238E27FC236}">
                    <a16:creationId xmlns:a16="http://schemas.microsoft.com/office/drawing/2014/main" id="{6C4D2E7A-FF23-D414-380A-559D6F4E7FB2}"/>
                  </a:ext>
                </a:extLst>
              </p:cNvPr>
              <p:cNvCxnSpPr>
                <a:cxnSpLocks/>
              </p:cNvCxnSpPr>
              <p:nvPr/>
            </p:nvCxnSpPr>
            <p:spPr>
              <a:xfrm flipV="1">
                <a:off x="90959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9EAFF3CE-15D8-8028-55AC-A70ED2DFF4AA}"/>
                  </a:ext>
                </a:extLst>
              </p:cNvPr>
              <p:cNvSpPr/>
              <p:nvPr/>
            </p:nvSpPr>
            <p:spPr>
              <a:xfrm>
                <a:off x="8651667"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28" name="Group 27">
              <a:extLst>
                <a:ext uri="{FF2B5EF4-FFF2-40B4-BE49-F238E27FC236}">
                  <a16:creationId xmlns:a16="http://schemas.microsoft.com/office/drawing/2014/main" id="{343462AB-D726-BCC0-F10C-82A7AAD6BC2F}"/>
                </a:ext>
              </a:extLst>
            </p:cNvPr>
            <p:cNvGrpSpPr/>
            <p:nvPr/>
          </p:nvGrpSpPr>
          <p:grpSpPr>
            <a:xfrm>
              <a:off x="4146576" y="3246448"/>
              <a:ext cx="919869" cy="1817352"/>
              <a:chOff x="4146576" y="3246448"/>
              <a:chExt cx="919869" cy="1817352"/>
            </a:xfrm>
          </p:grpSpPr>
          <p:cxnSp>
            <p:nvCxnSpPr>
              <p:cNvPr id="39" name="Straight Connector 38">
                <a:extLst>
                  <a:ext uri="{FF2B5EF4-FFF2-40B4-BE49-F238E27FC236}">
                    <a16:creationId xmlns:a16="http://schemas.microsoft.com/office/drawing/2014/main" id="{D4CFDED3-7EB3-EC20-8D54-47B014F8ED8D}"/>
                  </a:ext>
                </a:extLst>
              </p:cNvPr>
              <p:cNvCxnSpPr>
                <a:cxnSpLocks/>
              </p:cNvCxnSpPr>
              <p:nvPr/>
            </p:nvCxnSpPr>
            <p:spPr>
              <a:xfrm flipV="1">
                <a:off x="4596025"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B6D923E-3307-A061-6525-2CEB354956A2}"/>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9" name="Group 28">
              <a:extLst>
                <a:ext uri="{FF2B5EF4-FFF2-40B4-BE49-F238E27FC236}">
                  <a16:creationId xmlns:a16="http://schemas.microsoft.com/office/drawing/2014/main" id="{2C3CF6C4-991A-7D81-9DCE-C410393220B8}"/>
                </a:ext>
              </a:extLst>
            </p:cNvPr>
            <p:cNvGrpSpPr/>
            <p:nvPr/>
          </p:nvGrpSpPr>
          <p:grpSpPr>
            <a:xfrm>
              <a:off x="2669593" y="2177107"/>
              <a:ext cx="919869" cy="1989210"/>
              <a:chOff x="2669593" y="2177107"/>
              <a:chExt cx="919869" cy="1989210"/>
            </a:xfrm>
          </p:grpSpPr>
          <p:cxnSp>
            <p:nvCxnSpPr>
              <p:cNvPr id="37" name="Straight Connector 36">
                <a:extLst>
                  <a:ext uri="{FF2B5EF4-FFF2-40B4-BE49-F238E27FC236}">
                    <a16:creationId xmlns:a16="http://schemas.microsoft.com/office/drawing/2014/main" id="{EA7D4535-785D-F8BB-E136-8C8DBD40D761}"/>
                  </a:ext>
                </a:extLst>
              </p:cNvPr>
              <p:cNvCxnSpPr>
                <a:cxnSpLocks/>
              </p:cNvCxnSpPr>
              <p:nvPr/>
            </p:nvCxnSpPr>
            <p:spPr>
              <a:xfrm flipV="1">
                <a:off x="30960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DB28CAB-F21F-071E-F6BB-CDD0F3B630C4}"/>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30" name="Group 29">
              <a:extLst>
                <a:ext uri="{FF2B5EF4-FFF2-40B4-BE49-F238E27FC236}">
                  <a16:creationId xmlns:a16="http://schemas.microsoft.com/office/drawing/2014/main" id="{8B09DC4C-9526-2970-FD78-4FE6CFE56EE0}"/>
                </a:ext>
              </a:extLst>
            </p:cNvPr>
            <p:cNvGrpSpPr/>
            <p:nvPr/>
          </p:nvGrpSpPr>
          <p:grpSpPr>
            <a:xfrm>
              <a:off x="1209948" y="3251580"/>
              <a:ext cx="919869" cy="1812220"/>
              <a:chOff x="1209948" y="3251580"/>
              <a:chExt cx="919869" cy="1812220"/>
            </a:xfrm>
          </p:grpSpPr>
          <p:cxnSp>
            <p:nvCxnSpPr>
              <p:cNvPr id="35" name="Straight Connector 34">
                <a:extLst>
                  <a:ext uri="{FF2B5EF4-FFF2-40B4-BE49-F238E27FC236}">
                    <a16:creationId xmlns:a16="http://schemas.microsoft.com/office/drawing/2014/main" id="{F0F56E60-BB30-3A6A-4ABF-273AB65C699B}"/>
                  </a:ext>
                </a:extLst>
              </p:cNvPr>
              <p:cNvCxnSpPr>
                <a:cxnSpLocks/>
              </p:cNvCxnSpPr>
              <p:nvPr/>
            </p:nvCxnSpPr>
            <p:spPr>
              <a:xfrm flipV="1">
                <a:off x="1656073"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81430DC5-B598-1944-9387-76EBCDBD536E}"/>
                  </a:ext>
                </a:extLst>
              </p:cNvPr>
              <p:cNvSpPr/>
              <p:nvPr/>
            </p:nvSpPr>
            <p:spPr>
              <a:xfrm>
                <a:off x="1209948" y="3251580"/>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31" name="Group 30">
              <a:extLst>
                <a:ext uri="{FF2B5EF4-FFF2-40B4-BE49-F238E27FC236}">
                  <a16:creationId xmlns:a16="http://schemas.microsoft.com/office/drawing/2014/main" id="{18ED42E0-4F48-A0F0-DB50-880253D5D200}"/>
                </a:ext>
              </a:extLst>
            </p:cNvPr>
            <p:cNvGrpSpPr/>
            <p:nvPr userDrawn="1"/>
          </p:nvGrpSpPr>
          <p:grpSpPr>
            <a:xfrm>
              <a:off x="10058192" y="3246448"/>
              <a:ext cx="927619" cy="1817352"/>
              <a:chOff x="10058192" y="3246448"/>
              <a:chExt cx="927619" cy="1817352"/>
            </a:xfrm>
          </p:grpSpPr>
          <p:cxnSp>
            <p:nvCxnSpPr>
              <p:cNvPr id="33" name="Straight Connector 32">
                <a:extLst>
                  <a:ext uri="{FF2B5EF4-FFF2-40B4-BE49-F238E27FC236}">
                    <a16:creationId xmlns:a16="http://schemas.microsoft.com/office/drawing/2014/main" id="{4298CF7C-794B-5514-14AC-38B1980011F4}"/>
                  </a:ext>
                </a:extLst>
              </p:cNvPr>
              <p:cNvCxnSpPr>
                <a:cxnSpLocks/>
              </p:cNvCxnSpPr>
              <p:nvPr/>
            </p:nvCxnSpPr>
            <p:spPr>
              <a:xfrm flipV="1">
                <a:off x="10535926"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81460A6-2480-5B93-1423-15A406132393}"/>
                  </a:ext>
                </a:extLst>
              </p:cNvPr>
              <p:cNvSpPr/>
              <p:nvPr userDrawn="1"/>
            </p:nvSpPr>
            <p:spPr>
              <a:xfrm>
                <a:off x="10058192" y="3246448"/>
                <a:ext cx="92761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sp>
          <p:nvSpPr>
            <p:cNvPr id="32" name="Freeform 31">
              <a:extLst>
                <a:ext uri="{FF2B5EF4-FFF2-40B4-BE49-F238E27FC236}">
                  <a16:creationId xmlns:a16="http://schemas.microsoft.com/office/drawing/2014/main" id="{2D4E2390-9C46-1ACA-B333-D1E6CF04AFE1}"/>
                </a:ext>
              </a:extLst>
            </p:cNvPr>
            <p:cNvSpPr/>
            <p:nvPr/>
          </p:nvSpPr>
          <p:spPr>
            <a:xfrm flipH="1">
              <a:off x="815974" y="2872185"/>
              <a:ext cx="10531650" cy="1646328"/>
            </a:xfrm>
            <a:custGeom>
              <a:avLst/>
              <a:gdLst>
                <a:gd name="connsiteX0" fmla="*/ 1580213 w 10531650"/>
                <a:gd name="connsiteY0" fmla="*/ 0 h 1646328"/>
                <a:gd name="connsiteX1" fmla="*/ 0 w 10531650"/>
                <a:gd name="connsiteY1" fmla="*/ 0 h 1646328"/>
                <a:gd name="connsiteX2" fmla="*/ 0 w 10531650"/>
                <a:gd name="connsiteY2" fmla="*/ 158733 h 1646328"/>
                <a:gd name="connsiteX3" fmla="*/ 1444062 w 10531650"/>
                <a:gd name="connsiteY3" fmla="*/ 158733 h 1646328"/>
                <a:gd name="connsiteX4" fmla="*/ 1444062 w 10531650"/>
                <a:gd name="connsiteY4" fmla="*/ 1476019 h 1646328"/>
                <a:gd name="connsiteX5" fmla="*/ 1444062 w 10531650"/>
                <a:gd name="connsiteY5" fmla="*/ 1646328 h 1646328"/>
                <a:gd name="connsiteX6" fmla="*/ 1614372 w 10531650"/>
                <a:gd name="connsiteY6" fmla="*/ 1646328 h 1646328"/>
                <a:gd name="connsiteX7" fmla="*/ 2920079 w 10531650"/>
                <a:gd name="connsiteY7" fmla="*/ 1646328 h 1646328"/>
                <a:gd name="connsiteX8" fmla="*/ 3090388 w 10531650"/>
                <a:gd name="connsiteY8" fmla="*/ 1646328 h 1646328"/>
                <a:gd name="connsiteX9" fmla="*/ 3090388 w 10531650"/>
                <a:gd name="connsiteY9" fmla="*/ 1476019 h 1646328"/>
                <a:gd name="connsiteX10" fmla="*/ 3090388 w 10531650"/>
                <a:gd name="connsiteY10" fmla="*/ 170311 h 1646328"/>
                <a:gd name="connsiteX11" fmla="*/ 4423113 w 10531650"/>
                <a:gd name="connsiteY11" fmla="*/ 170311 h 1646328"/>
                <a:gd name="connsiteX12" fmla="*/ 4423113 w 10531650"/>
                <a:gd name="connsiteY12" fmla="*/ 1476019 h 1646328"/>
                <a:gd name="connsiteX13" fmla="*/ 4423113 w 10531650"/>
                <a:gd name="connsiteY13" fmla="*/ 1646328 h 1646328"/>
                <a:gd name="connsiteX14" fmla="*/ 4593423 w 10531650"/>
                <a:gd name="connsiteY14" fmla="*/ 1646328 h 1646328"/>
                <a:gd name="connsiteX15" fmla="*/ 5899130 w 10531650"/>
                <a:gd name="connsiteY15" fmla="*/ 1646328 h 1646328"/>
                <a:gd name="connsiteX16" fmla="*/ 6069440 w 10531650"/>
                <a:gd name="connsiteY16" fmla="*/ 1646328 h 1646328"/>
                <a:gd name="connsiteX17" fmla="*/ 6069440 w 10531650"/>
                <a:gd name="connsiteY17" fmla="*/ 1476019 h 1646328"/>
                <a:gd name="connsiteX18" fmla="*/ 6069440 w 10531650"/>
                <a:gd name="connsiteY18" fmla="*/ 170311 h 1646328"/>
                <a:gd name="connsiteX19" fmla="*/ 7409306 w 10531650"/>
                <a:gd name="connsiteY19" fmla="*/ 170311 h 1646328"/>
                <a:gd name="connsiteX20" fmla="*/ 7409306 w 10531650"/>
                <a:gd name="connsiteY20" fmla="*/ 1476019 h 1646328"/>
                <a:gd name="connsiteX21" fmla="*/ 7409306 w 10531650"/>
                <a:gd name="connsiteY21" fmla="*/ 1646328 h 1646328"/>
                <a:gd name="connsiteX22" fmla="*/ 7579616 w 10531650"/>
                <a:gd name="connsiteY22" fmla="*/ 1646328 h 1646328"/>
                <a:gd name="connsiteX23" fmla="*/ 8885323 w 10531650"/>
                <a:gd name="connsiteY23" fmla="*/ 1646328 h 1646328"/>
                <a:gd name="connsiteX24" fmla="*/ 9055633 w 10531650"/>
                <a:gd name="connsiteY24" fmla="*/ 1646328 h 1646328"/>
                <a:gd name="connsiteX25" fmla="*/ 9055633 w 10531650"/>
                <a:gd name="connsiteY25" fmla="*/ 1476019 h 1646328"/>
                <a:gd name="connsiteX26" fmla="*/ 9055633 w 10531650"/>
                <a:gd name="connsiteY26" fmla="*/ 170311 h 1646328"/>
                <a:gd name="connsiteX27" fmla="*/ 10531650 w 10531650"/>
                <a:gd name="connsiteY27" fmla="*/ 170311 h 1646328"/>
                <a:gd name="connsiteX28" fmla="*/ 10531650 w 10531650"/>
                <a:gd name="connsiteY28" fmla="*/ 1 h 1646328"/>
                <a:gd name="connsiteX29" fmla="*/ 8885323 w 10531650"/>
                <a:gd name="connsiteY29" fmla="*/ 1 h 1646328"/>
                <a:gd name="connsiteX30" fmla="*/ 8885323 w 10531650"/>
                <a:gd name="connsiteY30" fmla="*/ 2 h 1646328"/>
                <a:gd name="connsiteX31" fmla="*/ 8885323 w 10531650"/>
                <a:gd name="connsiteY31" fmla="*/ 170311 h 1646328"/>
                <a:gd name="connsiteX32" fmla="*/ 8885323 w 10531650"/>
                <a:gd name="connsiteY32" fmla="*/ 1476019 h 1646328"/>
                <a:gd name="connsiteX33" fmla="*/ 7579616 w 10531650"/>
                <a:gd name="connsiteY33" fmla="*/ 1476019 h 1646328"/>
                <a:gd name="connsiteX34" fmla="*/ 7579616 w 10531650"/>
                <a:gd name="connsiteY34" fmla="*/ 2 h 1646328"/>
                <a:gd name="connsiteX35" fmla="*/ 7545457 w 10531650"/>
                <a:gd name="connsiteY35" fmla="*/ 2 h 1646328"/>
                <a:gd name="connsiteX36" fmla="*/ 7545457 w 10531650"/>
                <a:gd name="connsiteY36" fmla="*/ 1 h 1646328"/>
                <a:gd name="connsiteX37" fmla="*/ 5899130 w 10531650"/>
                <a:gd name="connsiteY37" fmla="*/ 1 h 1646328"/>
                <a:gd name="connsiteX38" fmla="*/ 5899130 w 10531650"/>
                <a:gd name="connsiteY38" fmla="*/ 2 h 1646328"/>
                <a:gd name="connsiteX39" fmla="*/ 5899130 w 10531650"/>
                <a:gd name="connsiteY39" fmla="*/ 170311 h 1646328"/>
                <a:gd name="connsiteX40" fmla="*/ 5899130 w 10531650"/>
                <a:gd name="connsiteY40" fmla="*/ 1476019 h 1646328"/>
                <a:gd name="connsiteX41" fmla="*/ 4593423 w 10531650"/>
                <a:gd name="connsiteY41" fmla="*/ 1476019 h 1646328"/>
                <a:gd name="connsiteX42" fmla="*/ 4593423 w 10531650"/>
                <a:gd name="connsiteY42" fmla="*/ 2 h 1646328"/>
                <a:gd name="connsiteX43" fmla="*/ 4566405 w 10531650"/>
                <a:gd name="connsiteY43" fmla="*/ 2 h 1646328"/>
                <a:gd name="connsiteX44" fmla="*/ 4566405 w 10531650"/>
                <a:gd name="connsiteY44" fmla="*/ 1 h 1646328"/>
                <a:gd name="connsiteX45" fmla="*/ 2920079 w 10531650"/>
                <a:gd name="connsiteY45" fmla="*/ 1 h 1646328"/>
                <a:gd name="connsiteX46" fmla="*/ 2920079 w 10531650"/>
                <a:gd name="connsiteY46" fmla="*/ 2 h 1646328"/>
                <a:gd name="connsiteX47" fmla="*/ 2920079 w 10531650"/>
                <a:gd name="connsiteY47" fmla="*/ 170311 h 1646328"/>
                <a:gd name="connsiteX48" fmla="*/ 2920079 w 10531650"/>
                <a:gd name="connsiteY48" fmla="*/ 1476019 h 1646328"/>
                <a:gd name="connsiteX49" fmla="*/ 1614372 w 10531650"/>
                <a:gd name="connsiteY49" fmla="*/ 1476019 h 1646328"/>
                <a:gd name="connsiteX50" fmla="*/ 1614372 w 10531650"/>
                <a:gd name="connsiteY50" fmla="*/ 2 h 1646328"/>
                <a:gd name="connsiteX51" fmla="*/ 1580213 w 10531650"/>
                <a:gd name="connsiteY51" fmla="*/ 2 h 1646328"/>
                <a:gd name="connsiteX52" fmla="*/ 1580213 w 10531650"/>
                <a:gd name="connsiteY52" fmla="*/ 0 h 1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531650" h="1646328">
                  <a:moveTo>
                    <a:pt x="1580213" y="0"/>
                  </a:moveTo>
                  <a:lnTo>
                    <a:pt x="0" y="0"/>
                  </a:lnTo>
                  <a:lnTo>
                    <a:pt x="0" y="158733"/>
                  </a:lnTo>
                  <a:lnTo>
                    <a:pt x="1444062" y="158733"/>
                  </a:lnTo>
                  <a:lnTo>
                    <a:pt x="1444062" y="1476019"/>
                  </a:lnTo>
                  <a:lnTo>
                    <a:pt x="1444062" y="1646328"/>
                  </a:lnTo>
                  <a:lnTo>
                    <a:pt x="1614372" y="1646328"/>
                  </a:lnTo>
                  <a:lnTo>
                    <a:pt x="2920079" y="1646328"/>
                  </a:lnTo>
                  <a:lnTo>
                    <a:pt x="3090388" y="1646328"/>
                  </a:lnTo>
                  <a:lnTo>
                    <a:pt x="3090388" y="1476019"/>
                  </a:lnTo>
                  <a:lnTo>
                    <a:pt x="3090388" y="170311"/>
                  </a:lnTo>
                  <a:lnTo>
                    <a:pt x="4423113" y="170311"/>
                  </a:lnTo>
                  <a:lnTo>
                    <a:pt x="4423113" y="1476019"/>
                  </a:lnTo>
                  <a:lnTo>
                    <a:pt x="4423113" y="1646328"/>
                  </a:lnTo>
                  <a:lnTo>
                    <a:pt x="4593423" y="1646328"/>
                  </a:lnTo>
                  <a:lnTo>
                    <a:pt x="5899130" y="1646328"/>
                  </a:lnTo>
                  <a:lnTo>
                    <a:pt x="6069440" y="1646328"/>
                  </a:lnTo>
                  <a:lnTo>
                    <a:pt x="6069440" y="1476019"/>
                  </a:lnTo>
                  <a:lnTo>
                    <a:pt x="6069440" y="170311"/>
                  </a:lnTo>
                  <a:lnTo>
                    <a:pt x="7409306" y="170311"/>
                  </a:lnTo>
                  <a:lnTo>
                    <a:pt x="7409306" y="1476019"/>
                  </a:lnTo>
                  <a:lnTo>
                    <a:pt x="7409306" y="1646328"/>
                  </a:lnTo>
                  <a:lnTo>
                    <a:pt x="7579616" y="1646328"/>
                  </a:lnTo>
                  <a:lnTo>
                    <a:pt x="8885323" y="1646328"/>
                  </a:lnTo>
                  <a:lnTo>
                    <a:pt x="9055633" y="1646328"/>
                  </a:lnTo>
                  <a:lnTo>
                    <a:pt x="9055633" y="1476019"/>
                  </a:lnTo>
                  <a:lnTo>
                    <a:pt x="9055633" y="170311"/>
                  </a:lnTo>
                  <a:lnTo>
                    <a:pt x="10531650" y="170311"/>
                  </a:lnTo>
                  <a:lnTo>
                    <a:pt x="10531650" y="1"/>
                  </a:lnTo>
                  <a:lnTo>
                    <a:pt x="8885323" y="1"/>
                  </a:lnTo>
                  <a:lnTo>
                    <a:pt x="8885323" y="2"/>
                  </a:lnTo>
                  <a:lnTo>
                    <a:pt x="8885323" y="170311"/>
                  </a:lnTo>
                  <a:lnTo>
                    <a:pt x="8885323" y="1476019"/>
                  </a:lnTo>
                  <a:lnTo>
                    <a:pt x="7579616" y="1476019"/>
                  </a:lnTo>
                  <a:lnTo>
                    <a:pt x="7579616" y="2"/>
                  </a:lnTo>
                  <a:lnTo>
                    <a:pt x="7545457" y="2"/>
                  </a:lnTo>
                  <a:lnTo>
                    <a:pt x="7545457" y="1"/>
                  </a:lnTo>
                  <a:lnTo>
                    <a:pt x="5899130" y="1"/>
                  </a:lnTo>
                  <a:lnTo>
                    <a:pt x="5899130" y="2"/>
                  </a:lnTo>
                  <a:lnTo>
                    <a:pt x="5899130" y="170311"/>
                  </a:lnTo>
                  <a:lnTo>
                    <a:pt x="5899130" y="1476019"/>
                  </a:lnTo>
                  <a:lnTo>
                    <a:pt x="4593423" y="1476019"/>
                  </a:lnTo>
                  <a:lnTo>
                    <a:pt x="4593423" y="2"/>
                  </a:lnTo>
                  <a:lnTo>
                    <a:pt x="4566405" y="2"/>
                  </a:lnTo>
                  <a:lnTo>
                    <a:pt x="4566405" y="1"/>
                  </a:lnTo>
                  <a:lnTo>
                    <a:pt x="2920079" y="1"/>
                  </a:lnTo>
                  <a:lnTo>
                    <a:pt x="2920079" y="2"/>
                  </a:lnTo>
                  <a:lnTo>
                    <a:pt x="2920079" y="170311"/>
                  </a:lnTo>
                  <a:lnTo>
                    <a:pt x="2920079" y="1476019"/>
                  </a:lnTo>
                  <a:lnTo>
                    <a:pt x="1614372" y="1476019"/>
                  </a:lnTo>
                  <a:lnTo>
                    <a:pt x="1614372" y="2"/>
                  </a:lnTo>
                  <a:lnTo>
                    <a:pt x="1580213" y="2"/>
                  </a:lnTo>
                  <a:lnTo>
                    <a:pt x="158021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US" sz="14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even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946341" y="5200454"/>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387019"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3876445"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5455115"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403707" y="192146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41773"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6891095" y="5239530"/>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4" name="Group 3">
            <a:extLst>
              <a:ext uri="{FF2B5EF4-FFF2-40B4-BE49-F238E27FC236}">
                <a16:creationId xmlns:a16="http://schemas.microsoft.com/office/drawing/2014/main" id="{585181DB-0517-9CF4-1D46-DDA0FD4A7355}"/>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34244BF1-0440-3239-7DA6-F42B5D63827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F4C481D1-8418-C98F-AC4F-5E4ED80C61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D784029-6A8D-8A7D-DEC6-C6C3324B56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2F1A9E4D-4911-9410-D310-A3422983CAA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EA2F4D4-5BAB-D558-DD75-BAA28860289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81C4EE7E-708B-9057-FB5D-08B6782D4BD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B89D785E-D607-854C-6AAD-9DCC9F5B1BD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3812396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8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Eight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2175103" y="473998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3451999" y="231449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7238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008693" y="230096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600732" y="234071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21203" y="4715355"/>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72725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 name="Freeform 3">
            <a:extLst>
              <a:ext uri="{FF2B5EF4-FFF2-40B4-BE49-F238E27FC236}">
                <a16:creationId xmlns:a16="http://schemas.microsoft.com/office/drawing/2014/main" id="{668277F2-1F1C-EF28-94A9-AEE2858B159B}"/>
              </a:ext>
            </a:extLst>
          </p:cNvPr>
          <p:cNvSpPr/>
          <p:nvPr userDrawn="1"/>
        </p:nvSpPr>
        <p:spPr>
          <a:xfrm>
            <a:off x="814558" y="2948951"/>
            <a:ext cx="10637451" cy="1404442"/>
          </a:xfrm>
          <a:custGeom>
            <a:avLst/>
            <a:gdLst>
              <a:gd name="connsiteX0" fmla="*/ 7718460 w 12578206"/>
              <a:gd name="connsiteY0" fmla="*/ 0 h 1660676"/>
              <a:gd name="connsiteX1" fmla="*/ 9378657 w 12578206"/>
              <a:gd name="connsiteY1" fmla="*/ 0 h 1660676"/>
              <a:gd name="connsiteX2" fmla="*/ 9378657 w 12578206"/>
              <a:gd name="connsiteY2" fmla="*/ 1 h 1660676"/>
              <a:gd name="connsiteX3" fmla="*/ 9378657 w 12578206"/>
              <a:gd name="connsiteY3" fmla="*/ 171745 h 1660676"/>
              <a:gd name="connsiteX4" fmla="*/ 9378657 w 12578206"/>
              <a:gd name="connsiteY4" fmla="*/ 1488454 h 1660676"/>
              <a:gd name="connsiteX5" fmla="*/ 10695364 w 12578206"/>
              <a:gd name="connsiteY5" fmla="*/ 1488454 h 1660676"/>
              <a:gd name="connsiteX6" fmla="*/ 10695364 w 12578206"/>
              <a:gd name="connsiteY6" fmla="*/ 1 h 1660676"/>
              <a:gd name="connsiteX7" fmla="*/ 10729811 w 12578206"/>
              <a:gd name="connsiteY7" fmla="*/ 1 h 1660676"/>
              <a:gd name="connsiteX8" fmla="*/ 10729811 w 12578206"/>
              <a:gd name="connsiteY8" fmla="*/ 0 h 1660676"/>
              <a:gd name="connsiteX9" fmla="*/ 12390008 w 12578206"/>
              <a:gd name="connsiteY9" fmla="*/ 0 h 1660676"/>
              <a:gd name="connsiteX10" fmla="*/ 12390008 w 12578206"/>
              <a:gd name="connsiteY10" fmla="*/ 1 h 1660676"/>
              <a:gd name="connsiteX11" fmla="*/ 12390008 w 12578206"/>
              <a:gd name="connsiteY11" fmla="*/ 171745 h 1660676"/>
              <a:gd name="connsiteX12" fmla="*/ 12390008 w 12578206"/>
              <a:gd name="connsiteY12" fmla="*/ 1488454 h 1660676"/>
              <a:gd name="connsiteX13" fmla="*/ 12578206 w 12578206"/>
              <a:gd name="connsiteY13" fmla="*/ 1488454 h 1660676"/>
              <a:gd name="connsiteX14" fmla="*/ 12578206 w 12578206"/>
              <a:gd name="connsiteY14" fmla="*/ 1660198 h 1660676"/>
              <a:gd name="connsiteX15" fmla="*/ 12390008 w 12578206"/>
              <a:gd name="connsiteY15" fmla="*/ 1660198 h 1660676"/>
              <a:gd name="connsiteX16" fmla="*/ 12218263 w 12578206"/>
              <a:gd name="connsiteY16" fmla="*/ 1660198 h 1660676"/>
              <a:gd name="connsiteX17" fmla="*/ 12218263 w 12578206"/>
              <a:gd name="connsiteY17" fmla="*/ 1488454 h 1660676"/>
              <a:gd name="connsiteX18" fmla="*/ 12218263 w 12578206"/>
              <a:gd name="connsiteY18" fmla="*/ 171745 h 1660676"/>
              <a:gd name="connsiteX19" fmla="*/ 10867109 w 12578206"/>
              <a:gd name="connsiteY19" fmla="*/ 171745 h 1660676"/>
              <a:gd name="connsiteX20" fmla="*/ 10867109 w 12578206"/>
              <a:gd name="connsiteY20" fmla="*/ 1488454 h 1660676"/>
              <a:gd name="connsiteX21" fmla="*/ 10867109 w 12578206"/>
              <a:gd name="connsiteY21" fmla="*/ 1660198 h 1660676"/>
              <a:gd name="connsiteX22" fmla="*/ 10695364 w 12578206"/>
              <a:gd name="connsiteY22" fmla="*/ 1660198 h 1660676"/>
              <a:gd name="connsiteX23" fmla="*/ 9378657 w 12578206"/>
              <a:gd name="connsiteY23" fmla="*/ 1660198 h 1660676"/>
              <a:gd name="connsiteX24" fmla="*/ 9206912 w 12578206"/>
              <a:gd name="connsiteY24" fmla="*/ 1660198 h 1660676"/>
              <a:gd name="connsiteX25" fmla="*/ 9206912 w 12578206"/>
              <a:gd name="connsiteY25" fmla="*/ 1488454 h 1660676"/>
              <a:gd name="connsiteX26" fmla="*/ 9206912 w 12578206"/>
              <a:gd name="connsiteY26" fmla="*/ 171745 h 1660676"/>
              <a:gd name="connsiteX27" fmla="*/ 7852482 w 12578206"/>
              <a:gd name="connsiteY27" fmla="*/ 171745 h 1660676"/>
              <a:gd name="connsiteX28" fmla="*/ 7852482 w 12578206"/>
              <a:gd name="connsiteY28" fmla="*/ 1488932 h 1660676"/>
              <a:gd name="connsiteX29" fmla="*/ 7852482 w 12578206"/>
              <a:gd name="connsiteY29" fmla="*/ 1660676 h 1660676"/>
              <a:gd name="connsiteX30" fmla="*/ 7680737 w 12578206"/>
              <a:gd name="connsiteY30" fmla="*/ 1660676 h 1660676"/>
              <a:gd name="connsiteX31" fmla="*/ 6364030 w 12578206"/>
              <a:gd name="connsiteY31" fmla="*/ 1660676 h 1660676"/>
              <a:gd name="connsiteX32" fmla="*/ 6192287 w 12578206"/>
              <a:gd name="connsiteY32" fmla="*/ 1660676 h 1660676"/>
              <a:gd name="connsiteX33" fmla="*/ 6192287 w 12578206"/>
              <a:gd name="connsiteY33" fmla="*/ 1488932 h 1660676"/>
              <a:gd name="connsiteX34" fmla="*/ 6192287 w 12578206"/>
              <a:gd name="connsiteY34" fmla="*/ 172223 h 1660676"/>
              <a:gd name="connsiteX35" fmla="*/ 4848333 w 12578206"/>
              <a:gd name="connsiteY35" fmla="*/ 172223 h 1660676"/>
              <a:gd name="connsiteX36" fmla="*/ 4848333 w 12578206"/>
              <a:gd name="connsiteY36" fmla="*/ 1488932 h 1660676"/>
              <a:gd name="connsiteX37" fmla="*/ 4848333 w 12578206"/>
              <a:gd name="connsiteY37" fmla="*/ 1660676 h 1660676"/>
              <a:gd name="connsiteX38" fmla="*/ 4676589 w 12578206"/>
              <a:gd name="connsiteY38" fmla="*/ 1660676 h 1660676"/>
              <a:gd name="connsiteX39" fmla="*/ 3359882 w 12578206"/>
              <a:gd name="connsiteY39" fmla="*/ 1660676 h 1660676"/>
              <a:gd name="connsiteX40" fmla="*/ 3188137 w 12578206"/>
              <a:gd name="connsiteY40" fmla="*/ 1660676 h 1660676"/>
              <a:gd name="connsiteX41" fmla="*/ 3188137 w 12578206"/>
              <a:gd name="connsiteY41" fmla="*/ 1488932 h 1660676"/>
              <a:gd name="connsiteX42" fmla="*/ 3188137 w 12578206"/>
              <a:gd name="connsiteY42" fmla="*/ 172223 h 1660676"/>
              <a:gd name="connsiteX43" fmla="*/ 1836983 w 12578206"/>
              <a:gd name="connsiteY43" fmla="*/ 172223 h 1660676"/>
              <a:gd name="connsiteX44" fmla="*/ 1836983 w 12578206"/>
              <a:gd name="connsiteY44" fmla="*/ 1488932 h 1660676"/>
              <a:gd name="connsiteX45" fmla="*/ 1836983 w 12578206"/>
              <a:gd name="connsiteY45" fmla="*/ 1660676 h 1660676"/>
              <a:gd name="connsiteX46" fmla="*/ 1665238 w 12578206"/>
              <a:gd name="connsiteY46" fmla="*/ 1660676 h 1660676"/>
              <a:gd name="connsiteX47" fmla="*/ 348532 w 12578206"/>
              <a:gd name="connsiteY47" fmla="*/ 1660676 h 1660676"/>
              <a:gd name="connsiteX48" fmla="*/ 176786 w 12578206"/>
              <a:gd name="connsiteY48" fmla="*/ 1660676 h 1660676"/>
              <a:gd name="connsiteX49" fmla="*/ 176786 w 12578206"/>
              <a:gd name="connsiteY49" fmla="*/ 1488932 h 1660676"/>
              <a:gd name="connsiteX50" fmla="*/ 176786 w 12578206"/>
              <a:gd name="connsiteY50" fmla="*/ 172223 h 1660676"/>
              <a:gd name="connsiteX51" fmla="*/ 0 w 12578206"/>
              <a:gd name="connsiteY51" fmla="*/ 172223 h 1660676"/>
              <a:gd name="connsiteX52" fmla="*/ 0 w 12578206"/>
              <a:gd name="connsiteY52" fmla="*/ 478 h 1660676"/>
              <a:gd name="connsiteX53" fmla="*/ 348532 w 12578206"/>
              <a:gd name="connsiteY53" fmla="*/ 478 h 1660676"/>
              <a:gd name="connsiteX54" fmla="*/ 348532 w 12578206"/>
              <a:gd name="connsiteY54" fmla="*/ 479 h 1660676"/>
              <a:gd name="connsiteX55" fmla="*/ 348532 w 12578206"/>
              <a:gd name="connsiteY55" fmla="*/ 172223 h 1660676"/>
              <a:gd name="connsiteX56" fmla="*/ 348532 w 12578206"/>
              <a:gd name="connsiteY56" fmla="*/ 1488932 h 1660676"/>
              <a:gd name="connsiteX57" fmla="*/ 1665238 w 12578206"/>
              <a:gd name="connsiteY57" fmla="*/ 1488932 h 1660676"/>
              <a:gd name="connsiteX58" fmla="*/ 1665238 w 12578206"/>
              <a:gd name="connsiteY58" fmla="*/ 479 h 1660676"/>
              <a:gd name="connsiteX59" fmla="*/ 1699685 w 12578206"/>
              <a:gd name="connsiteY59" fmla="*/ 479 h 1660676"/>
              <a:gd name="connsiteX60" fmla="*/ 1699685 w 12578206"/>
              <a:gd name="connsiteY60" fmla="*/ 478 h 1660676"/>
              <a:gd name="connsiteX61" fmla="*/ 3359882 w 12578206"/>
              <a:gd name="connsiteY61" fmla="*/ 478 h 1660676"/>
              <a:gd name="connsiteX62" fmla="*/ 3359882 w 12578206"/>
              <a:gd name="connsiteY62" fmla="*/ 479 h 1660676"/>
              <a:gd name="connsiteX63" fmla="*/ 3359882 w 12578206"/>
              <a:gd name="connsiteY63" fmla="*/ 172223 h 1660676"/>
              <a:gd name="connsiteX64" fmla="*/ 3359882 w 12578206"/>
              <a:gd name="connsiteY64" fmla="*/ 1488932 h 1660676"/>
              <a:gd name="connsiteX65" fmla="*/ 4676589 w 12578206"/>
              <a:gd name="connsiteY65" fmla="*/ 1488932 h 1660676"/>
              <a:gd name="connsiteX66" fmla="*/ 4676589 w 12578206"/>
              <a:gd name="connsiteY66" fmla="*/ 479 h 1660676"/>
              <a:gd name="connsiteX67" fmla="*/ 4703835 w 12578206"/>
              <a:gd name="connsiteY67" fmla="*/ 479 h 1660676"/>
              <a:gd name="connsiteX68" fmla="*/ 4703835 w 12578206"/>
              <a:gd name="connsiteY68" fmla="*/ 478 h 1660676"/>
              <a:gd name="connsiteX69" fmla="*/ 6364030 w 12578206"/>
              <a:gd name="connsiteY69" fmla="*/ 478 h 1660676"/>
              <a:gd name="connsiteX70" fmla="*/ 6364030 w 12578206"/>
              <a:gd name="connsiteY70" fmla="*/ 479 h 1660676"/>
              <a:gd name="connsiteX71" fmla="*/ 6364030 w 12578206"/>
              <a:gd name="connsiteY71" fmla="*/ 172223 h 1660676"/>
              <a:gd name="connsiteX72" fmla="*/ 6364030 w 12578206"/>
              <a:gd name="connsiteY72" fmla="*/ 1488932 h 1660676"/>
              <a:gd name="connsiteX73" fmla="*/ 7680737 w 12578206"/>
              <a:gd name="connsiteY73" fmla="*/ 1488932 h 1660676"/>
              <a:gd name="connsiteX74" fmla="*/ 7680737 w 12578206"/>
              <a:gd name="connsiteY74" fmla="*/ 479 h 1660676"/>
              <a:gd name="connsiteX75" fmla="*/ 7715184 w 12578206"/>
              <a:gd name="connsiteY75" fmla="*/ 479 h 1660676"/>
              <a:gd name="connsiteX76" fmla="*/ 7715184 w 12578206"/>
              <a:gd name="connsiteY76" fmla="*/ 477 h 1660676"/>
              <a:gd name="connsiteX77" fmla="*/ 7718460 w 12578206"/>
              <a:gd name="connsiteY77" fmla="*/ 477 h 1660676"/>
              <a:gd name="connsiteX78" fmla="*/ 7718460 w 12578206"/>
              <a:gd name="connsiteY78" fmla="*/ 0 h 16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578206" h="1660676">
                <a:moveTo>
                  <a:pt x="7718460" y="0"/>
                </a:moveTo>
                <a:lnTo>
                  <a:pt x="9378657" y="0"/>
                </a:lnTo>
                <a:lnTo>
                  <a:pt x="9378657" y="1"/>
                </a:lnTo>
                <a:lnTo>
                  <a:pt x="9378657" y="171745"/>
                </a:lnTo>
                <a:lnTo>
                  <a:pt x="9378657" y="1488454"/>
                </a:lnTo>
                <a:lnTo>
                  <a:pt x="10695364" y="1488454"/>
                </a:lnTo>
                <a:lnTo>
                  <a:pt x="10695364" y="1"/>
                </a:lnTo>
                <a:lnTo>
                  <a:pt x="10729811" y="1"/>
                </a:lnTo>
                <a:lnTo>
                  <a:pt x="10729811" y="0"/>
                </a:lnTo>
                <a:lnTo>
                  <a:pt x="12390008" y="0"/>
                </a:lnTo>
                <a:lnTo>
                  <a:pt x="12390008" y="1"/>
                </a:lnTo>
                <a:lnTo>
                  <a:pt x="12390008" y="171745"/>
                </a:lnTo>
                <a:lnTo>
                  <a:pt x="12390008" y="1488454"/>
                </a:lnTo>
                <a:lnTo>
                  <a:pt x="12578206" y="1488454"/>
                </a:lnTo>
                <a:lnTo>
                  <a:pt x="12578206" y="1660198"/>
                </a:lnTo>
                <a:lnTo>
                  <a:pt x="12390008" y="1660198"/>
                </a:lnTo>
                <a:lnTo>
                  <a:pt x="12218263" y="1660198"/>
                </a:lnTo>
                <a:lnTo>
                  <a:pt x="12218263" y="1488454"/>
                </a:lnTo>
                <a:lnTo>
                  <a:pt x="12218263" y="171745"/>
                </a:lnTo>
                <a:lnTo>
                  <a:pt x="10867109" y="171745"/>
                </a:lnTo>
                <a:lnTo>
                  <a:pt x="10867109" y="1488454"/>
                </a:lnTo>
                <a:lnTo>
                  <a:pt x="10867109" y="1660198"/>
                </a:lnTo>
                <a:lnTo>
                  <a:pt x="10695364" y="1660198"/>
                </a:lnTo>
                <a:lnTo>
                  <a:pt x="9378657" y="1660198"/>
                </a:lnTo>
                <a:lnTo>
                  <a:pt x="9206912" y="1660198"/>
                </a:lnTo>
                <a:lnTo>
                  <a:pt x="9206912" y="1488454"/>
                </a:lnTo>
                <a:lnTo>
                  <a:pt x="9206912" y="171745"/>
                </a:lnTo>
                <a:lnTo>
                  <a:pt x="7852482" y="171745"/>
                </a:lnTo>
                <a:lnTo>
                  <a:pt x="7852482" y="1488932"/>
                </a:lnTo>
                <a:lnTo>
                  <a:pt x="7852482" y="1660676"/>
                </a:lnTo>
                <a:lnTo>
                  <a:pt x="7680737" y="1660676"/>
                </a:lnTo>
                <a:lnTo>
                  <a:pt x="6364030" y="1660676"/>
                </a:lnTo>
                <a:lnTo>
                  <a:pt x="6192287" y="1660676"/>
                </a:lnTo>
                <a:lnTo>
                  <a:pt x="6192287" y="1488932"/>
                </a:lnTo>
                <a:lnTo>
                  <a:pt x="6192287" y="172223"/>
                </a:lnTo>
                <a:lnTo>
                  <a:pt x="4848333" y="172223"/>
                </a:lnTo>
                <a:lnTo>
                  <a:pt x="4848333" y="1488932"/>
                </a:lnTo>
                <a:lnTo>
                  <a:pt x="4848333" y="1660676"/>
                </a:lnTo>
                <a:lnTo>
                  <a:pt x="4676589" y="1660676"/>
                </a:lnTo>
                <a:lnTo>
                  <a:pt x="3359882" y="1660676"/>
                </a:lnTo>
                <a:lnTo>
                  <a:pt x="3188137" y="1660676"/>
                </a:lnTo>
                <a:lnTo>
                  <a:pt x="3188137" y="1488932"/>
                </a:lnTo>
                <a:lnTo>
                  <a:pt x="3188137" y="172223"/>
                </a:lnTo>
                <a:lnTo>
                  <a:pt x="1836983" y="172223"/>
                </a:lnTo>
                <a:lnTo>
                  <a:pt x="1836983" y="1488932"/>
                </a:lnTo>
                <a:lnTo>
                  <a:pt x="1836983" y="1660676"/>
                </a:lnTo>
                <a:lnTo>
                  <a:pt x="1665238" y="1660676"/>
                </a:lnTo>
                <a:lnTo>
                  <a:pt x="348532" y="1660676"/>
                </a:lnTo>
                <a:lnTo>
                  <a:pt x="176786" y="1660676"/>
                </a:lnTo>
                <a:lnTo>
                  <a:pt x="176786" y="1488932"/>
                </a:lnTo>
                <a:lnTo>
                  <a:pt x="176786" y="172223"/>
                </a:lnTo>
                <a:lnTo>
                  <a:pt x="0" y="172223"/>
                </a:lnTo>
                <a:lnTo>
                  <a:pt x="0" y="478"/>
                </a:lnTo>
                <a:lnTo>
                  <a:pt x="348532" y="478"/>
                </a:lnTo>
                <a:lnTo>
                  <a:pt x="348532" y="479"/>
                </a:lnTo>
                <a:lnTo>
                  <a:pt x="348532" y="172223"/>
                </a:lnTo>
                <a:lnTo>
                  <a:pt x="348532" y="1488932"/>
                </a:lnTo>
                <a:lnTo>
                  <a:pt x="1665238" y="1488932"/>
                </a:lnTo>
                <a:lnTo>
                  <a:pt x="1665238" y="479"/>
                </a:lnTo>
                <a:lnTo>
                  <a:pt x="1699685" y="479"/>
                </a:lnTo>
                <a:lnTo>
                  <a:pt x="1699685" y="478"/>
                </a:lnTo>
                <a:lnTo>
                  <a:pt x="3359882" y="478"/>
                </a:lnTo>
                <a:lnTo>
                  <a:pt x="3359882" y="479"/>
                </a:lnTo>
                <a:lnTo>
                  <a:pt x="3359882" y="172223"/>
                </a:lnTo>
                <a:lnTo>
                  <a:pt x="3359882" y="1488932"/>
                </a:lnTo>
                <a:lnTo>
                  <a:pt x="4676589" y="1488932"/>
                </a:lnTo>
                <a:lnTo>
                  <a:pt x="4676589" y="479"/>
                </a:lnTo>
                <a:lnTo>
                  <a:pt x="4703835" y="479"/>
                </a:lnTo>
                <a:lnTo>
                  <a:pt x="4703835" y="478"/>
                </a:lnTo>
                <a:lnTo>
                  <a:pt x="6364030" y="478"/>
                </a:lnTo>
                <a:lnTo>
                  <a:pt x="6364030" y="479"/>
                </a:lnTo>
                <a:lnTo>
                  <a:pt x="6364030" y="172223"/>
                </a:lnTo>
                <a:lnTo>
                  <a:pt x="6364030" y="1488932"/>
                </a:lnTo>
                <a:lnTo>
                  <a:pt x="7680737" y="1488932"/>
                </a:lnTo>
                <a:lnTo>
                  <a:pt x="7680737" y="479"/>
                </a:lnTo>
                <a:lnTo>
                  <a:pt x="7715184" y="479"/>
                </a:lnTo>
                <a:lnTo>
                  <a:pt x="7715184" y="477"/>
                </a:lnTo>
                <a:lnTo>
                  <a:pt x="7718460" y="477"/>
                </a:lnTo>
                <a:lnTo>
                  <a:pt x="771846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grpSp>
        <p:nvGrpSpPr>
          <p:cNvPr id="6" name="Group 5">
            <a:extLst>
              <a:ext uri="{FF2B5EF4-FFF2-40B4-BE49-F238E27FC236}">
                <a16:creationId xmlns:a16="http://schemas.microsoft.com/office/drawing/2014/main" id="{7FCA0E93-B28A-997E-D36D-AFC0F539C981}"/>
              </a:ext>
            </a:extLst>
          </p:cNvPr>
          <p:cNvGrpSpPr/>
          <p:nvPr/>
        </p:nvGrpSpPr>
        <p:grpSpPr>
          <a:xfrm>
            <a:off x="1227642" y="2681139"/>
            <a:ext cx="864694" cy="1422530"/>
            <a:chOff x="2669593" y="2653019"/>
            <a:chExt cx="919869" cy="1513298"/>
          </a:xfrm>
        </p:grpSpPr>
        <p:cxnSp>
          <p:nvCxnSpPr>
            <p:cNvPr id="8" name="Straight Connector 7">
              <a:extLst>
                <a:ext uri="{FF2B5EF4-FFF2-40B4-BE49-F238E27FC236}">
                  <a16:creationId xmlns:a16="http://schemas.microsoft.com/office/drawing/2014/main" id="{15887902-B131-DB9C-5461-94303A6EECD9}"/>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3FE352B-CBCB-809D-2E1F-E7972095F173}"/>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11" name="Group 10">
            <a:extLst>
              <a:ext uri="{FF2B5EF4-FFF2-40B4-BE49-F238E27FC236}">
                <a16:creationId xmlns:a16="http://schemas.microsoft.com/office/drawing/2014/main" id="{4D4BB7EC-DE11-CC95-4FC6-F1350BC9CA08}"/>
              </a:ext>
            </a:extLst>
          </p:cNvPr>
          <p:cNvGrpSpPr/>
          <p:nvPr/>
        </p:nvGrpSpPr>
        <p:grpSpPr>
          <a:xfrm>
            <a:off x="2523486" y="3238973"/>
            <a:ext cx="864694" cy="1482129"/>
            <a:chOff x="4146576" y="3246448"/>
            <a:chExt cx="919869" cy="1576701"/>
          </a:xfrm>
        </p:grpSpPr>
        <p:cxnSp>
          <p:nvCxnSpPr>
            <p:cNvPr id="13" name="Straight Connector 12">
              <a:extLst>
                <a:ext uri="{FF2B5EF4-FFF2-40B4-BE49-F238E27FC236}">
                  <a16:creationId xmlns:a16="http://schemas.microsoft.com/office/drawing/2014/main" id="{2783499A-9423-70A3-C363-40ABB129A1E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00E3F24-8805-8455-8689-088FC12079A1}"/>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17" name="Group 16">
            <a:extLst>
              <a:ext uri="{FF2B5EF4-FFF2-40B4-BE49-F238E27FC236}">
                <a16:creationId xmlns:a16="http://schemas.microsoft.com/office/drawing/2014/main" id="{76718C39-BD7B-2C3C-677A-09F994F93372}"/>
              </a:ext>
            </a:extLst>
          </p:cNvPr>
          <p:cNvGrpSpPr/>
          <p:nvPr/>
        </p:nvGrpSpPr>
        <p:grpSpPr>
          <a:xfrm>
            <a:off x="3781651" y="2682482"/>
            <a:ext cx="864694" cy="1422530"/>
            <a:chOff x="2669593" y="2653019"/>
            <a:chExt cx="919869" cy="1513298"/>
          </a:xfrm>
        </p:grpSpPr>
        <p:cxnSp>
          <p:nvCxnSpPr>
            <p:cNvPr id="19" name="Straight Connector 18">
              <a:extLst>
                <a:ext uri="{FF2B5EF4-FFF2-40B4-BE49-F238E27FC236}">
                  <a16:creationId xmlns:a16="http://schemas.microsoft.com/office/drawing/2014/main" id="{53814B1F-5D6E-0AA6-9E94-EAAE55DC6687}"/>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1719B15D-94F7-5627-AEC9-3C0E1F75FC31}"/>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2" name="Group 21">
            <a:extLst>
              <a:ext uri="{FF2B5EF4-FFF2-40B4-BE49-F238E27FC236}">
                <a16:creationId xmlns:a16="http://schemas.microsoft.com/office/drawing/2014/main" id="{3B871118-90DE-CA38-DC71-12CFC3C5B8D7}"/>
              </a:ext>
            </a:extLst>
          </p:cNvPr>
          <p:cNvGrpSpPr/>
          <p:nvPr/>
        </p:nvGrpSpPr>
        <p:grpSpPr>
          <a:xfrm>
            <a:off x="5062821" y="3238974"/>
            <a:ext cx="864694" cy="1482129"/>
            <a:chOff x="4146576" y="3246448"/>
            <a:chExt cx="919869" cy="1576701"/>
          </a:xfrm>
        </p:grpSpPr>
        <p:cxnSp>
          <p:nvCxnSpPr>
            <p:cNvPr id="47" name="Straight Connector 46">
              <a:extLst>
                <a:ext uri="{FF2B5EF4-FFF2-40B4-BE49-F238E27FC236}">
                  <a16:creationId xmlns:a16="http://schemas.microsoft.com/office/drawing/2014/main" id="{495DCF87-87B2-8F50-40F7-CA5612A3983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3983F6B-A73B-C0DF-BB95-8888A5EC2404}"/>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51" name="Group 50">
            <a:extLst>
              <a:ext uri="{FF2B5EF4-FFF2-40B4-BE49-F238E27FC236}">
                <a16:creationId xmlns:a16="http://schemas.microsoft.com/office/drawing/2014/main" id="{83F90F72-4149-6659-2D82-3D90403F8BC9}"/>
              </a:ext>
            </a:extLst>
          </p:cNvPr>
          <p:cNvGrpSpPr/>
          <p:nvPr/>
        </p:nvGrpSpPr>
        <p:grpSpPr>
          <a:xfrm>
            <a:off x="6338345" y="2679794"/>
            <a:ext cx="864694" cy="1422530"/>
            <a:chOff x="2669593" y="2653019"/>
            <a:chExt cx="919869" cy="1513298"/>
          </a:xfrm>
        </p:grpSpPr>
        <p:cxnSp>
          <p:nvCxnSpPr>
            <p:cNvPr id="53" name="Straight Connector 52">
              <a:extLst>
                <a:ext uri="{FF2B5EF4-FFF2-40B4-BE49-F238E27FC236}">
                  <a16:creationId xmlns:a16="http://schemas.microsoft.com/office/drawing/2014/main" id="{763DD368-A764-C172-7A15-C8BE15A8171D}"/>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949A3E6B-2C0C-5365-C237-D31DE59313FC}"/>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56" name="Group 55">
            <a:extLst>
              <a:ext uri="{FF2B5EF4-FFF2-40B4-BE49-F238E27FC236}">
                <a16:creationId xmlns:a16="http://schemas.microsoft.com/office/drawing/2014/main" id="{55C37AC7-D208-A0A0-A3CB-5447A0228A97}"/>
              </a:ext>
            </a:extLst>
          </p:cNvPr>
          <p:cNvGrpSpPr/>
          <p:nvPr/>
        </p:nvGrpSpPr>
        <p:grpSpPr>
          <a:xfrm>
            <a:off x="8892353" y="2684309"/>
            <a:ext cx="864694" cy="1422530"/>
            <a:chOff x="2669593" y="2653019"/>
            <a:chExt cx="919869" cy="1513298"/>
          </a:xfrm>
        </p:grpSpPr>
        <p:cxnSp>
          <p:nvCxnSpPr>
            <p:cNvPr id="58" name="Straight Connector 57">
              <a:extLst>
                <a:ext uri="{FF2B5EF4-FFF2-40B4-BE49-F238E27FC236}">
                  <a16:creationId xmlns:a16="http://schemas.microsoft.com/office/drawing/2014/main" id="{2444A611-3D41-150D-7D61-D3C45A26A4A3}"/>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750D4A48-F97C-71AA-15BF-D875DF537C29}"/>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grpSp>
        <p:nvGrpSpPr>
          <p:cNvPr id="61" name="Group 60">
            <a:extLst>
              <a:ext uri="{FF2B5EF4-FFF2-40B4-BE49-F238E27FC236}">
                <a16:creationId xmlns:a16="http://schemas.microsoft.com/office/drawing/2014/main" id="{4A086D71-21EB-43DF-4DC5-E753E96A481B}"/>
              </a:ext>
            </a:extLst>
          </p:cNvPr>
          <p:cNvGrpSpPr/>
          <p:nvPr/>
        </p:nvGrpSpPr>
        <p:grpSpPr>
          <a:xfrm>
            <a:off x="7602155" y="3237629"/>
            <a:ext cx="864694" cy="1482129"/>
            <a:chOff x="4146576" y="3246448"/>
            <a:chExt cx="919869" cy="1576701"/>
          </a:xfrm>
        </p:grpSpPr>
        <p:cxnSp>
          <p:nvCxnSpPr>
            <p:cNvPr id="63" name="Straight Connector 62">
              <a:extLst>
                <a:ext uri="{FF2B5EF4-FFF2-40B4-BE49-F238E27FC236}">
                  <a16:creationId xmlns:a16="http://schemas.microsoft.com/office/drawing/2014/main" id="{1874BD61-F3D4-2F55-6837-55F7CC58219B}"/>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E22AC0A1-01F3-D3BE-0ACD-DED203613837}"/>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66" name="Group 65">
            <a:extLst>
              <a:ext uri="{FF2B5EF4-FFF2-40B4-BE49-F238E27FC236}">
                <a16:creationId xmlns:a16="http://schemas.microsoft.com/office/drawing/2014/main" id="{844E8475-0FBA-E68B-AE48-6FA65F6FF123}"/>
              </a:ext>
            </a:extLst>
          </p:cNvPr>
          <p:cNvGrpSpPr/>
          <p:nvPr/>
        </p:nvGrpSpPr>
        <p:grpSpPr>
          <a:xfrm>
            <a:off x="10150855" y="3237630"/>
            <a:ext cx="864694" cy="1482129"/>
            <a:chOff x="4146576" y="3246448"/>
            <a:chExt cx="919869" cy="1576701"/>
          </a:xfrm>
        </p:grpSpPr>
        <p:cxnSp>
          <p:nvCxnSpPr>
            <p:cNvPr id="68" name="Straight Connector 67">
              <a:extLst>
                <a:ext uri="{FF2B5EF4-FFF2-40B4-BE49-F238E27FC236}">
                  <a16:creationId xmlns:a16="http://schemas.microsoft.com/office/drawing/2014/main" id="{DABC56D4-8F58-F9A4-DD96-8185052F3D39}"/>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0CDC126-FDA6-7A89-7B26-DD25F805A37E}"/>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8</a:t>
              </a:r>
            </a:p>
          </p:txBody>
        </p:sp>
      </p:grpSp>
      <p:sp>
        <p:nvSpPr>
          <p:cNvPr id="70" name="Text Placeholder 5">
            <a:extLst>
              <a:ext uri="{FF2B5EF4-FFF2-40B4-BE49-F238E27FC236}">
                <a16:creationId xmlns:a16="http://schemas.microsoft.com/office/drawing/2014/main" id="{80C2AF0D-8AE2-6410-1D8C-8F6F65D41572}"/>
              </a:ext>
            </a:extLst>
          </p:cNvPr>
          <p:cNvSpPr>
            <a:spLocks noGrp="1"/>
          </p:cNvSpPr>
          <p:nvPr>
            <p:ph type="body" sz="quarter" idx="30" hasCustomPrompt="1"/>
          </p:nvPr>
        </p:nvSpPr>
        <p:spPr>
          <a:xfrm>
            <a:off x="897990" y="2290890"/>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grpSp>
        <p:nvGrpSpPr>
          <p:cNvPr id="5" name="Group 4">
            <a:extLst>
              <a:ext uri="{FF2B5EF4-FFF2-40B4-BE49-F238E27FC236}">
                <a16:creationId xmlns:a16="http://schemas.microsoft.com/office/drawing/2014/main" id="{8D1A135C-122C-D4E9-0E4C-0B7752CCA1FA}"/>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26DFB05C-C398-934E-1579-37FBEA54A2A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11">
              <a:extLst>
                <a:ext uri="{FF2B5EF4-FFF2-40B4-BE49-F238E27FC236}">
                  <a16:creationId xmlns:a16="http://schemas.microsoft.com/office/drawing/2014/main" id="{9C6B55DA-1A14-9140-7336-3FA4B70871F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9FF6D5C5-946A-6EE3-2611-9FC465C1F6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02DDF947-CD3E-4F5D-33BF-940C453A3A8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9">
              <a:extLst>
                <a:ext uri="{FF2B5EF4-FFF2-40B4-BE49-F238E27FC236}">
                  <a16:creationId xmlns:a16="http://schemas.microsoft.com/office/drawing/2014/main" id="{DD295D2C-E8F1-4A69-21EF-CBF88CCBC85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EC07E15-5621-D582-B746-ED160407E2B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3" name="Freeform 23">
              <a:extLst>
                <a:ext uri="{FF2B5EF4-FFF2-40B4-BE49-F238E27FC236}">
                  <a16:creationId xmlns:a16="http://schemas.microsoft.com/office/drawing/2014/main" id="{EDA4967B-6C72-903E-9C58-C05AB3465B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36902295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hre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87" name="Group 86">
            <a:extLst>
              <a:ext uri="{FF2B5EF4-FFF2-40B4-BE49-F238E27FC236}">
                <a16:creationId xmlns:a16="http://schemas.microsoft.com/office/drawing/2014/main" id="{50E56023-7719-78BB-85BC-7730790FC20C}"/>
              </a:ext>
            </a:extLst>
          </p:cNvPr>
          <p:cNvGrpSpPr/>
          <p:nvPr userDrawn="1">
            <p:custDataLst>
              <p:tags r:id="rId1"/>
            </p:custDataLst>
          </p:nvPr>
        </p:nvGrpSpPr>
        <p:grpSpPr>
          <a:xfrm>
            <a:off x="815975" y="2176588"/>
            <a:ext cx="10620375" cy="3405067"/>
            <a:chOff x="550862" y="2343533"/>
            <a:chExt cx="11090275" cy="3555725"/>
          </a:xfrm>
        </p:grpSpPr>
        <p:grpSp>
          <p:nvGrpSpPr>
            <p:cNvPr id="89" name="Group 88">
              <a:extLst>
                <a:ext uri="{FF2B5EF4-FFF2-40B4-BE49-F238E27FC236}">
                  <a16:creationId xmlns:a16="http://schemas.microsoft.com/office/drawing/2014/main" id="{9B5124E5-19AE-DA52-930A-A4692BB47E1C}"/>
                </a:ext>
              </a:extLst>
            </p:cNvPr>
            <p:cNvGrpSpPr/>
            <p:nvPr/>
          </p:nvGrpSpPr>
          <p:grpSpPr>
            <a:xfrm>
              <a:off x="550862" y="2358059"/>
              <a:ext cx="3541199" cy="3541199"/>
              <a:chOff x="1703512" y="3068960"/>
              <a:chExt cx="2709172" cy="2709172"/>
            </a:xfrm>
          </p:grpSpPr>
          <p:sp>
            <p:nvSpPr>
              <p:cNvPr id="96" name="Oval 95">
                <a:extLst>
                  <a:ext uri="{FF2B5EF4-FFF2-40B4-BE49-F238E27FC236}">
                    <a16:creationId xmlns:a16="http://schemas.microsoft.com/office/drawing/2014/main" id="{3CEFFC78-F999-B9E9-284C-1586DE438559}"/>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7" name="Freeform 96">
                <a:extLst>
                  <a:ext uri="{FF2B5EF4-FFF2-40B4-BE49-F238E27FC236}">
                    <a16:creationId xmlns:a16="http://schemas.microsoft.com/office/drawing/2014/main" id="{F200F3B7-231C-CF34-2CA2-8A84E014C522}"/>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90" name="Group 89">
              <a:extLst>
                <a:ext uri="{FF2B5EF4-FFF2-40B4-BE49-F238E27FC236}">
                  <a16:creationId xmlns:a16="http://schemas.microsoft.com/office/drawing/2014/main" id="{8889A68D-427E-E597-7251-1E596CA65F6A}"/>
                </a:ext>
              </a:extLst>
            </p:cNvPr>
            <p:cNvGrpSpPr/>
            <p:nvPr/>
          </p:nvGrpSpPr>
          <p:grpSpPr>
            <a:xfrm>
              <a:off x="8099938" y="2343533"/>
              <a:ext cx="3541199" cy="3541199"/>
              <a:chOff x="7752184" y="3067326"/>
              <a:chExt cx="2709172" cy="2709172"/>
            </a:xfrm>
          </p:grpSpPr>
          <p:sp>
            <p:nvSpPr>
              <p:cNvPr id="94" name="Oval 93">
                <a:extLst>
                  <a:ext uri="{FF2B5EF4-FFF2-40B4-BE49-F238E27FC236}">
                    <a16:creationId xmlns:a16="http://schemas.microsoft.com/office/drawing/2014/main" id="{E7BD4974-D5AD-D84B-1F11-D314C9109668}"/>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5" name="Freeform 94">
                <a:extLst>
                  <a:ext uri="{FF2B5EF4-FFF2-40B4-BE49-F238E27FC236}">
                    <a16:creationId xmlns:a16="http://schemas.microsoft.com/office/drawing/2014/main" id="{27B03874-91AD-B269-95FE-1E134C35D8D7}"/>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91" name="Group 90">
              <a:extLst>
                <a:ext uri="{FF2B5EF4-FFF2-40B4-BE49-F238E27FC236}">
                  <a16:creationId xmlns:a16="http://schemas.microsoft.com/office/drawing/2014/main" id="{32D3E273-5904-BD92-0B59-1488F79E5EE9}"/>
                </a:ext>
              </a:extLst>
            </p:cNvPr>
            <p:cNvGrpSpPr/>
            <p:nvPr/>
          </p:nvGrpSpPr>
          <p:grpSpPr>
            <a:xfrm>
              <a:off x="4325401" y="2343533"/>
              <a:ext cx="3541199" cy="3541199"/>
              <a:chOff x="4741414" y="1689100"/>
              <a:chExt cx="2709172" cy="2709172"/>
            </a:xfrm>
          </p:grpSpPr>
          <p:sp>
            <p:nvSpPr>
              <p:cNvPr id="92" name="Oval 91">
                <a:extLst>
                  <a:ext uri="{FF2B5EF4-FFF2-40B4-BE49-F238E27FC236}">
                    <a16:creationId xmlns:a16="http://schemas.microsoft.com/office/drawing/2014/main" id="{4FF66ECD-E019-AC11-782A-DAB7773AFFE9}"/>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3" name="Freeform 92">
                <a:extLst>
                  <a:ext uri="{FF2B5EF4-FFF2-40B4-BE49-F238E27FC236}">
                    <a16:creationId xmlns:a16="http://schemas.microsoft.com/office/drawing/2014/main" id="{27F9B042-AC97-3CE9-DA82-2DB42A1DCF15}"/>
                  </a:ext>
                </a:extLst>
              </p:cNvPr>
              <p:cNvSpPr/>
              <p:nvPr/>
            </p:nvSpPr>
            <p:spPr>
              <a:xfrm>
                <a:off x="4741448" y="2161629"/>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sp>
        <p:nvSpPr>
          <p:cNvPr id="98" name="Text Placeholder 49">
            <a:extLst>
              <a:ext uri="{FF2B5EF4-FFF2-40B4-BE49-F238E27FC236}">
                <a16:creationId xmlns:a16="http://schemas.microsoft.com/office/drawing/2014/main" id="{571D4D14-23F8-A182-5746-3F1ADFDFB4BB}"/>
              </a:ext>
            </a:extLst>
          </p:cNvPr>
          <p:cNvSpPr>
            <a:spLocks noGrp="1"/>
          </p:cNvSpPr>
          <p:nvPr>
            <p:ph type="body" sz="quarter" idx="74" hasCustomPrompt="1"/>
          </p:nvPr>
        </p:nvSpPr>
        <p:spPr>
          <a:xfrm>
            <a:off x="1735438"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99" name="Text Placeholder 49">
            <a:extLst>
              <a:ext uri="{FF2B5EF4-FFF2-40B4-BE49-F238E27FC236}">
                <a16:creationId xmlns:a16="http://schemas.microsoft.com/office/drawing/2014/main" id="{61D7CD2D-2E4B-A9CA-3740-93238B8F6E0C}"/>
              </a:ext>
            </a:extLst>
          </p:cNvPr>
          <p:cNvSpPr>
            <a:spLocks noGrp="1"/>
          </p:cNvSpPr>
          <p:nvPr>
            <p:ph type="body" sz="quarter" idx="75" hasCustomPrompt="1"/>
          </p:nvPr>
        </p:nvSpPr>
        <p:spPr>
          <a:xfrm>
            <a:off x="1735438"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0" name="Text Placeholder 49">
            <a:extLst>
              <a:ext uri="{FF2B5EF4-FFF2-40B4-BE49-F238E27FC236}">
                <a16:creationId xmlns:a16="http://schemas.microsoft.com/office/drawing/2014/main" id="{40713DBB-91D0-E556-A262-B28C61D1B570}"/>
              </a:ext>
            </a:extLst>
          </p:cNvPr>
          <p:cNvSpPr>
            <a:spLocks noGrp="1"/>
          </p:cNvSpPr>
          <p:nvPr>
            <p:ph type="body" sz="quarter" idx="76" hasCustomPrompt="1"/>
          </p:nvPr>
        </p:nvSpPr>
        <p:spPr>
          <a:xfrm>
            <a:off x="5334000" y="3205117"/>
            <a:ext cx="2226962" cy="238235"/>
          </a:xfrm>
        </p:spPr>
        <p:txBody>
          <a:bodyPr>
            <a:noAutofit/>
          </a:bodyPr>
          <a:lstStyle>
            <a:lvl1pPr algn="ctr">
              <a:defRPr sz="1600" b="1">
                <a:solidFill>
                  <a:schemeClr val="bg1"/>
                </a:solidFill>
              </a:defRPr>
            </a:lvl1pPr>
          </a:lstStyle>
          <a:p>
            <a:pPr lvl="0"/>
            <a:r>
              <a:rPr lang="en-US"/>
              <a:t>Lorem ipsum dolor</a:t>
            </a:r>
          </a:p>
        </p:txBody>
      </p:sp>
      <p:sp>
        <p:nvSpPr>
          <p:cNvPr id="101" name="Text Placeholder 49">
            <a:extLst>
              <a:ext uri="{FF2B5EF4-FFF2-40B4-BE49-F238E27FC236}">
                <a16:creationId xmlns:a16="http://schemas.microsoft.com/office/drawing/2014/main" id="{4D8D3453-DCDE-4E0A-ABE9-8F36EBAEC565}"/>
              </a:ext>
            </a:extLst>
          </p:cNvPr>
          <p:cNvSpPr>
            <a:spLocks noGrp="1"/>
          </p:cNvSpPr>
          <p:nvPr>
            <p:ph type="body" sz="quarter" idx="77" hasCustomPrompt="1"/>
          </p:nvPr>
        </p:nvSpPr>
        <p:spPr>
          <a:xfrm>
            <a:off x="5334000" y="3542889"/>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4" name="Text Placeholder 49">
            <a:extLst>
              <a:ext uri="{FF2B5EF4-FFF2-40B4-BE49-F238E27FC236}">
                <a16:creationId xmlns:a16="http://schemas.microsoft.com/office/drawing/2014/main" id="{304B3A9C-00C5-4F52-D60C-4A81421CB60B}"/>
              </a:ext>
            </a:extLst>
          </p:cNvPr>
          <p:cNvSpPr>
            <a:spLocks noGrp="1"/>
          </p:cNvSpPr>
          <p:nvPr>
            <p:ph type="body" sz="quarter" idx="78" hasCustomPrompt="1"/>
          </p:nvPr>
        </p:nvSpPr>
        <p:spPr>
          <a:xfrm>
            <a:off x="8942757"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105" name="Text Placeholder 49">
            <a:extLst>
              <a:ext uri="{FF2B5EF4-FFF2-40B4-BE49-F238E27FC236}">
                <a16:creationId xmlns:a16="http://schemas.microsoft.com/office/drawing/2014/main" id="{E8FD661D-D294-B74D-94DC-537FCE5703D9}"/>
              </a:ext>
            </a:extLst>
          </p:cNvPr>
          <p:cNvSpPr>
            <a:spLocks noGrp="1"/>
          </p:cNvSpPr>
          <p:nvPr>
            <p:ph type="body" sz="quarter" idx="79" hasCustomPrompt="1"/>
          </p:nvPr>
        </p:nvSpPr>
        <p:spPr>
          <a:xfrm>
            <a:off x="8942757"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387020183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Four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5D568D05-1CC6-BDC6-29AB-4A636DF99405}"/>
              </a:ext>
            </a:extLst>
          </p:cNvPr>
          <p:cNvGrpSpPr/>
          <p:nvPr userDrawn="1">
            <p:custDataLst>
              <p:tags r:id="rId1"/>
            </p:custDataLst>
          </p:nvPr>
        </p:nvGrpSpPr>
        <p:grpSpPr>
          <a:xfrm>
            <a:off x="815976" y="2829010"/>
            <a:ext cx="10628834" cy="2596719"/>
            <a:chOff x="550863" y="2716558"/>
            <a:chExt cx="11089125" cy="2709172"/>
          </a:xfrm>
        </p:grpSpPr>
        <p:grpSp>
          <p:nvGrpSpPr>
            <p:cNvPr id="9" name="Group 8">
              <a:extLst>
                <a:ext uri="{FF2B5EF4-FFF2-40B4-BE49-F238E27FC236}">
                  <a16:creationId xmlns:a16="http://schemas.microsoft.com/office/drawing/2014/main" id="{C30DD33B-3EEF-F253-8DB3-68D80676032E}"/>
                </a:ext>
              </a:extLst>
            </p:cNvPr>
            <p:cNvGrpSpPr/>
            <p:nvPr/>
          </p:nvGrpSpPr>
          <p:grpSpPr>
            <a:xfrm>
              <a:off x="550863" y="2716558"/>
              <a:ext cx="2709172" cy="2709172"/>
              <a:chOff x="1703512" y="3068960"/>
              <a:chExt cx="2709172" cy="2709172"/>
            </a:xfrm>
          </p:grpSpPr>
          <p:sp>
            <p:nvSpPr>
              <p:cNvPr id="25" name="Oval 24">
                <a:extLst>
                  <a:ext uri="{FF2B5EF4-FFF2-40B4-BE49-F238E27FC236}">
                    <a16:creationId xmlns:a16="http://schemas.microsoft.com/office/drawing/2014/main" id="{C9309ADA-466F-AEF4-2CB9-01E4D033B368}"/>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6" name="Freeform 25">
                <a:extLst>
                  <a:ext uri="{FF2B5EF4-FFF2-40B4-BE49-F238E27FC236}">
                    <a16:creationId xmlns:a16="http://schemas.microsoft.com/office/drawing/2014/main" id="{52D71E61-B86C-E54E-F05A-83882E3F5561}"/>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10" name="Group 9">
              <a:extLst>
                <a:ext uri="{FF2B5EF4-FFF2-40B4-BE49-F238E27FC236}">
                  <a16:creationId xmlns:a16="http://schemas.microsoft.com/office/drawing/2014/main" id="{779E4D83-E09A-D84B-2C85-B11FBCB242AA}"/>
                </a:ext>
              </a:extLst>
            </p:cNvPr>
            <p:cNvGrpSpPr/>
            <p:nvPr/>
          </p:nvGrpSpPr>
          <p:grpSpPr>
            <a:xfrm>
              <a:off x="6137499" y="2716558"/>
              <a:ext cx="2709172" cy="2709172"/>
              <a:chOff x="7752184" y="3067326"/>
              <a:chExt cx="2709172" cy="2709172"/>
            </a:xfrm>
          </p:grpSpPr>
          <p:sp>
            <p:nvSpPr>
              <p:cNvPr id="23" name="Oval 22">
                <a:extLst>
                  <a:ext uri="{FF2B5EF4-FFF2-40B4-BE49-F238E27FC236}">
                    <a16:creationId xmlns:a16="http://schemas.microsoft.com/office/drawing/2014/main" id="{5368A6CA-F3FD-7E61-8070-899BE43203CD}"/>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5A487362-9377-9271-3B80-A8A9842B5232}"/>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16" name="Group 15">
              <a:extLst>
                <a:ext uri="{FF2B5EF4-FFF2-40B4-BE49-F238E27FC236}">
                  <a16:creationId xmlns:a16="http://schemas.microsoft.com/office/drawing/2014/main" id="{423E33F0-3799-1D35-77A5-926C78E45F30}"/>
                </a:ext>
              </a:extLst>
            </p:cNvPr>
            <p:cNvGrpSpPr/>
            <p:nvPr/>
          </p:nvGrpSpPr>
          <p:grpSpPr>
            <a:xfrm>
              <a:off x="3344181" y="2716558"/>
              <a:ext cx="2709172" cy="2709172"/>
              <a:chOff x="4741414" y="1689100"/>
              <a:chExt cx="2709172" cy="2709172"/>
            </a:xfrm>
          </p:grpSpPr>
          <p:sp>
            <p:nvSpPr>
              <p:cNvPr id="21" name="Oval 20">
                <a:extLst>
                  <a:ext uri="{FF2B5EF4-FFF2-40B4-BE49-F238E27FC236}">
                    <a16:creationId xmlns:a16="http://schemas.microsoft.com/office/drawing/2014/main" id="{E609FEA0-889D-8AED-4CFE-635C53665FDE}"/>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B1EA09F2-0C0B-80F1-3032-B48287307B4E}"/>
                  </a:ext>
                </a:extLst>
              </p:cNvPr>
              <p:cNvSpPr/>
              <p:nvPr/>
            </p:nvSpPr>
            <p:spPr>
              <a:xfrm>
                <a:off x="4744419" y="215646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nvGrpSpPr>
            <p:cNvPr id="17" name="Group 16">
              <a:extLst>
                <a:ext uri="{FF2B5EF4-FFF2-40B4-BE49-F238E27FC236}">
                  <a16:creationId xmlns:a16="http://schemas.microsoft.com/office/drawing/2014/main" id="{E2F105EF-152C-3194-0777-0A279C93C7BE}"/>
                </a:ext>
              </a:extLst>
            </p:cNvPr>
            <p:cNvGrpSpPr/>
            <p:nvPr/>
          </p:nvGrpSpPr>
          <p:grpSpPr>
            <a:xfrm>
              <a:off x="8930518" y="2716558"/>
              <a:ext cx="2709470" cy="2709172"/>
              <a:chOff x="4741116" y="1689100"/>
              <a:chExt cx="2709470" cy="2709172"/>
            </a:xfrm>
          </p:grpSpPr>
          <p:sp>
            <p:nvSpPr>
              <p:cNvPr id="18" name="Oval 17">
                <a:extLst>
                  <a:ext uri="{FF2B5EF4-FFF2-40B4-BE49-F238E27FC236}">
                    <a16:creationId xmlns:a16="http://schemas.microsoft.com/office/drawing/2014/main" id="{A100FDDA-2572-60E9-0A12-5E112C5AA870}"/>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B3760E66-B127-49B2-CF3C-B1805C7CEAB3}"/>
                  </a:ext>
                </a:extLst>
              </p:cNvPr>
              <p:cNvSpPr/>
              <p:nvPr/>
            </p:nvSpPr>
            <p:spPr>
              <a:xfrm>
                <a:off x="4741116" y="215739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grpSp>
      </p:grpSp>
      <p:sp>
        <p:nvSpPr>
          <p:cNvPr id="27" name="Text Placeholder 49">
            <a:extLst>
              <a:ext uri="{FF2B5EF4-FFF2-40B4-BE49-F238E27FC236}">
                <a16:creationId xmlns:a16="http://schemas.microsoft.com/office/drawing/2014/main" id="{6CA232C7-5965-4D0B-55C5-AB6D6B6C194A}"/>
              </a:ext>
            </a:extLst>
          </p:cNvPr>
          <p:cNvSpPr>
            <a:spLocks noGrp="1"/>
          </p:cNvSpPr>
          <p:nvPr>
            <p:ph type="body" sz="quarter" idx="74" hasCustomPrompt="1"/>
          </p:nvPr>
        </p:nvSpPr>
        <p:spPr>
          <a:xfrm>
            <a:off x="1522611"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FE9ECF06-0C21-57F1-EB90-E10C31D88A18}"/>
              </a:ext>
            </a:extLst>
          </p:cNvPr>
          <p:cNvSpPr>
            <a:spLocks noGrp="1"/>
          </p:cNvSpPr>
          <p:nvPr>
            <p:ph type="body" sz="quarter" idx="75" hasCustomPrompt="1"/>
          </p:nvPr>
        </p:nvSpPr>
        <p:spPr>
          <a:xfrm>
            <a:off x="1522611"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9ABF9AD9-B7D5-53F3-E223-B3FC95C80D58}"/>
              </a:ext>
            </a:extLst>
          </p:cNvPr>
          <p:cNvSpPr>
            <a:spLocks noGrp="1"/>
          </p:cNvSpPr>
          <p:nvPr>
            <p:ph type="body" sz="quarter" idx="76" hasCustomPrompt="1"/>
          </p:nvPr>
        </p:nvSpPr>
        <p:spPr>
          <a:xfrm>
            <a:off x="4207072"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EB175A93-5B2A-B2A1-ADA0-BDF90303EF4E}"/>
              </a:ext>
            </a:extLst>
          </p:cNvPr>
          <p:cNvSpPr>
            <a:spLocks noGrp="1"/>
          </p:cNvSpPr>
          <p:nvPr>
            <p:ph type="body" sz="quarter" idx="77" hasCustomPrompt="1"/>
          </p:nvPr>
        </p:nvSpPr>
        <p:spPr>
          <a:xfrm>
            <a:off x="4207072"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24ED67CC-8D40-D99A-6209-10714E2030BD}"/>
              </a:ext>
            </a:extLst>
          </p:cNvPr>
          <p:cNvSpPr>
            <a:spLocks noGrp="1"/>
          </p:cNvSpPr>
          <p:nvPr>
            <p:ph type="body" sz="quarter" idx="78" hasCustomPrompt="1"/>
          </p:nvPr>
        </p:nvSpPr>
        <p:spPr>
          <a:xfrm>
            <a:off x="6884158"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3279C1A5-9FAE-58C9-9DB5-9968C714D772}"/>
              </a:ext>
            </a:extLst>
          </p:cNvPr>
          <p:cNvSpPr>
            <a:spLocks noGrp="1"/>
          </p:cNvSpPr>
          <p:nvPr>
            <p:ph type="body" sz="quarter" idx="79" hasCustomPrompt="1"/>
          </p:nvPr>
        </p:nvSpPr>
        <p:spPr>
          <a:xfrm>
            <a:off x="6884158"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83C0F080-8015-AB42-3977-CC3B859AF0A1}"/>
              </a:ext>
            </a:extLst>
          </p:cNvPr>
          <p:cNvSpPr>
            <a:spLocks noGrp="1"/>
          </p:cNvSpPr>
          <p:nvPr>
            <p:ph type="body" sz="quarter" idx="80" hasCustomPrompt="1"/>
          </p:nvPr>
        </p:nvSpPr>
        <p:spPr>
          <a:xfrm>
            <a:off x="9561529"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1BCE9A3D-2D19-D602-DF64-9BAA63C5F590}"/>
              </a:ext>
            </a:extLst>
          </p:cNvPr>
          <p:cNvSpPr>
            <a:spLocks noGrp="1"/>
          </p:cNvSpPr>
          <p:nvPr>
            <p:ph type="body" sz="quarter" idx="81" hasCustomPrompt="1"/>
          </p:nvPr>
        </p:nvSpPr>
        <p:spPr>
          <a:xfrm>
            <a:off x="9561529"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1746258373"/>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Fiv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iv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E89FA00A-36B3-2CEE-AF63-82B50483854C}"/>
              </a:ext>
            </a:extLst>
          </p:cNvPr>
          <p:cNvGrpSpPr/>
          <p:nvPr userDrawn="1"/>
        </p:nvGrpSpPr>
        <p:grpSpPr>
          <a:xfrm>
            <a:off x="815976" y="1868488"/>
            <a:ext cx="10656988" cy="4413920"/>
            <a:chOff x="550863" y="1859809"/>
            <a:chExt cx="11090275" cy="4593379"/>
          </a:xfrm>
        </p:grpSpPr>
        <p:sp>
          <p:nvSpPr>
            <p:cNvPr id="9" name="Oval 8">
              <a:extLst>
                <a:ext uri="{FF2B5EF4-FFF2-40B4-BE49-F238E27FC236}">
                  <a16:creationId xmlns:a16="http://schemas.microsoft.com/office/drawing/2014/main" id="{F3AFBB32-FD81-64B0-BC9D-D4169E5A5974}"/>
                </a:ext>
              </a:extLst>
            </p:cNvPr>
            <p:cNvSpPr/>
            <p:nvPr/>
          </p:nvSpPr>
          <p:spPr>
            <a:xfrm>
              <a:off x="550863"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0" name="Freeform 9">
              <a:extLst>
                <a:ext uri="{FF2B5EF4-FFF2-40B4-BE49-F238E27FC236}">
                  <a16:creationId xmlns:a16="http://schemas.microsoft.com/office/drawing/2014/main" id="{C0A84A66-255E-7D04-A51F-6CF9167C2342}"/>
                </a:ext>
              </a:extLst>
            </p:cNvPr>
            <p:cNvSpPr/>
            <p:nvPr/>
          </p:nvSpPr>
          <p:spPr>
            <a:xfrm>
              <a:off x="550863"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sp>
          <p:nvSpPr>
            <p:cNvPr id="16" name="Oval 15">
              <a:extLst>
                <a:ext uri="{FF2B5EF4-FFF2-40B4-BE49-F238E27FC236}">
                  <a16:creationId xmlns:a16="http://schemas.microsoft.com/office/drawing/2014/main" id="{9E37F8D3-42E2-4050-511B-F67FA5F20E77}"/>
                </a:ext>
              </a:extLst>
            </p:cNvPr>
            <p:cNvSpPr/>
            <p:nvPr/>
          </p:nvSpPr>
          <p:spPr>
            <a:xfrm>
              <a:off x="4741415" y="3742382"/>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7" name="Freeform 16">
              <a:extLst>
                <a:ext uri="{FF2B5EF4-FFF2-40B4-BE49-F238E27FC236}">
                  <a16:creationId xmlns:a16="http://schemas.microsoft.com/office/drawing/2014/main" id="{775C6648-8363-DD8C-31B2-B3C91ACB86F3}"/>
                </a:ext>
              </a:extLst>
            </p:cNvPr>
            <p:cNvSpPr/>
            <p:nvPr/>
          </p:nvSpPr>
          <p:spPr>
            <a:xfrm>
              <a:off x="4741415"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sp>
          <p:nvSpPr>
            <p:cNvPr id="18" name="Oval 17">
              <a:extLst>
                <a:ext uri="{FF2B5EF4-FFF2-40B4-BE49-F238E27FC236}">
                  <a16:creationId xmlns:a16="http://schemas.microsoft.com/office/drawing/2014/main" id="{A3D9C885-1DD4-F08D-B6DF-BF20BD0FDE55}"/>
                </a:ext>
              </a:extLst>
            </p:cNvPr>
            <p:cNvSpPr/>
            <p:nvPr/>
          </p:nvSpPr>
          <p:spPr>
            <a:xfrm>
              <a:off x="2646139"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FEDAEAAD-8070-88F7-EAB6-5FEE005CA068}"/>
                </a:ext>
              </a:extLst>
            </p:cNvPr>
            <p:cNvSpPr/>
            <p:nvPr/>
          </p:nvSpPr>
          <p:spPr>
            <a:xfrm>
              <a:off x="2649227"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sp>
          <p:nvSpPr>
            <p:cNvPr id="21" name="Oval 20">
              <a:extLst>
                <a:ext uri="{FF2B5EF4-FFF2-40B4-BE49-F238E27FC236}">
                  <a16:creationId xmlns:a16="http://schemas.microsoft.com/office/drawing/2014/main" id="{6F79A4DD-9A48-A358-8F6A-5788D6CBC781}"/>
                </a:ext>
              </a:extLst>
            </p:cNvPr>
            <p:cNvSpPr/>
            <p:nvPr/>
          </p:nvSpPr>
          <p:spPr>
            <a:xfrm>
              <a:off x="6836691"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C64E2125-3F79-F249-E7CD-66DDA2AC17C5}"/>
                </a:ext>
              </a:extLst>
            </p:cNvPr>
            <p:cNvSpPr/>
            <p:nvPr/>
          </p:nvSpPr>
          <p:spPr>
            <a:xfrm>
              <a:off x="6839779"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sp>
          <p:nvSpPr>
            <p:cNvPr id="23" name="Oval 22">
              <a:extLst>
                <a:ext uri="{FF2B5EF4-FFF2-40B4-BE49-F238E27FC236}">
                  <a16:creationId xmlns:a16="http://schemas.microsoft.com/office/drawing/2014/main" id="{934361DF-C74E-159C-F0BB-CD42F96D2B43}"/>
                </a:ext>
              </a:extLst>
            </p:cNvPr>
            <p:cNvSpPr/>
            <p:nvPr/>
          </p:nvSpPr>
          <p:spPr>
            <a:xfrm>
              <a:off x="8931966"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08067F68-7D54-7FB1-C6E3-F9EC10AAA316}"/>
                </a:ext>
              </a:extLst>
            </p:cNvPr>
            <p:cNvSpPr/>
            <p:nvPr/>
          </p:nvSpPr>
          <p:spPr>
            <a:xfrm>
              <a:off x="8931966"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solidFill>
                    <a:schemeClr val="bg1"/>
                  </a:solidFill>
                </a:rPr>
                <a:t>05</a:t>
              </a:r>
              <a:endParaRPr lang="en-US" sz="1400" b="1">
                <a:solidFill>
                  <a:schemeClr val="bg1"/>
                </a:solidFill>
              </a:endParaRPr>
            </a:p>
          </p:txBody>
        </p:sp>
      </p:grpSp>
      <p:sp>
        <p:nvSpPr>
          <p:cNvPr id="25" name="Text Placeholder 49">
            <a:extLst>
              <a:ext uri="{FF2B5EF4-FFF2-40B4-BE49-F238E27FC236}">
                <a16:creationId xmlns:a16="http://schemas.microsoft.com/office/drawing/2014/main" id="{DEEB9827-7ADD-A0F8-25EC-E99372CA0905}"/>
              </a:ext>
            </a:extLst>
          </p:cNvPr>
          <p:cNvSpPr>
            <a:spLocks noGrp="1"/>
          </p:cNvSpPr>
          <p:nvPr>
            <p:ph type="body" sz="quarter" idx="74" hasCustomPrompt="1"/>
          </p:nvPr>
        </p:nvSpPr>
        <p:spPr>
          <a:xfrm>
            <a:off x="3537038" y="2514600"/>
            <a:ext cx="1722280" cy="183643"/>
          </a:xfrm>
        </p:spPr>
        <p:txBody>
          <a:bodyPr>
            <a:normAutofit/>
          </a:bodyPr>
          <a:lstStyle>
            <a:lvl1pPr algn="ctr">
              <a:defRPr sz="1200" b="1">
                <a:solidFill>
                  <a:schemeClr val="bg1"/>
                </a:solidFill>
              </a:defRPr>
            </a:lvl1pPr>
          </a:lstStyle>
          <a:p>
            <a:pPr lvl="0"/>
            <a:r>
              <a:rPr lang="en-US"/>
              <a:t>Lorem ipsum dolor</a:t>
            </a:r>
          </a:p>
        </p:txBody>
      </p:sp>
      <p:sp>
        <p:nvSpPr>
          <p:cNvPr id="26" name="Text Placeholder 49">
            <a:extLst>
              <a:ext uri="{FF2B5EF4-FFF2-40B4-BE49-F238E27FC236}">
                <a16:creationId xmlns:a16="http://schemas.microsoft.com/office/drawing/2014/main" id="{9E0D1F3E-3FE3-24C8-0C13-4D3EEDB346AC}"/>
              </a:ext>
            </a:extLst>
          </p:cNvPr>
          <p:cNvSpPr>
            <a:spLocks noGrp="1"/>
          </p:cNvSpPr>
          <p:nvPr>
            <p:ph type="body" sz="quarter" idx="75" hasCustomPrompt="1"/>
          </p:nvPr>
        </p:nvSpPr>
        <p:spPr>
          <a:xfrm>
            <a:off x="3537038" y="280741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7" name="Text Placeholder 49">
            <a:extLst>
              <a:ext uri="{FF2B5EF4-FFF2-40B4-BE49-F238E27FC236}">
                <a16:creationId xmlns:a16="http://schemas.microsoft.com/office/drawing/2014/main" id="{03B66352-E567-CB12-9381-9D2DA529C85B}"/>
              </a:ext>
            </a:extLst>
          </p:cNvPr>
          <p:cNvSpPr>
            <a:spLocks noGrp="1"/>
          </p:cNvSpPr>
          <p:nvPr>
            <p:ph type="body" sz="quarter" idx="76" hasCustomPrompt="1"/>
          </p:nvPr>
        </p:nvSpPr>
        <p:spPr>
          <a:xfrm>
            <a:off x="5544851" y="4427255"/>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247A7AED-DDC6-AD64-86A1-54A7CA0FC464}"/>
              </a:ext>
            </a:extLst>
          </p:cNvPr>
          <p:cNvSpPr>
            <a:spLocks noGrp="1"/>
          </p:cNvSpPr>
          <p:nvPr>
            <p:ph type="body" sz="quarter" idx="77" hasCustomPrompt="1"/>
          </p:nvPr>
        </p:nvSpPr>
        <p:spPr>
          <a:xfrm>
            <a:off x="5544851" y="4720070"/>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D09B0CCF-3C79-B967-C48F-CAF8012E3D56}"/>
              </a:ext>
            </a:extLst>
          </p:cNvPr>
          <p:cNvSpPr>
            <a:spLocks noGrp="1"/>
          </p:cNvSpPr>
          <p:nvPr>
            <p:ph type="body" sz="quarter" idx="78" hasCustomPrompt="1"/>
          </p:nvPr>
        </p:nvSpPr>
        <p:spPr>
          <a:xfrm>
            <a:off x="7563869" y="2519654"/>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9E8A228E-D940-D534-7617-5143E9AE665D}"/>
              </a:ext>
            </a:extLst>
          </p:cNvPr>
          <p:cNvSpPr>
            <a:spLocks noGrp="1"/>
          </p:cNvSpPr>
          <p:nvPr>
            <p:ph type="body" sz="quarter" idx="79" hasCustomPrompt="1"/>
          </p:nvPr>
        </p:nvSpPr>
        <p:spPr>
          <a:xfrm>
            <a:off x="7563869" y="281246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69D19286-5D7E-ACD1-7F62-98802CD3F95E}"/>
              </a:ext>
            </a:extLst>
          </p:cNvPr>
          <p:cNvSpPr>
            <a:spLocks noGrp="1"/>
          </p:cNvSpPr>
          <p:nvPr>
            <p:ph type="body" sz="quarter" idx="80" hasCustomPrompt="1"/>
          </p:nvPr>
        </p:nvSpPr>
        <p:spPr>
          <a:xfrm>
            <a:off x="9566466"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E9E8745B-1797-E835-9919-525F2C2AE092}"/>
              </a:ext>
            </a:extLst>
          </p:cNvPr>
          <p:cNvSpPr>
            <a:spLocks noGrp="1"/>
          </p:cNvSpPr>
          <p:nvPr>
            <p:ph type="body" sz="quarter" idx="81" hasCustomPrompt="1"/>
          </p:nvPr>
        </p:nvSpPr>
        <p:spPr>
          <a:xfrm>
            <a:off x="9566466"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4C288387-77A2-5C0D-774C-8D6CFA10ADAD}"/>
              </a:ext>
            </a:extLst>
          </p:cNvPr>
          <p:cNvSpPr>
            <a:spLocks noGrp="1"/>
          </p:cNvSpPr>
          <p:nvPr>
            <p:ph type="body" sz="quarter" idx="82" hasCustomPrompt="1"/>
          </p:nvPr>
        </p:nvSpPr>
        <p:spPr>
          <a:xfrm>
            <a:off x="1525107"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767D65E4-F896-DA48-DBE3-B4C9C8B3B481}"/>
              </a:ext>
            </a:extLst>
          </p:cNvPr>
          <p:cNvSpPr>
            <a:spLocks noGrp="1"/>
          </p:cNvSpPr>
          <p:nvPr>
            <p:ph type="body" sz="quarter" idx="83" hasCustomPrompt="1"/>
          </p:nvPr>
        </p:nvSpPr>
        <p:spPr>
          <a:xfrm>
            <a:off x="1525107"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330965728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1FE31BF3-CCB3-0476-E671-E61F6C4B8D39}"/>
              </a:ext>
            </a:extLst>
          </p:cNvPr>
          <p:cNvGrpSpPr/>
          <p:nvPr userDrawn="1">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a:defRPr sz="800"/>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a:defRPr sz="800"/>
            </a:lvl1pPr>
          </a:lstStyle>
          <a:p>
            <a:r>
              <a:rPr lang="en-US"/>
              <a:t>Click icon to add picture</a:t>
            </a:r>
          </a:p>
        </p:txBody>
      </p:sp>
      <p:sp>
        <p:nvSpPr>
          <p:cNvPr id="30" name="Text Placeholder 49">
            <a:extLst>
              <a:ext uri="{FF2B5EF4-FFF2-40B4-BE49-F238E27FC236}">
                <a16:creationId xmlns:a16="http://schemas.microsoft.com/office/drawing/2014/main" id="{9A45610E-0514-298A-946B-221F2B90BEEB}"/>
              </a:ext>
            </a:extLst>
          </p:cNvPr>
          <p:cNvSpPr>
            <a:spLocks noGrp="1"/>
          </p:cNvSpPr>
          <p:nvPr>
            <p:ph type="body" sz="quarter" idx="55" hasCustomPrompt="1"/>
          </p:nvPr>
        </p:nvSpPr>
        <p:spPr>
          <a:xfrm>
            <a:off x="967438" y="3275733"/>
            <a:ext cx="4823761"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algn="ctr">
              <a:defRPr sz="14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0DCBCC06-4032-201E-9B9A-D4399A75E079}"/>
              </a:ext>
            </a:extLst>
          </p:cNvPr>
          <p:cNvSpPr>
            <a:spLocks noGrp="1"/>
          </p:cNvSpPr>
          <p:nvPr>
            <p:ph type="body" sz="quarter" idx="59" hasCustomPrompt="1"/>
          </p:nvPr>
        </p:nvSpPr>
        <p:spPr>
          <a:xfrm>
            <a:off x="6524455" y="3275733"/>
            <a:ext cx="4700106"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524454" y="3023170"/>
            <a:ext cx="4700106"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271962471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hree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9" name="Group 8">
            <a:extLst>
              <a:ext uri="{FF2B5EF4-FFF2-40B4-BE49-F238E27FC236}">
                <a16:creationId xmlns:a16="http://schemas.microsoft.com/office/drawing/2014/main" id="{EDAC905F-2EB9-6216-DBB3-EF1D5ECD0722}"/>
              </a:ext>
            </a:extLst>
          </p:cNvPr>
          <p:cNvGrpSpPr/>
          <p:nvPr/>
        </p:nvGrpSpPr>
        <p:grpSpPr>
          <a:xfrm>
            <a:off x="815975" y="1749278"/>
            <a:ext cx="3409075" cy="4499121"/>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21625" y="1749278"/>
            <a:ext cx="3409075" cy="4499121"/>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27275" y="1749278"/>
            <a:ext cx="3409075" cy="4499121"/>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38816" y="1860550"/>
            <a:ext cx="730250" cy="730250"/>
          </a:xfrm>
        </p:spPr>
        <p:txBody>
          <a:bodyPr>
            <a:normAutofit/>
          </a:bodyPr>
          <a:lstStyle>
            <a:lvl1pPr>
              <a:defRPr sz="800"/>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59632" y="1860550"/>
            <a:ext cx="730250" cy="730250"/>
          </a:xfrm>
        </p:spPr>
        <p:txBody>
          <a:bodyPr>
            <a:normAutofit/>
          </a:bodyPr>
          <a:lstStyle>
            <a:lvl1pPr>
              <a:defRPr sz="800"/>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70415" y="1860550"/>
            <a:ext cx="730250" cy="730250"/>
          </a:xfrm>
        </p:spPr>
        <p:txBody>
          <a:bodyPr>
            <a:normAutofit/>
          </a:bodyPr>
          <a:lstStyle>
            <a:lvl1pPr>
              <a:defRPr sz="800"/>
            </a:lvl1pPr>
          </a:lstStyle>
          <a:p>
            <a:r>
              <a:rPr lang="en-US"/>
              <a:t>Click icon to add picture</a:t>
            </a:r>
          </a:p>
        </p:txBody>
      </p:sp>
      <p:sp>
        <p:nvSpPr>
          <p:cNvPr id="35" name="Text Placeholder 49">
            <a:extLst>
              <a:ext uri="{FF2B5EF4-FFF2-40B4-BE49-F238E27FC236}">
                <a16:creationId xmlns:a16="http://schemas.microsoft.com/office/drawing/2014/main" id="{C5D697AB-768B-E466-5877-817532B16D29}"/>
              </a:ext>
            </a:extLst>
          </p:cNvPr>
          <p:cNvSpPr>
            <a:spLocks noGrp="1"/>
          </p:cNvSpPr>
          <p:nvPr>
            <p:ph type="body" sz="quarter" idx="55" hasCustomPrompt="1"/>
          </p:nvPr>
        </p:nvSpPr>
        <p:spPr>
          <a:xfrm>
            <a:off x="967438" y="3275733"/>
            <a:ext cx="3147361"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67437" y="3023170"/>
            <a:ext cx="3147361" cy="287245"/>
          </a:xfrm>
        </p:spPr>
        <p:txBody>
          <a:bodyPr>
            <a:normAutofit/>
          </a:bodyPr>
          <a:lstStyle>
            <a:lvl1pPr algn="ctr">
              <a:defRPr sz="1400" b="1">
                <a:solidFill>
                  <a:schemeClr val="bg1"/>
                </a:solidFill>
              </a:defRPr>
            </a:lvl1pPr>
          </a:lstStyle>
          <a:p>
            <a:pPr lvl="0"/>
            <a:r>
              <a:rPr lang="en-US"/>
              <a:t>Lorem ipsum dolor</a:t>
            </a:r>
          </a:p>
        </p:txBody>
      </p:sp>
      <p:sp>
        <p:nvSpPr>
          <p:cNvPr id="37" name="Text Placeholder 49">
            <a:extLst>
              <a:ext uri="{FF2B5EF4-FFF2-40B4-BE49-F238E27FC236}">
                <a16:creationId xmlns:a16="http://schemas.microsoft.com/office/drawing/2014/main" id="{8B6EDF5D-C837-C6DA-E6FA-3092B9147EB4}"/>
              </a:ext>
            </a:extLst>
          </p:cNvPr>
          <p:cNvSpPr>
            <a:spLocks noGrp="1"/>
          </p:cNvSpPr>
          <p:nvPr>
            <p:ph type="body" sz="quarter" idx="57" hasCustomPrompt="1"/>
          </p:nvPr>
        </p:nvSpPr>
        <p:spPr>
          <a:xfrm>
            <a:off x="4495800" y="3278875"/>
            <a:ext cx="3238542"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495799" y="3026312"/>
            <a:ext cx="3238542" cy="287245"/>
          </a:xfrm>
        </p:spPr>
        <p:txBody>
          <a:bodyPr>
            <a:normAutofit/>
          </a:bodyPr>
          <a:lstStyle>
            <a:lvl1pPr algn="ctr">
              <a:defRPr sz="1400" b="1">
                <a:solidFill>
                  <a:schemeClr val="bg1"/>
                </a:solidFill>
              </a:defRPr>
            </a:lvl1pPr>
          </a:lstStyle>
          <a:p>
            <a:pPr lvl="0"/>
            <a:r>
              <a:rPr lang="en-US"/>
              <a:t>Lorem ipsum dolor</a:t>
            </a:r>
          </a:p>
        </p:txBody>
      </p:sp>
      <p:sp>
        <p:nvSpPr>
          <p:cNvPr id="39" name="Text Placeholder 49">
            <a:extLst>
              <a:ext uri="{FF2B5EF4-FFF2-40B4-BE49-F238E27FC236}">
                <a16:creationId xmlns:a16="http://schemas.microsoft.com/office/drawing/2014/main" id="{CB7A6F6F-FE2D-09A9-42EA-725CF6ECF004}"/>
              </a:ext>
            </a:extLst>
          </p:cNvPr>
          <p:cNvSpPr>
            <a:spLocks noGrp="1"/>
          </p:cNvSpPr>
          <p:nvPr>
            <p:ph type="body" sz="quarter" idx="59" hasCustomPrompt="1"/>
          </p:nvPr>
        </p:nvSpPr>
        <p:spPr>
          <a:xfrm>
            <a:off x="8138344" y="3275733"/>
            <a:ext cx="3227339"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38343" y="3023170"/>
            <a:ext cx="3227339"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397241246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Four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squar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6524454" y="247441"/>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28" name="Group 27">
            <a:extLst>
              <a:ext uri="{FF2B5EF4-FFF2-40B4-BE49-F238E27FC236}">
                <a16:creationId xmlns:a16="http://schemas.microsoft.com/office/drawing/2014/main" id="{23D23077-067B-355F-A19A-785EDFC78D28}"/>
              </a:ext>
            </a:extLst>
          </p:cNvPr>
          <p:cNvGrpSpPr/>
          <p:nvPr/>
        </p:nvGrpSpPr>
        <p:grpSpPr>
          <a:xfrm>
            <a:off x="3595583" y="1749278"/>
            <a:ext cx="2640725" cy="4499121"/>
            <a:chOff x="550863" y="1689100"/>
            <a:chExt cx="3563625" cy="4764088"/>
          </a:xfrm>
        </p:grpSpPr>
        <p:sp>
          <p:nvSpPr>
            <p:cNvPr id="30" name="Rounded Rectangle 29">
              <a:extLst>
                <a:ext uri="{FF2B5EF4-FFF2-40B4-BE49-F238E27FC236}">
                  <a16:creationId xmlns:a16="http://schemas.microsoft.com/office/drawing/2014/main" id="{608C5F4C-B2B7-0701-0856-8A66F5728E7C}"/>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Freeform 30">
              <a:extLst>
                <a:ext uri="{FF2B5EF4-FFF2-40B4-BE49-F238E27FC236}">
                  <a16:creationId xmlns:a16="http://schemas.microsoft.com/office/drawing/2014/main" id="{C8BC7858-0F20-EDCE-2CFE-C0106D308EC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3" name="Group 32">
            <a:extLst>
              <a:ext uri="{FF2B5EF4-FFF2-40B4-BE49-F238E27FC236}">
                <a16:creationId xmlns:a16="http://schemas.microsoft.com/office/drawing/2014/main" id="{AD5B8053-4E75-4399-C82F-E3F4661DB607}"/>
              </a:ext>
            </a:extLst>
          </p:cNvPr>
          <p:cNvGrpSpPr/>
          <p:nvPr/>
        </p:nvGrpSpPr>
        <p:grpSpPr>
          <a:xfrm>
            <a:off x="6372183" y="1749278"/>
            <a:ext cx="2640725" cy="4499121"/>
            <a:chOff x="550863" y="1689100"/>
            <a:chExt cx="3563625" cy="4764088"/>
          </a:xfrm>
        </p:grpSpPr>
        <p:sp>
          <p:nvSpPr>
            <p:cNvPr id="35" name="Rounded Rectangle 34">
              <a:extLst>
                <a:ext uri="{FF2B5EF4-FFF2-40B4-BE49-F238E27FC236}">
                  <a16:creationId xmlns:a16="http://schemas.microsoft.com/office/drawing/2014/main" id="{F12A0933-3646-E53F-0280-017B6BDFEC95}"/>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6" name="Freeform 35">
              <a:extLst>
                <a:ext uri="{FF2B5EF4-FFF2-40B4-BE49-F238E27FC236}">
                  <a16:creationId xmlns:a16="http://schemas.microsoft.com/office/drawing/2014/main" id="{8206766B-97D4-A9D0-6594-037F969AEEB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8" name="Group 37">
            <a:extLst>
              <a:ext uri="{FF2B5EF4-FFF2-40B4-BE49-F238E27FC236}">
                <a16:creationId xmlns:a16="http://schemas.microsoft.com/office/drawing/2014/main" id="{6B46A026-965D-14E1-C61A-17C36E5254F5}"/>
              </a:ext>
            </a:extLst>
          </p:cNvPr>
          <p:cNvGrpSpPr/>
          <p:nvPr/>
        </p:nvGrpSpPr>
        <p:grpSpPr>
          <a:xfrm>
            <a:off x="9115383" y="1749278"/>
            <a:ext cx="2640725" cy="4499121"/>
            <a:chOff x="550863" y="1689100"/>
            <a:chExt cx="3563625" cy="4764088"/>
          </a:xfrm>
        </p:grpSpPr>
        <p:sp>
          <p:nvSpPr>
            <p:cNvPr id="40" name="Rounded Rectangle 39">
              <a:extLst>
                <a:ext uri="{FF2B5EF4-FFF2-40B4-BE49-F238E27FC236}">
                  <a16:creationId xmlns:a16="http://schemas.microsoft.com/office/drawing/2014/main" id="{9C02F54B-1591-4B69-7F9C-D4E464B48D93}"/>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Freeform 40">
              <a:extLst>
                <a:ext uri="{FF2B5EF4-FFF2-40B4-BE49-F238E27FC236}">
                  <a16:creationId xmlns:a16="http://schemas.microsoft.com/office/drawing/2014/main" id="{18F80DC1-3986-92AA-96C5-0DE8A3E4621B}"/>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43" name="Group 42">
            <a:extLst>
              <a:ext uri="{FF2B5EF4-FFF2-40B4-BE49-F238E27FC236}">
                <a16:creationId xmlns:a16="http://schemas.microsoft.com/office/drawing/2014/main" id="{E117BD00-D8B4-10C9-2298-26D36C50CFCB}"/>
              </a:ext>
            </a:extLst>
          </p:cNvPr>
          <p:cNvGrpSpPr/>
          <p:nvPr/>
        </p:nvGrpSpPr>
        <p:grpSpPr>
          <a:xfrm>
            <a:off x="814558" y="1749278"/>
            <a:ext cx="2640725" cy="4499121"/>
            <a:chOff x="550863" y="1689100"/>
            <a:chExt cx="3563625" cy="4764088"/>
          </a:xfrm>
        </p:grpSpPr>
        <p:sp>
          <p:nvSpPr>
            <p:cNvPr id="45" name="Rounded Rectangle 44">
              <a:extLst>
                <a:ext uri="{FF2B5EF4-FFF2-40B4-BE49-F238E27FC236}">
                  <a16:creationId xmlns:a16="http://schemas.microsoft.com/office/drawing/2014/main" id="{CD49B2D2-AF50-CA7C-1E82-37436754D389}"/>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6" name="Freeform 45">
              <a:extLst>
                <a:ext uri="{FF2B5EF4-FFF2-40B4-BE49-F238E27FC236}">
                  <a16:creationId xmlns:a16="http://schemas.microsoft.com/office/drawing/2014/main" id="{B1450038-70C7-1C56-541F-2B98802CE28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47" name="Picture Placeholder 9">
            <a:extLst>
              <a:ext uri="{FF2B5EF4-FFF2-40B4-BE49-F238E27FC236}">
                <a16:creationId xmlns:a16="http://schemas.microsoft.com/office/drawing/2014/main" id="{8B5F629A-676B-0B8A-3F7B-9A19500236D1}"/>
              </a:ext>
            </a:extLst>
          </p:cNvPr>
          <p:cNvSpPr>
            <a:spLocks noGrp="1"/>
          </p:cNvSpPr>
          <p:nvPr>
            <p:ph type="pic" sz="quarter" idx="19"/>
          </p:nvPr>
        </p:nvSpPr>
        <p:spPr>
          <a:xfrm>
            <a:off x="1752600" y="1892238"/>
            <a:ext cx="730250" cy="730250"/>
          </a:xfrm>
        </p:spPr>
        <p:txBody>
          <a:bodyPr>
            <a:normAutofit/>
          </a:bodyPr>
          <a:lstStyle>
            <a:lvl1pPr>
              <a:defRPr sz="800"/>
            </a:lvl1pPr>
          </a:lstStyle>
          <a:p>
            <a:r>
              <a:rPr lang="en-US"/>
              <a:t>Click icon to add picture</a:t>
            </a:r>
          </a:p>
        </p:txBody>
      </p:sp>
      <p:sp>
        <p:nvSpPr>
          <p:cNvPr id="48" name="Picture Placeholder 9">
            <a:extLst>
              <a:ext uri="{FF2B5EF4-FFF2-40B4-BE49-F238E27FC236}">
                <a16:creationId xmlns:a16="http://schemas.microsoft.com/office/drawing/2014/main" id="{92BDB2D9-C349-2E3C-CEC5-89A5F72EA62A}"/>
              </a:ext>
            </a:extLst>
          </p:cNvPr>
          <p:cNvSpPr>
            <a:spLocks noGrp="1"/>
          </p:cNvSpPr>
          <p:nvPr>
            <p:ph type="pic" sz="quarter" idx="20"/>
          </p:nvPr>
        </p:nvSpPr>
        <p:spPr>
          <a:xfrm>
            <a:off x="4550820" y="1892238"/>
            <a:ext cx="730250" cy="730250"/>
          </a:xfrm>
        </p:spPr>
        <p:txBody>
          <a:bodyPr>
            <a:normAutofit/>
          </a:bodyPr>
          <a:lstStyle>
            <a:lvl1pPr>
              <a:defRPr sz="800"/>
            </a:lvl1pPr>
          </a:lstStyle>
          <a:p>
            <a:r>
              <a:rPr lang="en-US"/>
              <a:t>Click icon to add picture</a:t>
            </a:r>
          </a:p>
        </p:txBody>
      </p:sp>
      <p:sp>
        <p:nvSpPr>
          <p:cNvPr id="49" name="Picture Placeholder 9">
            <a:extLst>
              <a:ext uri="{FF2B5EF4-FFF2-40B4-BE49-F238E27FC236}">
                <a16:creationId xmlns:a16="http://schemas.microsoft.com/office/drawing/2014/main" id="{1DA535B3-C9C2-B740-88B6-2C47E75161FF}"/>
              </a:ext>
            </a:extLst>
          </p:cNvPr>
          <p:cNvSpPr>
            <a:spLocks noGrp="1"/>
          </p:cNvSpPr>
          <p:nvPr>
            <p:ph type="pic" sz="quarter" idx="21"/>
          </p:nvPr>
        </p:nvSpPr>
        <p:spPr>
          <a:xfrm>
            <a:off x="7327420" y="1892238"/>
            <a:ext cx="730250" cy="730250"/>
          </a:xfrm>
        </p:spPr>
        <p:txBody>
          <a:bodyPr>
            <a:normAutofit/>
          </a:bodyPr>
          <a:lstStyle>
            <a:lvl1pPr>
              <a:defRPr sz="800"/>
            </a:lvl1pPr>
          </a:lstStyle>
          <a:p>
            <a:r>
              <a:rPr lang="en-US"/>
              <a:t>Click icon to add picture</a:t>
            </a:r>
          </a:p>
        </p:txBody>
      </p:sp>
      <p:sp>
        <p:nvSpPr>
          <p:cNvPr id="50" name="Picture Placeholder 9">
            <a:extLst>
              <a:ext uri="{FF2B5EF4-FFF2-40B4-BE49-F238E27FC236}">
                <a16:creationId xmlns:a16="http://schemas.microsoft.com/office/drawing/2014/main" id="{E66525DC-C554-D9E5-3453-7FF8251B7EE9}"/>
              </a:ext>
            </a:extLst>
          </p:cNvPr>
          <p:cNvSpPr>
            <a:spLocks noGrp="1"/>
          </p:cNvSpPr>
          <p:nvPr>
            <p:ph type="pic" sz="quarter" idx="22"/>
          </p:nvPr>
        </p:nvSpPr>
        <p:spPr>
          <a:xfrm>
            <a:off x="10070620" y="1890781"/>
            <a:ext cx="730250" cy="730250"/>
          </a:xfrm>
        </p:spPr>
        <p:txBody>
          <a:bodyPr>
            <a:normAutofit/>
          </a:bodyPr>
          <a:lstStyle>
            <a:lvl1pPr>
              <a:defRPr sz="800"/>
            </a:lvl1pPr>
          </a:lstStyle>
          <a:p>
            <a:r>
              <a:rPr lang="en-US"/>
              <a:t>Click icon to add picture</a:t>
            </a:r>
          </a:p>
        </p:txBody>
      </p:sp>
      <p:sp>
        <p:nvSpPr>
          <p:cNvPr id="53" name="Text Placeholder 49">
            <a:extLst>
              <a:ext uri="{FF2B5EF4-FFF2-40B4-BE49-F238E27FC236}">
                <a16:creationId xmlns:a16="http://schemas.microsoft.com/office/drawing/2014/main" id="{C98C21F0-7487-639D-9449-C72DDCDC899E}"/>
              </a:ext>
            </a:extLst>
          </p:cNvPr>
          <p:cNvSpPr>
            <a:spLocks noGrp="1"/>
          </p:cNvSpPr>
          <p:nvPr>
            <p:ph type="body" sz="quarter" idx="55" hasCustomPrompt="1"/>
          </p:nvPr>
        </p:nvSpPr>
        <p:spPr>
          <a:xfrm>
            <a:off x="967439"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4" name="Text Placeholder 49">
            <a:extLst>
              <a:ext uri="{FF2B5EF4-FFF2-40B4-BE49-F238E27FC236}">
                <a16:creationId xmlns:a16="http://schemas.microsoft.com/office/drawing/2014/main" id="{C79EF3E2-525B-F042-9A31-2F488FBB19A9}"/>
              </a:ext>
            </a:extLst>
          </p:cNvPr>
          <p:cNvSpPr>
            <a:spLocks noGrp="1"/>
          </p:cNvSpPr>
          <p:nvPr>
            <p:ph type="body" sz="quarter" idx="56" hasCustomPrompt="1"/>
          </p:nvPr>
        </p:nvSpPr>
        <p:spPr>
          <a:xfrm>
            <a:off x="967438"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5" name="Text Placeholder 49">
            <a:extLst>
              <a:ext uri="{FF2B5EF4-FFF2-40B4-BE49-F238E27FC236}">
                <a16:creationId xmlns:a16="http://schemas.microsoft.com/office/drawing/2014/main" id="{DA7945B3-212F-0A17-F76F-532DC0FB105E}"/>
              </a:ext>
            </a:extLst>
          </p:cNvPr>
          <p:cNvSpPr>
            <a:spLocks noGrp="1"/>
          </p:cNvSpPr>
          <p:nvPr>
            <p:ph type="body" sz="quarter" idx="57" hasCustomPrompt="1"/>
          </p:nvPr>
        </p:nvSpPr>
        <p:spPr>
          <a:xfrm>
            <a:off x="3727890" y="3278875"/>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6" name="Text Placeholder 49">
            <a:extLst>
              <a:ext uri="{FF2B5EF4-FFF2-40B4-BE49-F238E27FC236}">
                <a16:creationId xmlns:a16="http://schemas.microsoft.com/office/drawing/2014/main" id="{82146C51-8620-DD88-786E-508A54648A98}"/>
              </a:ext>
            </a:extLst>
          </p:cNvPr>
          <p:cNvSpPr>
            <a:spLocks noGrp="1"/>
          </p:cNvSpPr>
          <p:nvPr>
            <p:ph type="body" sz="quarter" idx="58" hasCustomPrompt="1"/>
          </p:nvPr>
        </p:nvSpPr>
        <p:spPr>
          <a:xfrm>
            <a:off x="3727889" y="3026312"/>
            <a:ext cx="2385888" cy="287245"/>
          </a:xfrm>
        </p:spPr>
        <p:txBody>
          <a:bodyPr>
            <a:normAutofit/>
          </a:bodyPr>
          <a:lstStyle>
            <a:lvl1pPr algn="ctr">
              <a:defRPr sz="1400" b="1">
                <a:solidFill>
                  <a:schemeClr val="bg1"/>
                </a:solidFill>
              </a:defRPr>
            </a:lvl1pPr>
          </a:lstStyle>
          <a:p>
            <a:pPr lvl="0"/>
            <a:r>
              <a:rPr lang="en-US"/>
              <a:t>Lorem ipsum dolor</a:t>
            </a:r>
          </a:p>
        </p:txBody>
      </p:sp>
      <p:sp>
        <p:nvSpPr>
          <p:cNvPr id="57" name="Text Placeholder 49">
            <a:extLst>
              <a:ext uri="{FF2B5EF4-FFF2-40B4-BE49-F238E27FC236}">
                <a16:creationId xmlns:a16="http://schemas.microsoft.com/office/drawing/2014/main" id="{AE68AA31-8CE1-636D-8E54-FA2E69509ED2}"/>
              </a:ext>
            </a:extLst>
          </p:cNvPr>
          <p:cNvSpPr>
            <a:spLocks noGrp="1"/>
          </p:cNvSpPr>
          <p:nvPr>
            <p:ph type="body" sz="quarter" idx="59" hasCustomPrompt="1"/>
          </p:nvPr>
        </p:nvSpPr>
        <p:spPr>
          <a:xfrm>
            <a:off x="6524455"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8" name="Text Placeholder 49">
            <a:extLst>
              <a:ext uri="{FF2B5EF4-FFF2-40B4-BE49-F238E27FC236}">
                <a16:creationId xmlns:a16="http://schemas.microsoft.com/office/drawing/2014/main" id="{9EF07A78-E7D1-9CA8-22CF-ECE9C94B9AE2}"/>
              </a:ext>
            </a:extLst>
          </p:cNvPr>
          <p:cNvSpPr>
            <a:spLocks noGrp="1"/>
          </p:cNvSpPr>
          <p:nvPr>
            <p:ph type="body" sz="quarter" idx="60" hasCustomPrompt="1"/>
          </p:nvPr>
        </p:nvSpPr>
        <p:spPr>
          <a:xfrm>
            <a:off x="6524454"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9" name="Text Placeholder 49">
            <a:extLst>
              <a:ext uri="{FF2B5EF4-FFF2-40B4-BE49-F238E27FC236}">
                <a16:creationId xmlns:a16="http://schemas.microsoft.com/office/drawing/2014/main" id="{FBED0B17-DAA9-B5C8-C44C-9DF24B8DFD6F}"/>
              </a:ext>
            </a:extLst>
          </p:cNvPr>
          <p:cNvSpPr>
            <a:spLocks noGrp="1"/>
          </p:cNvSpPr>
          <p:nvPr>
            <p:ph type="body" sz="quarter" idx="61" hasCustomPrompt="1"/>
          </p:nvPr>
        </p:nvSpPr>
        <p:spPr>
          <a:xfrm>
            <a:off x="9272712" y="3296952"/>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60" name="Text Placeholder 49">
            <a:extLst>
              <a:ext uri="{FF2B5EF4-FFF2-40B4-BE49-F238E27FC236}">
                <a16:creationId xmlns:a16="http://schemas.microsoft.com/office/drawing/2014/main" id="{FE6DB75D-E91B-3426-852B-18F98449A508}"/>
              </a:ext>
            </a:extLst>
          </p:cNvPr>
          <p:cNvSpPr>
            <a:spLocks noGrp="1"/>
          </p:cNvSpPr>
          <p:nvPr>
            <p:ph type="body" sz="quarter" idx="62" hasCustomPrompt="1"/>
          </p:nvPr>
        </p:nvSpPr>
        <p:spPr>
          <a:xfrm>
            <a:off x="9272711" y="3044389"/>
            <a:ext cx="2385888"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221336141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hree step process - diamon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step process - diamond</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29" name="Group 28">
            <a:extLst>
              <a:ext uri="{FF2B5EF4-FFF2-40B4-BE49-F238E27FC236}">
                <a16:creationId xmlns:a16="http://schemas.microsoft.com/office/drawing/2014/main" id="{567756FD-398B-A8EB-C355-5747C888970A}"/>
              </a:ext>
            </a:extLst>
          </p:cNvPr>
          <p:cNvGrpSpPr/>
          <p:nvPr userDrawn="1">
            <p:custDataLst>
              <p:tags r:id="rId1"/>
            </p:custDataLst>
          </p:nvPr>
        </p:nvGrpSpPr>
        <p:grpSpPr>
          <a:xfrm>
            <a:off x="3073215" y="1606086"/>
            <a:ext cx="6104479" cy="4560571"/>
            <a:chOff x="2931473" y="1700212"/>
            <a:chExt cx="6329055" cy="4728349"/>
          </a:xfrm>
        </p:grpSpPr>
        <p:grpSp>
          <p:nvGrpSpPr>
            <p:cNvPr id="30" name="Group 29">
              <a:extLst>
                <a:ext uri="{FF2B5EF4-FFF2-40B4-BE49-F238E27FC236}">
                  <a16:creationId xmlns:a16="http://schemas.microsoft.com/office/drawing/2014/main" id="{D02C7C91-07DE-0430-5652-5CC7B3132ED1}"/>
                </a:ext>
              </a:extLst>
            </p:cNvPr>
            <p:cNvGrpSpPr/>
            <p:nvPr/>
          </p:nvGrpSpPr>
          <p:grpSpPr>
            <a:xfrm>
              <a:off x="2931473" y="1700212"/>
              <a:ext cx="3068793" cy="3068793"/>
              <a:chOff x="564115" y="1936375"/>
              <a:chExt cx="2649040" cy="2649040"/>
            </a:xfrm>
          </p:grpSpPr>
          <p:sp>
            <p:nvSpPr>
              <p:cNvPr id="37" name="Diamond 36">
                <a:extLst>
                  <a:ext uri="{FF2B5EF4-FFF2-40B4-BE49-F238E27FC236}">
                    <a16:creationId xmlns:a16="http://schemas.microsoft.com/office/drawing/2014/main" id="{E2163160-142D-E890-6A18-271BC92015C5}"/>
                  </a:ext>
                </a:extLst>
              </p:cNvPr>
              <p:cNvSpPr/>
              <p:nvPr/>
            </p:nvSpPr>
            <p:spPr>
              <a:xfrm>
                <a:off x="564116" y="1936375"/>
                <a:ext cx="2649039" cy="2649040"/>
              </a:xfrm>
              <a:prstGeom prst="diamond">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80000" rIns="0" bIns="180000" rtlCol="0" anchor="ctr">
                <a:noAutofit/>
              </a:bodyPr>
              <a:lstStyle/>
              <a:p>
                <a:pPr algn="ctr"/>
                <a:endParaRPr lang="en-GB" sz="1200">
                  <a:solidFill>
                    <a:schemeClr val="bg1"/>
                  </a:solidFill>
                </a:endParaRPr>
              </a:p>
            </p:txBody>
          </p:sp>
          <p:sp>
            <p:nvSpPr>
              <p:cNvPr id="38" name="Diamond 37">
                <a:extLst>
                  <a:ext uri="{FF2B5EF4-FFF2-40B4-BE49-F238E27FC236}">
                    <a16:creationId xmlns:a16="http://schemas.microsoft.com/office/drawing/2014/main" id="{D19004A6-E81F-3707-86E7-30077F7F09BC}"/>
                  </a:ext>
                </a:extLst>
              </p:cNvPr>
              <p:cNvSpPr/>
              <p:nvPr/>
            </p:nvSpPr>
            <p:spPr>
              <a:xfrm>
                <a:off x="564115" y="2990451"/>
                <a:ext cx="540000" cy="540000"/>
              </a:xfrm>
              <a:prstGeom prst="diamon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180000" rIns="36000" bIns="180000" rtlCol="0" anchor="ctr">
                <a:noAutofit/>
              </a:bodyPr>
              <a:lstStyle/>
              <a:p>
                <a:pPr algn="ctr"/>
                <a:r>
                  <a:rPr lang="en-GB" sz="1400" b="1">
                    <a:solidFill>
                      <a:schemeClr val="bg1"/>
                    </a:solidFill>
                  </a:rPr>
                  <a:t>01</a:t>
                </a:r>
              </a:p>
            </p:txBody>
          </p:sp>
        </p:grpSp>
        <p:grpSp>
          <p:nvGrpSpPr>
            <p:cNvPr id="31" name="Group 30">
              <a:extLst>
                <a:ext uri="{FF2B5EF4-FFF2-40B4-BE49-F238E27FC236}">
                  <a16:creationId xmlns:a16="http://schemas.microsoft.com/office/drawing/2014/main" id="{7769EF49-485A-135A-E890-555CF9D7541C}"/>
                </a:ext>
              </a:extLst>
            </p:cNvPr>
            <p:cNvGrpSpPr/>
            <p:nvPr/>
          </p:nvGrpSpPr>
          <p:grpSpPr>
            <a:xfrm>
              <a:off x="6191735" y="1700212"/>
              <a:ext cx="3068793" cy="3068793"/>
              <a:chOff x="564114" y="1936375"/>
              <a:chExt cx="2649040" cy="2649040"/>
            </a:xfrm>
          </p:grpSpPr>
          <p:sp>
            <p:nvSpPr>
              <p:cNvPr id="35" name="Diamond 34">
                <a:extLst>
                  <a:ext uri="{FF2B5EF4-FFF2-40B4-BE49-F238E27FC236}">
                    <a16:creationId xmlns:a16="http://schemas.microsoft.com/office/drawing/2014/main" id="{B0F92AC7-D36A-E2BF-B561-476A86F3A46B}"/>
                  </a:ext>
                </a:extLst>
              </p:cNvPr>
              <p:cNvSpPr/>
              <p:nvPr/>
            </p:nvSpPr>
            <p:spPr>
              <a:xfrm>
                <a:off x="564115" y="1936375"/>
                <a:ext cx="2649039" cy="2649040"/>
              </a:xfrm>
              <a:prstGeom prst="diamond">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80000" rIns="0" bIns="180000" rtlCol="0" anchor="ctr">
                <a:noAutofit/>
              </a:bodyPr>
              <a:lstStyle/>
              <a:p>
                <a:pPr algn="ctr"/>
                <a:endParaRPr lang="en-GB" sz="1200">
                  <a:solidFill>
                    <a:schemeClr val="bg1"/>
                  </a:solidFill>
                </a:endParaRPr>
              </a:p>
            </p:txBody>
          </p:sp>
          <p:sp>
            <p:nvSpPr>
              <p:cNvPr id="36" name="Diamond 35">
                <a:extLst>
                  <a:ext uri="{FF2B5EF4-FFF2-40B4-BE49-F238E27FC236}">
                    <a16:creationId xmlns:a16="http://schemas.microsoft.com/office/drawing/2014/main" id="{6777512D-CBF4-88F2-35CF-4EC5D14FC6B0}"/>
                  </a:ext>
                </a:extLst>
              </p:cNvPr>
              <p:cNvSpPr/>
              <p:nvPr/>
            </p:nvSpPr>
            <p:spPr>
              <a:xfrm>
                <a:off x="564114" y="2990451"/>
                <a:ext cx="540000" cy="540000"/>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180000" rIns="36000" bIns="180000" rtlCol="0" anchor="ctr">
                <a:noAutofit/>
              </a:bodyPr>
              <a:lstStyle/>
              <a:p>
                <a:pPr algn="ctr"/>
                <a:r>
                  <a:rPr lang="en-GB" sz="1400" b="1">
                    <a:solidFill>
                      <a:schemeClr val="bg1"/>
                    </a:solidFill>
                  </a:rPr>
                  <a:t>03</a:t>
                </a:r>
              </a:p>
            </p:txBody>
          </p:sp>
        </p:grpSp>
        <p:grpSp>
          <p:nvGrpSpPr>
            <p:cNvPr id="32" name="Group 31">
              <a:extLst>
                <a:ext uri="{FF2B5EF4-FFF2-40B4-BE49-F238E27FC236}">
                  <a16:creationId xmlns:a16="http://schemas.microsoft.com/office/drawing/2014/main" id="{84EB7CC8-33DA-2B40-78D4-F4D4DA50E983}"/>
                </a:ext>
              </a:extLst>
            </p:cNvPr>
            <p:cNvGrpSpPr/>
            <p:nvPr/>
          </p:nvGrpSpPr>
          <p:grpSpPr>
            <a:xfrm>
              <a:off x="4561604" y="3359768"/>
              <a:ext cx="3068793" cy="3068793"/>
              <a:chOff x="564114" y="1936375"/>
              <a:chExt cx="2649040" cy="2649040"/>
            </a:xfrm>
          </p:grpSpPr>
          <p:sp>
            <p:nvSpPr>
              <p:cNvPr id="33" name="Diamond 32">
                <a:extLst>
                  <a:ext uri="{FF2B5EF4-FFF2-40B4-BE49-F238E27FC236}">
                    <a16:creationId xmlns:a16="http://schemas.microsoft.com/office/drawing/2014/main" id="{B22C79AB-F2C0-3C8D-EEDE-94B262F0A8BC}"/>
                  </a:ext>
                </a:extLst>
              </p:cNvPr>
              <p:cNvSpPr/>
              <p:nvPr/>
            </p:nvSpPr>
            <p:spPr>
              <a:xfrm>
                <a:off x="564115" y="1936375"/>
                <a:ext cx="2649039" cy="2649040"/>
              </a:xfrm>
              <a:prstGeom prst="diamond">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80000" rIns="0" bIns="180000" rtlCol="0" anchor="ctr">
                <a:noAutofit/>
              </a:bodyPr>
              <a:lstStyle/>
              <a:p>
                <a:pPr algn="ctr"/>
                <a:endParaRPr lang="en-GB" sz="1200">
                  <a:solidFill>
                    <a:schemeClr val="bg1"/>
                  </a:solidFill>
                </a:endParaRPr>
              </a:p>
            </p:txBody>
          </p:sp>
          <p:sp>
            <p:nvSpPr>
              <p:cNvPr id="34" name="Diamond 33">
                <a:extLst>
                  <a:ext uri="{FF2B5EF4-FFF2-40B4-BE49-F238E27FC236}">
                    <a16:creationId xmlns:a16="http://schemas.microsoft.com/office/drawing/2014/main" id="{1C393AB6-AF33-CE9A-083F-B19DC4080B4D}"/>
                  </a:ext>
                </a:extLst>
              </p:cNvPr>
              <p:cNvSpPr/>
              <p:nvPr/>
            </p:nvSpPr>
            <p:spPr>
              <a:xfrm>
                <a:off x="564114" y="2990451"/>
                <a:ext cx="540000" cy="54000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180000" rIns="36000" bIns="180000" rtlCol="0" anchor="ctr">
                <a:noAutofit/>
              </a:bodyPr>
              <a:lstStyle/>
              <a:p>
                <a:pPr algn="ctr"/>
                <a:r>
                  <a:rPr lang="en-GB" sz="1400" b="1">
                    <a:solidFill>
                      <a:schemeClr val="bg1"/>
                    </a:solidFill>
                  </a:rPr>
                  <a:t>02</a:t>
                </a:r>
              </a:p>
            </p:txBody>
          </p:sp>
        </p:grpSp>
      </p:grpSp>
      <p:sp>
        <p:nvSpPr>
          <p:cNvPr id="39" name="Text Placeholder 49">
            <a:extLst>
              <a:ext uri="{FF2B5EF4-FFF2-40B4-BE49-F238E27FC236}">
                <a16:creationId xmlns:a16="http://schemas.microsoft.com/office/drawing/2014/main" id="{03D75F91-B942-7C96-1FEE-94B185FED188}"/>
              </a:ext>
            </a:extLst>
          </p:cNvPr>
          <p:cNvSpPr>
            <a:spLocks noGrp="1"/>
          </p:cNvSpPr>
          <p:nvPr>
            <p:ph type="body" sz="quarter" idx="70" hasCustomPrompt="1"/>
          </p:nvPr>
        </p:nvSpPr>
        <p:spPr>
          <a:xfrm>
            <a:off x="6852048" y="2510469"/>
            <a:ext cx="1722280" cy="183643"/>
          </a:xfrm>
        </p:spPr>
        <p:txBody>
          <a:bodyPr>
            <a:normAutofit/>
          </a:bodyPr>
          <a:lstStyle>
            <a:lvl1pPr algn="ctr">
              <a:defRPr sz="1200" b="1">
                <a:solidFill>
                  <a:schemeClr val="bg1"/>
                </a:solidFill>
              </a:defRPr>
            </a:lvl1pPr>
          </a:lstStyle>
          <a:p>
            <a:pPr lvl="0"/>
            <a:r>
              <a:rPr lang="en-US"/>
              <a:t>Lorem ipsum dolor</a:t>
            </a:r>
          </a:p>
        </p:txBody>
      </p:sp>
      <p:sp>
        <p:nvSpPr>
          <p:cNvPr id="40" name="Text Placeholder 49">
            <a:extLst>
              <a:ext uri="{FF2B5EF4-FFF2-40B4-BE49-F238E27FC236}">
                <a16:creationId xmlns:a16="http://schemas.microsoft.com/office/drawing/2014/main" id="{581CD135-9FB6-1C52-243F-346EC7D72141}"/>
              </a:ext>
            </a:extLst>
          </p:cNvPr>
          <p:cNvSpPr>
            <a:spLocks noGrp="1"/>
          </p:cNvSpPr>
          <p:nvPr>
            <p:ph type="body" sz="quarter" idx="71" hasCustomPrompt="1"/>
          </p:nvPr>
        </p:nvSpPr>
        <p:spPr>
          <a:xfrm>
            <a:off x="6852048" y="2694112"/>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41" name="Text Placeholder 49">
            <a:extLst>
              <a:ext uri="{FF2B5EF4-FFF2-40B4-BE49-F238E27FC236}">
                <a16:creationId xmlns:a16="http://schemas.microsoft.com/office/drawing/2014/main" id="{B447A7FA-8953-1D3E-6B40-B50A1C3A9818}"/>
              </a:ext>
            </a:extLst>
          </p:cNvPr>
          <p:cNvSpPr>
            <a:spLocks noGrp="1"/>
          </p:cNvSpPr>
          <p:nvPr>
            <p:ph type="body" sz="quarter" idx="72" hasCustomPrompt="1"/>
          </p:nvPr>
        </p:nvSpPr>
        <p:spPr>
          <a:xfrm>
            <a:off x="5279759" y="4170771"/>
            <a:ext cx="1722280" cy="183643"/>
          </a:xfrm>
        </p:spPr>
        <p:txBody>
          <a:bodyPr>
            <a:normAutofit/>
          </a:bodyPr>
          <a:lstStyle>
            <a:lvl1pPr algn="ctr">
              <a:defRPr sz="1200" b="1">
                <a:solidFill>
                  <a:schemeClr val="bg1"/>
                </a:solidFill>
              </a:defRPr>
            </a:lvl1pPr>
          </a:lstStyle>
          <a:p>
            <a:pPr lvl="0"/>
            <a:r>
              <a:rPr lang="en-US"/>
              <a:t>Lorem ipsum dolor</a:t>
            </a:r>
          </a:p>
        </p:txBody>
      </p:sp>
      <p:sp>
        <p:nvSpPr>
          <p:cNvPr id="42" name="Text Placeholder 49">
            <a:extLst>
              <a:ext uri="{FF2B5EF4-FFF2-40B4-BE49-F238E27FC236}">
                <a16:creationId xmlns:a16="http://schemas.microsoft.com/office/drawing/2014/main" id="{6B778356-AEDE-2178-B6B6-47ED5F8BE9A0}"/>
              </a:ext>
            </a:extLst>
          </p:cNvPr>
          <p:cNvSpPr>
            <a:spLocks noGrp="1"/>
          </p:cNvSpPr>
          <p:nvPr>
            <p:ph type="body" sz="quarter" idx="73" hasCustomPrompt="1"/>
          </p:nvPr>
        </p:nvSpPr>
        <p:spPr>
          <a:xfrm>
            <a:off x="5279759" y="4354414"/>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43" name="Text Placeholder 49">
            <a:extLst>
              <a:ext uri="{FF2B5EF4-FFF2-40B4-BE49-F238E27FC236}">
                <a16:creationId xmlns:a16="http://schemas.microsoft.com/office/drawing/2014/main" id="{BB772CA3-8EE1-ABC9-A84F-A082F1ABD76B}"/>
              </a:ext>
            </a:extLst>
          </p:cNvPr>
          <p:cNvSpPr>
            <a:spLocks noGrp="1"/>
          </p:cNvSpPr>
          <p:nvPr>
            <p:ph type="body" sz="quarter" idx="74" hasCustomPrompt="1"/>
          </p:nvPr>
        </p:nvSpPr>
        <p:spPr>
          <a:xfrm>
            <a:off x="3709368" y="2530979"/>
            <a:ext cx="1722280" cy="183643"/>
          </a:xfrm>
        </p:spPr>
        <p:txBody>
          <a:bodyPr>
            <a:normAutofit/>
          </a:bodyPr>
          <a:lstStyle>
            <a:lvl1pPr algn="ctr">
              <a:defRPr sz="1200" b="1">
                <a:solidFill>
                  <a:schemeClr val="bg1"/>
                </a:solidFill>
              </a:defRPr>
            </a:lvl1pPr>
          </a:lstStyle>
          <a:p>
            <a:pPr lvl="0"/>
            <a:r>
              <a:rPr lang="en-US"/>
              <a:t>Lorem ipsum dolor</a:t>
            </a:r>
          </a:p>
        </p:txBody>
      </p:sp>
      <p:sp>
        <p:nvSpPr>
          <p:cNvPr id="44" name="Text Placeholder 49">
            <a:extLst>
              <a:ext uri="{FF2B5EF4-FFF2-40B4-BE49-F238E27FC236}">
                <a16:creationId xmlns:a16="http://schemas.microsoft.com/office/drawing/2014/main" id="{1C4760D6-921A-0C5C-DAD2-7FBA8C517CBE}"/>
              </a:ext>
            </a:extLst>
          </p:cNvPr>
          <p:cNvSpPr>
            <a:spLocks noGrp="1"/>
          </p:cNvSpPr>
          <p:nvPr>
            <p:ph type="body" sz="quarter" idx="75" hasCustomPrompt="1"/>
          </p:nvPr>
        </p:nvSpPr>
        <p:spPr>
          <a:xfrm>
            <a:off x="3709368" y="2714622"/>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97752320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Four step process - diamon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diamond</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230DAD22-2C19-2F21-4187-DF772840494A}"/>
              </a:ext>
            </a:extLst>
          </p:cNvPr>
          <p:cNvGrpSpPr/>
          <p:nvPr userDrawn="1">
            <p:custDataLst>
              <p:tags r:id="rId1"/>
            </p:custDataLst>
          </p:nvPr>
        </p:nvGrpSpPr>
        <p:grpSpPr>
          <a:xfrm>
            <a:off x="2475322" y="1509032"/>
            <a:ext cx="7300264" cy="4336900"/>
            <a:chOff x="564114" y="2027815"/>
            <a:chExt cx="6870520" cy="4081600"/>
          </a:xfrm>
          <a:solidFill>
            <a:schemeClr val="tx1"/>
          </a:solidFill>
        </p:grpSpPr>
        <p:grpSp>
          <p:nvGrpSpPr>
            <p:cNvPr id="9" name="Group 8">
              <a:extLst>
                <a:ext uri="{FF2B5EF4-FFF2-40B4-BE49-F238E27FC236}">
                  <a16:creationId xmlns:a16="http://schemas.microsoft.com/office/drawing/2014/main" id="{2D10BD74-D4ED-61FD-B089-C2DD21C92780}"/>
                </a:ext>
              </a:extLst>
            </p:cNvPr>
            <p:cNvGrpSpPr/>
            <p:nvPr/>
          </p:nvGrpSpPr>
          <p:grpSpPr>
            <a:xfrm>
              <a:off x="564114" y="2027815"/>
              <a:ext cx="2649040" cy="2649040"/>
              <a:chOff x="564114" y="1936375"/>
              <a:chExt cx="2649040" cy="2649040"/>
            </a:xfrm>
            <a:grpFill/>
          </p:grpSpPr>
          <p:sp>
            <p:nvSpPr>
              <p:cNvPr id="25" name="Diamond 24">
                <a:extLst>
                  <a:ext uri="{FF2B5EF4-FFF2-40B4-BE49-F238E27FC236}">
                    <a16:creationId xmlns:a16="http://schemas.microsoft.com/office/drawing/2014/main" id="{464C56CD-D29A-EAB3-DA61-2B71ED6E5790}"/>
                  </a:ext>
                </a:extLst>
              </p:cNvPr>
              <p:cNvSpPr/>
              <p:nvPr/>
            </p:nvSpPr>
            <p:spPr>
              <a:xfrm>
                <a:off x="564115" y="1936375"/>
                <a:ext cx="2649039" cy="2649040"/>
              </a:xfrm>
              <a:prstGeom prst="diamond">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80000" rIns="0" bIns="180000" rtlCol="0" anchor="ctr">
                <a:noAutofit/>
              </a:bodyPr>
              <a:lstStyle/>
              <a:p>
                <a:pPr algn="ctr"/>
                <a:endParaRPr lang="en-GB" sz="1200">
                  <a:solidFill>
                    <a:schemeClr val="bg1"/>
                  </a:solidFill>
                </a:endParaRPr>
              </a:p>
            </p:txBody>
          </p:sp>
          <p:sp>
            <p:nvSpPr>
              <p:cNvPr id="26" name="Diamond 25">
                <a:extLst>
                  <a:ext uri="{FF2B5EF4-FFF2-40B4-BE49-F238E27FC236}">
                    <a16:creationId xmlns:a16="http://schemas.microsoft.com/office/drawing/2014/main" id="{FAA9C34C-6179-0272-22DA-469AD8A7B746}"/>
                  </a:ext>
                </a:extLst>
              </p:cNvPr>
              <p:cNvSpPr/>
              <p:nvPr/>
            </p:nvSpPr>
            <p:spPr>
              <a:xfrm>
                <a:off x="564114" y="2990451"/>
                <a:ext cx="540000" cy="540000"/>
              </a:xfrm>
              <a:prstGeom prst="diamon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180000" rIns="36000" bIns="180000" rtlCol="0" anchor="ctr">
                <a:noAutofit/>
              </a:bodyPr>
              <a:lstStyle/>
              <a:p>
                <a:pPr algn="ctr"/>
                <a:r>
                  <a:rPr lang="en-GB" sz="1400" b="1">
                    <a:solidFill>
                      <a:schemeClr val="bg1"/>
                    </a:solidFill>
                  </a:rPr>
                  <a:t>01</a:t>
                </a:r>
              </a:p>
            </p:txBody>
          </p:sp>
        </p:grpSp>
        <p:grpSp>
          <p:nvGrpSpPr>
            <p:cNvPr id="10" name="Group 9">
              <a:extLst>
                <a:ext uri="{FF2B5EF4-FFF2-40B4-BE49-F238E27FC236}">
                  <a16:creationId xmlns:a16="http://schemas.microsoft.com/office/drawing/2014/main" id="{2A4D105B-D898-162C-3282-B712FBDD115E}"/>
                </a:ext>
              </a:extLst>
            </p:cNvPr>
            <p:cNvGrpSpPr/>
            <p:nvPr/>
          </p:nvGrpSpPr>
          <p:grpSpPr>
            <a:xfrm>
              <a:off x="3378434" y="2027815"/>
              <a:ext cx="2649040" cy="2649040"/>
              <a:chOff x="564114" y="1936375"/>
              <a:chExt cx="2649040" cy="2649040"/>
            </a:xfrm>
            <a:grpFill/>
          </p:grpSpPr>
          <p:sp>
            <p:nvSpPr>
              <p:cNvPr id="23" name="Diamond 22">
                <a:extLst>
                  <a:ext uri="{FF2B5EF4-FFF2-40B4-BE49-F238E27FC236}">
                    <a16:creationId xmlns:a16="http://schemas.microsoft.com/office/drawing/2014/main" id="{481907B7-DF25-1009-D232-1F4B564CE8CD}"/>
                  </a:ext>
                </a:extLst>
              </p:cNvPr>
              <p:cNvSpPr/>
              <p:nvPr/>
            </p:nvSpPr>
            <p:spPr>
              <a:xfrm>
                <a:off x="564115" y="1936375"/>
                <a:ext cx="2649039" cy="2649040"/>
              </a:xfrm>
              <a:prstGeom prst="diamond">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80000" rIns="0" bIns="180000" rtlCol="0" anchor="ctr">
                <a:noAutofit/>
              </a:bodyPr>
              <a:lstStyle/>
              <a:p>
                <a:pPr algn="ctr"/>
                <a:endParaRPr lang="en-GB" sz="1200">
                  <a:solidFill>
                    <a:schemeClr val="bg1"/>
                  </a:solidFill>
                </a:endParaRPr>
              </a:p>
            </p:txBody>
          </p:sp>
          <p:sp>
            <p:nvSpPr>
              <p:cNvPr id="24" name="Diamond 23">
                <a:extLst>
                  <a:ext uri="{FF2B5EF4-FFF2-40B4-BE49-F238E27FC236}">
                    <a16:creationId xmlns:a16="http://schemas.microsoft.com/office/drawing/2014/main" id="{2B01E26D-5B54-C827-E2FD-330077EE1F08}"/>
                  </a:ext>
                </a:extLst>
              </p:cNvPr>
              <p:cNvSpPr/>
              <p:nvPr/>
            </p:nvSpPr>
            <p:spPr>
              <a:xfrm>
                <a:off x="564114" y="2990451"/>
                <a:ext cx="540000" cy="540000"/>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180000" rIns="36000" bIns="180000" rtlCol="0" anchor="ctr">
                <a:noAutofit/>
              </a:bodyPr>
              <a:lstStyle/>
              <a:p>
                <a:pPr algn="ctr"/>
                <a:r>
                  <a:rPr lang="en-GB" sz="1400" b="1">
                    <a:solidFill>
                      <a:schemeClr val="bg1"/>
                    </a:solidFill>
                  </a:rPr>
                  <a:t>03</a:t>
                </a:r>
              </a:p>
            </p:txBody>
          </p:sp>
        </p:grpSp>
        <p:grpSp>
          <p:nvGrpSpPr>
            <p:cNvPr id="16" name="Group 15">
              <a:extLst>
                <a:ext uri="{FF2B5EF4-FFF2-40B4-BE49-F238E27FC236}">
                  <a16:creationId xmlns:a16="http://schemas.microsoft.com/office/drawing/2014/main" id="{B2CCEE33-D56F-8618-1974-7B7B945C7EBE}"/>
                </a:ext>
              </a:extLst>
            </p:cNvPr>
            <p:cNvGrpSpPr/>
            <p:nvPr/>
          </p:nvGrpSpPr>
          <p:grpSpPr>
            <a:xfrm>
              <a:off x="1971274" y="3460375"/>
              <a:ext cx="2649040" cy="2649040"/>
              <a:chOff x="564114" y="1936375"/>
              <a:chExt cx="2649040" cy="2649040"/>
            </a:xfrm>
            <a:grpFill/>
          </p:grpSpPr>
          <p:sp>
            <p:nvSpPr>
              <p:cNvPr id="21" name="Diamond 20">
                <a:extLst>
                  <a:ext uri="{FF2B5EF4-FFF2-40B4-BE49-F238E27FC236}">
                    <a16:creationId xmlns:a16="http://schemas.microsoft.com/office/drawing/2014/main" id="{44762835-27B5-83D0-BDC8-568B7E6467E9}"/>
                  </a:ext>
                </a:extLst>
              </p:cNvPr>
              <p:cNvSpPr/>
              <p:nvPr/>
            </p:nvSpPr>
            <p:spPr>
              <a:xfrm>
                <a:off x="564115" y="1936375"/>
                <a:ext cx="2649039" cy="2649040"/>
              </a:xfrm>
              <a:prstGeom prst="diamond">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80000" rIns="0" bIns="180000" rtlCol="0" anchor="ctr">
                <a:noAutofit/>
              </a:bodyPr>
              <a:lstStyle/>
              <a:p>
                <a:pPr algn="ctr"/>
                <a:endParaRPr lang="en-GB" sz="1200">
                  <a:solidFill>
                    <a:schemeClr val="bg1"/>
                  </a:solidFill>
                </a:endParaRPr>
              </a:p>
            </p:txBody>
          </p:sp>
          <p:sp>
            <p:nvSpPr>
              <p:cNvPr id="22" name="Diamond 21">
                <a:extLst>
                  <a:ext uri="{FF2B5EF4-FFF2-40B4-BE49-F238E27FC236}">
                    <a16:creationId xmlns:a16="http://schemas.microsoft.com/office/drawing/2014/main" id="{E4E54D91-DA5F-A562-5FDA-4E01D46CFAE8}"/>
                  </a:ext>
                </a:extLst>
              </p:cNvPr>
              <p:cNvSpPr/>
              <p:nvPr/>
            </p:nvSpPr>
            <p:spPr>
              <a:xfrm>
                <a:off x="564114" y="2990451"/>
                <a:ext cx="540000" cy="540000"/>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180000" rIns="36000" bIns="180000" rtlCol="0" anchor="ctr">
                <a:noAutofit/>
              </a:bodyPr>
              <a:lstStyle/>
              <a:p>
                <a:pPr algn="ctr"/>
                <a:r>
                  <a:rPr lang="en-GB" sz="1400" b="1">
                    <a:solidFill>
                      <a:schemeClr val="bg1"/>
                    </a:solidFill>
                  </a:rPr>
                  <a:t>02</a:t>
                </a:r>
              </a:p>
            </p:txBody>
          </p:sp>
        </p:grpSp>
        <p:grpSp>
          <p:nvGrpSpPr>
            <p:cNvPr id="17" name="Group 16">
              <a:extLst>
                <a:ext uri="{FF2B5EF4-FFF2-40B4-BE49-F238E27FC236}">
                  <a16:creationId xmlns:a16="http://schemas.microsoft.com/office/drawing/2014/main" id="{54B8D338-5DA7-97D9-D23C-D97AFF3A9D41}"/>
                </a:ext>
              </a:extLst>
            </p:cNvPr>
            <p:cNvGrpSpPr/>
            <p:nvPr/>
          </p:nvGrpSpPr>
          <p:grpSpPr>
            <a:xfrm>
              <a:off x="4785594" y="3460375"/>
              <a:ext cx="2649040" cy="2649040"/>
              <a:chOff x="564114" y="1936375"/>
              <a:chExt cx="2649040" cy="2649040"/>
            </a:xfrm>
            <a:grpFill/>
          </p:grpSpPr>
          <p:sp>
            <p:nvSpPr>
              <p:cNvPr id="18" name="Diamond 17">
                <a:extLst>
                  <a:ext uri="{FF2B5EF4-FFF2-40B4-BE49-F238E27FC236}">
                    <a16:creationId xmlns:a16="http://schemas.microsoft.com/office/drawing/2014/main" id="{D8E01DB6-E8B0-65B3-FAC4-71FB340CBE3E}"/>
                  </a:ext>
                </a:extLst>
              </p:cNvPr>
              <p:cNvSpPr/>
              <p:nvPr/>
            </p:nvSpPr>
            <p:spPr>
              <a:xfrm>
                <a:off x="564115" y="1936375"/>
                <a:ext cx="2649039" cy="2649040"/>
              </a:xfrm>
              <a:prstGeom prst="diamond">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80000" rIns="0" bIns="180000" rtlCol="0" anchor="ctr">
                <a:noAutofit/>
              </a:bodyPr>
              <a:lstStyle/>
              <a:p>
                <a:pPr algn="ctr"/>
                <a:endParaRPr lang="en-GB" sz="1200">
                  <a:solidFill>
                    <a:schemeClr val="bg1"/>
                  </a:solidFill>
                </a:endParaRPr>
              </a:p>
            </p:txBody>
          </p:sp>
          <p:sp>
            <p:nvSpPr>
              <p:cNvPr id="20" name="Diamond 19">
                <a:extLst>
                  <a:ext uri="{FF2B5EF4-FFF2-40B4-BE49-F238E27FC236}">
                    <a16:creationId xmlns:a16="http://schemas.microsoft.com/office/drawing/2014/main" id="{5CC8E212-DB09-E00A-4FF5-33AD13915E53}"/>
                  </a:ext>
                </a:extLst>
              </p:cNvPr>
              <p:cNvSpPr/>
              <p:nvPr/>
            </p:nvSpPr>
            <p:spPr>
              <a:xfrm>
                <a:off x="564114" y="2990451"/>
                <a:ext cx="540000" cy="540000"/>
              </a:xfrm>
              <a:prstGeom prst="diamon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180000" rIns="36000" bIns="180000" rtlCol="0" anchor="ctr">
                <a:noAutofit/>
              </a:bodyPr>
              <a:lstStyle/>
              <a:p>
                <a:pPr algn="ctr"/>
                <a:r>
                  <a:rPr lang="en-GB" sz="1400" b="1">
                    <a:solidFill>
                      <a:schemeClr val="bg1"/>
                    </a:solidFill>
                  </a:rPr>
                  <a:t>04</a:t>
                </a:r>
              </a:p>
            </p:txBody>
          </p:sp>
        </p:grpSp>
      </p:grpSp>
      <p:sp>
        <p:nvSpPr>
          <p:cNvPr id="27" name="Text Placeholder 49">
            <a:extLst>
              <a:ext uri="{FF2B5EF4-FFF2-40B4-BE49-F238E27FC236}">
                <a16:creationId xmlns:a16="http://schemas.microsoft.com/office/drawing/2014/main" id="{9767435C-FF8F-3F0F-B433-88C7462BCA0E}"/>
              </a:ext>
            </a:extLst>
          </p:cNvPr>
          <p:cNvSpPr>
            <a:spLocks noGrp="1"/>
          </p:cNvSpPr>
          <p:nvPr>
            <p:ph type="body" sz="quarter" idx="70" hasCustomPrompt="1"/>
          </p:nvPr>
        </p:nvSpPr>
        <p:spPr>
          <a:xfrm>
            <a:off x="6039452" y="2407157"/>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87CE1B08-4B2C-412F-E43F-0BF8ABD85CF9}"/>
              </a:ext>
            </a:extLst>
          </p:cNvPr>
          <p:cNvSpPr>
            <a:spLocks noGrp="1"/>
          </p:cNvSpPr>
          <p:nvPr>
            <p:ph type="body" sz="quarter" idx="71" hasCustomPrompt="1"/>
          </p:nvPr>
        </p:nvSpPr>
        <p:spPr>
          <a:xfrm>
            <a:off x="6039452" y="2590800"/>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9D8DB659-6AB3-94AA-D92E-372C9FAF79FC}"/>
              </a:ext>
            </a:extLst>
          </p:cNvPr>
          <p:cNvSpPr>
            <a:spLocks noGrp="1"/>
          </p:cNvSpPr>
          <p:nvPr>
            <p:ph type="body" sz="quarter" idx="72" hasCustomPrompt="1"/>
          </p:nvPr>
        </p:nvSpPr>
        <p:spPr>
          <a:xfrm>
            <a:off x="7534627" y="3945597"/>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314BBDC8-66E0-746F-5226-5EEF12ECE344}"/>
              </a:ext>
            </a:extLst>
          </p:cNvPr>
          <p:cNvSpPr>
            <a:spLocks noGrp="1"/>
          </p:cNvSpPr>
          <p:nvPr>
            <p:ph type="body" sz="quarter" idx="73" hasCustomPrompt="1"/>
          </p:nvPr>
        </p:nvSpPr>
        <p:spPr>
          <a:xfrm>
            <a:off x="7534627" y="4129240"/>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F0885D6D-BAA0-CE08-4850-FF801C40C037}"/>
              </a:ext>
            </a:extLst>
          </p:cNvPr>
          <p:cNvSpPr>
            <a:spLocks noGrp="1"/>
          </p:cNvSpPr>
          <p:nvPr>
            <p:ph type="body" sz="quarter" idx="74" hasCustomPrompt="1"/>
          </p:nvPr>
        </p:nvSpPr>
        <p:spPr>
          <a:xfrm>
            <a:off x="4544275" y="3925938"/>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DFF3AF5A-2D39-7061-FC42-B006AE2B5384}"/>
              </a:ext>
            </a:extLst>
          </p:cNvPr>
          <p:cNvSpPr>
            <a:spLocks noGrp="1"/>
          </p:cNvSpPr>
          <p:nvPr>
            <p:ph type="body" sz="quarter" idx="75" hasCustomPrompt="1"/>
          </p:nvPr>
        </p:nvSpPr>
        <p:spPr>
          <a:xfrm>
            <a:off x="4544275" y="4109581"/>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0AE35797-B11D-C017-5906-CD081ADF0C0A}"/>
              </a:ext>
            </a:extLst>
          </p:cNvPr>
          <p:cNvSpPr>
            <a:spLocks noGrp="1"/>
          </p:cNvSpPr>
          <p:nvPr>
            <p:ph type="body" sz="quarter" idx="76" hasCustomPrompt="1"/>
          </p:nvPr>
        </p:nvSpPr>
        <p:spPr>
          <a:xfrm>
            <a:off x="3008798" y="2413342"/>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DA6236E5-4360-ABE0-E9D9-ADD97B1B9BF3}"/>
              </a:ext>
            </a:extLst>
          </p:cNvPr>
          <p:cNvSpPr>
            <a:spLocks noGrp="1"/>
          </p:cNvSpPr>
          <p:nvPr>
            <p:ph type="body" sz="quarter" idx="77" hasCustomPrompt="1"/>
          </p:nvPr>
        </p:nvSpPr>
        <p:spPr>
          <a:xfrm>
            <a:off x="3008798" y="259698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10317739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Divider">
    <p:spTree>
      <p:nvGrpSpPr>
        <p:cNvPr id="1" name=""/>
        <p:cNvGrpSpPr/>
        <p:nvPr/>
      </p:nvGrpSpPr>
      <p:grpSpPr>
        <a:xfrm>
          <a:off x="0" y="0"/>
          <a:ext cx="0" cy="0"/>
          <a:chOff x="0" y="0"/>
          <a:chExt cx="0" cy="0"/>
        </a:xfrm>
      </p:grpSpPr>
      <p:pic>
        <p:nvPicPr>
          <p:cNvPr id="13" name="Progress blocks">
            <a:extLst>
              <a:ext uri="{FF2B5EF4-FFF2-40B4-BE49-F238E27FC236}">
                <a16:creationId xmlns:a16="http://schemas.microsoft.com/office/drawing/2014/main" id="{BC8C1B60-3832-442C-8271-CBEF23084AA0}"/>
              </a:ext>
            </a:extLst>
          </p:cNvPr>
          <p:cNvPicPr>
            <a:picLocks noChangeAspect="1"/>
          </p:cNvPicPr>
          <p:nvPr/>
        </p:nvPicPr>
        <p:blipFill rotWithShape="1">
          <a:blip r:embed="rId2">
            <a:extLst>
              <a:ext uri="{28A0092B-C50C-407E-A947-70E740481C1C}">
                <a14:useLocalDpi xmlns:a14="http://schemas.microsoft.com/office/drawing/2010/main" val="0"/>
              </a:ext>
            </a:extLst>
          </a:blip>
          <a:srcRect l="24685"/>
          <a:stretch/>
        </p:blipFill>
        <p:spPr>
          <a:xfrm>
            <a:off x="3009900" y="883"/>
            <a:ext cx="9182098" cy="6856445"/>
          </a:xfrm>
          <a:prstGeom prst="rect">
            <a:avLst/>
          </a:prstGeom>
        </p:spPr>
      </p:pic>
      <p:sp>
        <p:nvSpPr>
          <p:cNvPr id="2" name="Divider Subtitle"/>
          <p:cNvSpPr>
            <a:spLocks noGrp="1"/>
          </p:cNvSpPr>
          <p:nvPr>
            <p:ph type="title" hasCustomPrompt="1"/>
          </p:nvPr>
        </p:nvSpPr>
        <p:spPr>
          <a:xfrm>
            <a:off x="4991100" y="4809744"/>
            <a:ext cx="6118860" cy="420624"/>
          </a:xfrm>
        </p:spPr>
        <p:txBody>
          <a:bodyPr anchor="t" anchorCtr="0">
            <a:normAutofit/>
          </a:bodyPr>
          <a:lstStyle>
            <a:lvl1pPr algn="l">
              <a:defRPr sz="2667" b="0" cap="none" baseline="0">
                <a:solidFill>
                  <a:schemeClr val="bg1"/>
                </a:solidFill>
                <a:latin typeface="+mn-lt"/>
              </a:defRPr>
            </a:lvl1pPr>
          </a:lstStyle>
          <a:p>
            <a:r>
              <a:rPr lang="en-US"/>
              <a:t>Click to edit divider subtitle</a:t>
            </a:r>
          </a:p>
        </p:txBody>
      </p:sp>
      <p:sp>
        <p:nvSpPr>
          <p:cNvPr id="3" name="Divider Title"/>
          <p:cNvSpPr>
            <a:spLocks noGrp="1"/>
          </p:cNvSpPr>
          <p:nvPr>
            <p:ph type="body" idx="1" hasCustomPrompt="1"/>
          </p:nvPr>
        </p:nvSpPr>
        <p:spPr>
          <a:xfrm>
            <a:off x="4991100" y="2276856"/>
            <a:ext cx="6118860" cy="1975104"/>
          </a:xfrm>
        </p:spPr>
        <p:txBody>
          <a:bodyPr anchor="b" anchorCtr="0">
            <a:noAutofit/>
          </a:bodyPr>
          <a:lstStyle>
            <a:lvl1pPr marL="0" indent="0">
              <a:lnSpc>
                <a:spcPct val="100000"/>
              </a:lnSpc>
              <a:spcAft>
                <a:spcPts val="0"/>
              </a:spcAft>
              <a:buNone/>
              <a:defRPr sz="4400" cap="all" baseline="0">
                <a:solidFill>
                  <a:schemeClr val="bg1"/>
                </a:solidFill>
                <a:latin typeface="+mj-lt"/>
              </a:defRPr>
            </a:lvl1pPr>
            <a:lvl2pPr marL="544166" indent="0">
              <a:buNone/>
              <a:defRPr sz="2133">
                <a:solidFill>
                  <a:schemeClr val="tx1">
                    <a:tint val="75000"/>
                  </a:schemeClr>
                </a:solidFill>
              </a:defRPr>
            </a:lvl2pPr>
            <a:lvl3pPr marL="1088333" indent="0">
              <a:buNone/>
              <a:defRPr sz="1867">
                <a:solidFill>
                  <a:schemeClr val="tx1">
                    <a:tint val="75000"/>
                  </a:schemeClr>
                </a:solidFill>
              </a:defRPr>
            </a:lvl3pPr>
            <a:lvl4pPr marL="1632498" indent="0">
              <a:buNone/>
              <a:defRPr sz="1733">
                <a:solidFill>
                  <a:schemeClr val="tx1">
                    <a:tint val="75000"/>
                  </a:schemeClr>
                </a:solidFill>
              </a:defRPr>
            </a:lvl4pPr>
            <a:lvl5pPr marL="2176666" indent="0">
              <a:buNone/>
              <a:defRPr sz="1733">
                <a:solidFill>
                  <a:schemeClr val="tx1">
                    <a:tint val="75000"/>
                  </a:schemeClr>
                </a:solidFill>
              </a:defRPr>
            </a:lvl5pPr>
            <a:lvl6pPr marL="2720832" indent="0">
              <a:buNone/>
              <a:defRPr sz="1733">
                <a:solidFill>
                  <a:schemeClr val="tx1">
                    <a:tint val="75000"/>
                  </a:schemeClr>
                </a:solidFill>
              </a:defRPr>
            </a:lvl6pPr>
            <a:lvl7pPr marL="3264997" indent="0">
              <a:buNone/>
              <a:defRPr sz="1733">
                <a:solidFill>
                  <a:schemeClr val="tx1">
                    <a:tint val="75000"/>
                  </a:schemeClr>
                </a:solidFill>
              </a:defRPr>
            </a:lvl7pPr>
            <a:lvl8pPr marL="3809163" indent="0">
              <a:buNone/>
              <a:defRPr sz="1733">
                <a:solidFill>
                  <a:schemeClr val="tx1">
                    <a:tint val="75000"/>
                  </a:schemeClr>
                </a:solidFill>
              </a:defRPr>
            </a:lvl8pPr>
            <a:lvl9pPr marL="4353330" indent="0">
              <a:buNone/>
              <a:defRPr sz="1733">
                <a:solidFill>
                  <a:schemeClr val="tx1">
                    <a:tint val="75000"/>
                  </a:schemeClr>
                </a:solidFill>
              </a:defRPr>
            </a:lvl9pPr>
          </a:lstStyle>
          <a:p>
            <a:pPr lvl="0"/>
            <a:r>
              <a:rPr lang="en-US"/>
              <a:t>Click to edit divider title</a:t>
            </a:r>
          </a:p>
        </p:txBody>
      </p:sp>
      <p:pic>
        <p:nvPicPr>
          <p:cNvPr id="14" name="RSM Logo" descr="Z:\RSM International\1 Design\2015\Brand\Guidelines\Logos\Logos-03.png">
            <a:extLst>
              <a:ext uri="{FF2B5EF4-FFF2-40B4-BE49-F238E27FC236}">
                <a16:creationId xmlns:a16="http://schemas.microsoft.com/office/drawing/2014/main" id="{1594667D-294D-42D5-905E-624CB17110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37313" y="335301"/>
            <a:ext cx="1464507" cy="626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793227"/>
      </p:ext>
    </p:extLst>
  </p:cSld>
  <p:clrMapOvr>
    <a:masterClrMapping/>
  </p:clrMapOvr>
  <p:extLst>
    <p:ext uri="{DCECCB84-F9BA-43D5-87BE-67443E8EF086}">
      <p15:sldGuideLst xmlns:p15="http://schemas.microsoft.com/office/powerpoint/2012/main">
        <p15:guide id="1" pos="3144">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hree step process - outlin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step process - outlin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27" name="Group 26">
            <a:extLst>
              <a:ext uri="{FF2B5EF4-FFF2-40B4-BE49-F238E27FC236}">
                <a16:creationId xmlns:a16="http://schemas.microsoft.com/office/drawing/2014/main" id="{A402842E-8452-92DA-9F96-B6A38FB8DC59}"/>
              </a:ext>
            </a:extLst>
          </p:cNvPr>
          <p:cNvGrpSpPr/>
          <p:nvPr userDrawn="1"/>
        </p:nvGrpSpPr>
        <p:grpSpPr>
          <a:xfrm>
            <a:off x="871634" y="2051252"/>
            <a:ext cx="10564716" cy="3886768"/>
            <a:chOff x="871634" y="1822195"/>
            <a:chExt cx="10564716" cy="3886768"/>
          </a:xfrm>
        </p:grpSpPr>
        <p:sp>
          <p:nvSpPr>
            <p:cNvPr id="28" name="Triangle 27">
              <a:extLst>
                <a:ext uri="{FF2B5EF4-FFF2-40B4-BE49-F238E27FC236}">
                  <a16:creationId xmlns:a16="http://schemas.microsoft.com/office/drawing/2014/main" id="{C4570B9D-8BC4-083A-A446-46258ABFE2B5}"/>
                </a:ext>
              </a:extLst>
            </p:cNvPr>
            <p:cNvSpPr/>
            <p:nvPr/>
          </p:nvSpPr>
          <p:spPr>
            <a:xfrm rot="5400000">
              <a:off x="4061876" y="3629173"/>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Triangle 28">
              <a:extLst>
                <a:ext uri="{FF2B5EF4-FFF2-40B4-BE49-F238E27FC236}">
                  <a16:creationId xmlns:a16="http://schemas.microsoft.com/office/drawing/2014/main" id="{21500193-C581-0DE3-F151-982E61780CE6}"/>
                </a:ext>
              </a:extLst>
            </p:cNvPr>
            <p:cNvSpPr/>
            <p:nvPr/>
          </p:nvSpPr>
          <p:spPr>
            <a:xfrm rot="5400000">
              <a:off x="7720675" y="3629173"/>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nvGrpSpPr>
            <p:cNvPr id="30" name="Group 29">
              <a:extLst>
                <a:ext uri="{FF2B5EF4-FFF2-40B4-BE49-F238E27FC236}">
                  <a16:creationId xmlns:a16="http://schemas.microsoft.com/office/drawing/2014/main" id="{874E9D1D-DB8C-E1FC-EA16-D70DDB4614B8}"/>
                </a:ext>
              </a:extLst>
            </p:cNvPr>
            <p:cNvGrpSpPr/>
            <p:nvPr/>
          </p:nvGrpSpPr>
          <p:grpSpPr>
            <a:xfrm>
              <a:off x="871634" y="1822195"/>
              <a:ext cx="10564716" cy="3886768"/>
              <a:chOff x="848312" y="1689100"/>
              <a:chExt cx="10564716" cy="3886768"/>
            </a:xfrm>
          </p:grpSpPr>
          <p:grpSp>
            <p:nvGrpSpPr>
              <p:cNvPr id="31" name="Group 30">
                <a:extLst>
                  <a:ext uri="{FF2B5EF4-FFF2-40B4-BE49-F238E27FC236}">
                    <a16:creationId xmlns:a16="http://schemas.microsoft.com/office/drawing/2014/main" id="{E929F2F3-BFD5-7E88-BECD-319290DE7276}"/>
                  </a:ext>
                </a:extLst>
              </p:cNvPr>
              <p:cNvGrpSpPr/>
              <p:nvPr/>
            </p:nvGrpSpPr>
            <p:grpSpPr>
              <a:xfrm>
                <a:off x="848312" y="1689100"/>
                <a:ext cx="3208971" cy="3886767"/>
                <a:chOff x="577366" y="1689100"/>
                <a:chExt cx="3208971" cy="3886767"/>
              </a:xfrm>
            </p:grpSpPr>
            <p:sp>
              <p:nvSpPr>
                <p:cNvPr id="40" name="Rectangle 39">
                  <a:extLst>
                    <a:ext uri="{FF2B5EF4-FFF2-40B4-BE49-F238E27FC236}">
                      <a16:creationId xmlns:a16="http://schemas.microsoft.com/office/drawing/2014/main" id="{7A2CD4EE-F9C1-B45A-6362-4F3530921FBF}"/>
                    </a:ext>
                  </a:extLst>
                </p:cNvPr>
                <p:cNvSpPr/>
                <p:nvPr/>
              </p:nvSpPr>
              <p:spPr>
                <a:xfrm>
                  <a:off x="577366" y="1700214"/>
                  <a:ext cx="3208971" cy="3875653"/>
                </a:xfrm>
                <a:prstGeom prst="rect">
                  <a:avLst/>
                </a:prstGeom>
                <a:noFill/>
                <a:ln w="603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260000" rIns="144000" bIns="288000" rtlCol="0" anchor="t" anchorCtr="0">
                  <a:normAutofit/>
                </a:bodyPr>
                <a:lstStyle/>
                <a:p>
                  <a:pPr algn="ctr"/>
                  <a:r>
                    <a:rPr lang="en-GB" sz="3200">
                      <a:solidFill>
                        <a:schemeClr val="tx1"/>
                      </a:solidFill>
                    </a:rPr>
                    <a:t>01</a:t>
                  </a:r>
                </a:p>
                <a:p>
                  <a:pPr algn="ctr"/>
                  <a:endParaRPr lang="en-GB" sz="1600" b="1">
                    <a:solidFill>
                      <a:schemeClr val="tx1"/>
                    </a:solidFill>
                  </a:endParaRPr>
                </a:p>
              </p:txBody>
            </p:sp>
            <p:sp>
              <p:nvSpPr>
                <p:cNvPr id="41" name="Freeform 40">
                  <a:extLst>
                    <a:ext uri="{FF2B5EF4-FFF2-40B4-BE49-F238E27FC236}">
                      <a16:creationId xmlns:a16="http://schemas.microsoft.com/office/drawing/2014/main" id="{C741016F-AD55-1D7F-4255-4BC09AF57029}"/>
                    </a:ext>
                  </a:extLst>
                </p:cNvPr>
                <p:cNvSpPr/>
                <p:nvPr/>
              </p:nvSpPr>
              <p:spPr>
                <a:xfrm rot="10800000">
                  <a:off x="1515116" y="1689100"/>
                  <a:ext cx="1292400" cy="1307523"/>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32" name="Group 31">
                <a:extLst>
                  <a:ext uri="{FF2B5EF4-FFF2-40B4-BE49-F238E27FC236}">
                    <a16:creationId xmlns:a16="http://schemas.microsoft.com/office/drawing/2014/main" id="{7A815FD5-8861-0B20-2179-17C8A0254AA2}"/>
                  </a:ext>
                </a:extLst>
              </p:cNvPr>
              <p:cNvGrpSpPr/>
              <p:nvPr/>
            </p:nvGrpSpPr>
            <p:grpSpPr>
              <a:xfrm>
                <a:off x="4526184" y="1689100"/>
                <a:ext cx="3208971" cy="3886768"/>
                <a:chOff x="4504543" y="1689100"/>
                <a:chExt cx="3208971" cy="3886768"/>
              </a:xfrm>
            </p:grpSpPr>
            <p:sp>
              <p:nvSpPr>
                <p:cNvPr id="37" name="Rectangle 36">
                  <a:extLst>
                    <a:ext uri="{FF2B5EF4-FFF2-40B4-BE49-F238E27FC236}">
                      <a16:creationId xmlns:a16="http://schemas.microsoft.com/office/drawing/2014/main" id="{02FC4674-E9C9-13EF-F166-27242F513B98}"/>
                    </a:ext>
                  </a:extLst>
                </p:cNvPr>
                <p:cNvSpPr/>
                <p:nvPr/>
              </p:nvSpPr>
              <p:spPr>
                <a:xfrm>
                  <a:off x="4504543" y="1700214"/>
                  <a:ext cx="3208971" cy="3875654"/>
                </a:xfrm>
                <a:prstGeom prst="rect">
                  <a:avLst/>
                </a:prstGeom>
                <a:noFill/>
                <a:ln w="603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1260000" rIns="144000" bIns="288000" rtlCol="0" anchor="t" anchorCtr="0">
                  <a:normAutofit/>
                </a:bodyPr>
                <a:lstStyle/>
                <a:p>
                  <a:pPr algn="ctr"/>
                  <a:r>
                    <a:rPr lang="en-GB" sz="3200">
                      <a:solidFill>
                        <a:schemeClr val="tx1"/>
                      </a:solidFill>
                    </a:rPr>
                    <a:t>02</a:t>
                  </a:r>
                </a:p>
                <a:p>
                  <a:pPr algn="ctr"/>
                  <a:endParaRPr lang="en-GB" sz="1600" b="1">
                    <a:solidFill>
                      <a:schemeClr val="tx1"/>
                    </a:solidFill>
                  </a:endParaRPr>
                </a:p>
              </p:txBody>
            </p:sp>
            <p:sp>
              <p:nvSpPr>
                <p:cNvPr id="38" name="Freeform 37">
                  <a:extLst>
                    <a:ext uri="{FF2B5EF4-FFF2-40B4-BE49-F238E27FC236}">
                      <a16:creationId xmlns:a16="http://schemas.microsoft.com/office/drawing/2014/main" id="{1C0F5015-6E92-C57F-67CB-DBDC6FDCE451}"/>
                    </a:ext>
                  </a:extLst>
                </p:cNvPr>
                <p:cNvSpPr/>
                <p:nvPr/>
              </p:nvSpPr>
              <p:spPr>
                <a:xfrm rot="10800000">
                  <a:off x="5462828" y="1689100"/>
                  <a:ext cx="1292400" cy="1307523"/>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33" name="Group 32">
                <a:extLst>
                  <a:ext uri="{FF2B5EF4-FFF2-40B4-BE49-F238E27FC236}">
                    <a16:creationId xmlns:a16="http://schemas.microsoft.com/office/drawing/2014/main" id="{F16DB048-38BB-29B2-3903-479501405FE1}"/>
                  </a:ext>
                </a:extLst>
              </p:cNvPr>
              <p:cNvGrpSpPr/>
              <p:nvPr/>
            </p:nvGrpSpPr>
            <p:grpSpPr>
              <a:xfrm>
                <a:off x="8204057" y="1689100"/>
                <a:ext cx="3208971" cy="3886768"/>
                <a:chOff x="8432166" y="1689100"/>
                <a:chExt cx="3208971" cy="3886768"/>
              </a:xfrm>
            </p:grpSpPr>
            <p:sp>
              <p:nvSpPr>
                <p:cNvPr id="34" name="Freeform 33">
                  <a:extLst>
                    <a:ext uri="{FF2B5EF4-FFF2-40B4-BE49-F238E27FC236}">
                      <a16:creationId xmlns:a16="http://schemas.microsoft.com/office/drawing/2014/main" id="{F37412E8-B040-E2F1-A6CD-9732A415FB6B}"/>
                    </a:ext>
                  </a:extLst>
                </p:cNvPr>
                <p:cNvSpPr/>
                <p:nvPr/>
              </p:nvSpPr>
              <p:spPr>
                <a:xfrm rot="10800000">
                  <a:off x="9390451" y="1689100"/>
                  <a:ext cx="1292400" cy="1307523"/>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sp>
              <p:nvSpPr>
                <p:cNvPr id="35" name="Rectangle 34">
                  <a:extLst>
                    <a:ext uri="{FF2B5EF4-FFF2-40B4-BE49-F238E27FC236}">
                      <a16:creationId xmlns:a16="http://schemas.microsoft.com/office/drawing/2014/main" id="{10215365-F6B1-5DFB-88EA-B079350CFFAF}"/>
                    </a:ext>
                  </a:extLst>
                </p:cNvPr>
                <p:cNvSpPr/>
                <p:nvPr/>
              </p:nvSpPr>
              <p:spPr>
                <a:xfrm>
                  <a:off x="8432166" y="1700214"/>
                  <a:ext cx="3208971" cy="3875654"/>
                </a:xfrm>
                <a:prstGeom prst="rect">
                  <a:avLst/>
                </a:prstGeom>
                <a:noFill/>
                <a:ln w="603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260000" rIns="144000" bIns="288000" rtlCol="0" anchor="t" anchorCtr="0">
                  <a:normAutofit/>
                </a:bodyPr>
                <a:lstStyle/>
                <a:p>
                  <a:pPr algn="ctr"/>
                  <a:r>
                    <a:rPr lang="en-GB" sz="3200">
                      <a:solidFill>
                        <a:schemeClr val="tx1"/>
                      </a:solidFill>
                    </a:rPr>
                    <a:t>03</a:t>
                  </a:r>
                </a:p>
              </p:txBody>
            </p:sp>
          </p:grpSp>
        </p:grpSp>
      </p:grpSp>
      <p:sp>
        <p:nvSpPr>
          <p:cNvPr id="43" name="Picture Placeholder 9">
            <a:extLst>
              <a:ext uri="{FF2B5EF4-FFF2-40B4-BE49-F238E27FC236}">
                <a16:creationId xmlns:a16="http://schemas.microsoft.com/office/drawing/2014/main" id="{BEE3D3BA-A649-E80E-2CB4-DBB5F637ED64}"/>
              </a:ext>
            </a:extLst>
          </p:cNvPr>
          <p:cNvSpPr>
            <a:spLocks noGrp="1"/>
          </p:cNvSpPr>
          <p:nvPr>
            <p:ph type="pic" sz="quarter" idx="19"/>
          </p:nvPr>
        </p:nvSpPr>
        <p:spPr>
          <a:xfrm>
            <a:off x="2056125" y="2230420"/>
            <a:ext cx="730250" cy="730250"/>
          </a:xfrm>
        </p:spPr>
        <p:txBody>
          <a:bodyPr>
            <a:normAutofit/>
          </a:bodyPr>
          <a:lstStyle>
            <a:lvl1pPr>
              <a:defRPr sz="800"/>
            </a:lvl1pPr>
          </a:lstStyle>
          <a:p>
            <a:r>
              <a:rPr lang="en-US"/>
              <a:t>Click icon to add picture</a:t>
            </a:r>
          </a:p>
        </p:txBody>
      </p:sp>
      <p:sp>
        <p:nvSpPr>
          <p:cNvPr id="44" name="Picture Placeholder 9">
            <a:extLst>
              <a:ext uri="{FF2B5EF4-FFF2-40B4-BE49-F238E27FC236}">
                <a16:creationId xmlns:a16="http://schemas.microsoft.com/office/drawing/2014/main" id="{B237C420-C9BD-E101-6835-1037AFE0F68E}"/>
              </a:ext>
            </a:extLst>
          </p:cNvPr>
          <p:cNvSpPr>
            <a:spLocks noGrp="1"/>
          </p:cNvSpPr>
          <p:nvPr>
            <p:ph type="pic" sz="quarter" idx="20"/>
          </p:nvPr>
        </p:nvSpPr>
        <p:spPr>
          <a:xfrm>
            <a:off x="5783193" y="2230420"/>
            <a:ext cx="730250" cy="730250"/>
          </a:xfrm>
        </p:spPr>
        <p:txBody>
          <a:bodyPr>
            <a:normAutofit/>
          </a:bodyPr>
          <a:lstStyle>
            <a:lvl1pPr>
              <a:defRPr sz="800"/>
            </a:lvl1pPr>
          </a:lstStyle>
          <a:p>
            <a:r>
              <a:rPr lang="en-US"/>
              <a:t>Click icon to add picture</a:t>
            </a:r>
          </a:p>
        </p:txBody>
      </p:sp>
      <p:sp>
        <p:nvSpPr>
          <p:cNvPr id="46" name="Picture Placeholder 9">
            <a:extLst>
              <a:ext uri="{FF2B5EF4-FFF2-40B4-BE49-F238E27FC236}">
                <a16:creationId xmlns:a16="http://schemas.microsoft.com/office/drawing/2014/main" id="{3940B5AF-7C66-01F5-1806-00912A52E97A}"/>
              </a:ext>
            </a:extLst>
          </p:cNvPr>
          <p:cNvSpPr>
            <a:spLocks noGrp="1"/>
          </p:cNvSpPr>
          <p:nvPr>
            <p:ph type="pic" sz="quarter" idx="22"/>
          </p:nvPr>
        </p:nvSpPr>
        <p:spPr>
          <a:xfrm>
            <a:off x="9466739" y="2228963"/>
            <a:ext cx="730250" cy="730250"/>
          </a:xfrm>
        </p:spPr>
        <p:txBody>
          <a:bodyPr>
            <a:normAutofit/>
          </a:bodyPr>
          <a:lstStyle>
            <a:lvl1pPr>
              <a:defRPr sz="800"/>
            </a:lvl1pPr>
          </a:lstStyle>
          <a:p>
            <a:r>
              <a:rPr lang="en-US"/>
              <a:t>Click icon to add picture</a:t>
            </a:r>
          </a:p>
        </p:txBody>
      </p:sp>
      <p:sp>
        <p:nvSpPr>
          <p:cNvPr id="47" name="Text Placeholder 49">
            <a:extLst>
              <a:ext uri="{FF2B5EF4-FFF2-40B4-BE49-F238E27FC236}">
                <a16:creationId xmlns:a16="http://schemas.microsoft.com/office/drawing/2014/main" id="{F30F95E6-C1D4-482B-44D9-FA9BE394383B}"/>
              </a:ext>
            </a:extLst>
          </p:cNvPr>
          <p:cNvSpPr>
            <a:spLocks noGrp="1"/>
          </p:cNvSpPr>
          <p:nvPr>
            <p:ph type="body" sz="quarter" idx="55" hasCustomPrompt="1"/>
          </p:nvPr>
        </p:nvSpPr>
        <p:spPr>
          <a:xfrm>
            <a:off x="966912" y="4038800"/>
            <a:ext cx="2995488" cy="1828599"/>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48" name="Text Placeholder 49">
            <a:extLst>
              <a:ext uri="{FF2B5EF4-FFF2-40B4-BE49-F238E27FC236}">
                <a16:creationId xmlns:a16="http://schemas.microsoft.com/office/drawing/2014/main" id="{26FD031D-0561-E584-36DF-9D9F36F270AB}"/>
              </a:ext>
            </a:extLst>
          </p:cNvPr>
          <p:cNvSpPr>
            <a:spLocks noGrp="1"/>
          </p:cNvSpPr>
          <p:nvPr>
            <p:ph type="body" sz="quarter" idx="56" hasCustomPrompt="1"/>
          </p:nvPr>
        </p:nvSpPr>
        <p:spPr>
          <a:xfrm>
            <a:off x="966911" y="3786237"/>
            <a:ext cx="2995488" cy="287245"/>
          </a:xfrm>
        </p:spPr>
        <p:txBody>
          <a:bodyPr>
            <a:normAutofit/>
          </a:bodyPr>
          <a:lstStyle>
            <a:lvl1pPr algn="ctr">
              <a:defRPr sz="1400" b="1">
                <a:solidFill>
                  <a:schemeClr val="tx1"/>
                </a:solidFill>
              </a:defRPr>
            </a:lvl1pPr>
          </a:lstStyle>
          <a:p>
            <a:pPr lvl="0"/>
            <a:r>
              <a:rPr lang="en-US"/>
              <a:t>Lorem ipsum dolor</a:t>
            </a:r>
          </a:p>
        </p:txBody>
      </p:sp>
      <p:sp>
        <p:nvSpPr>
          <p:cNvPr id="49" name="Text Placeholder 49">
            <a:extLst>
              <a:ext uri="{FF2B5EF4-FFF2-40B4-BE49-F238E27FC236}">
                <a16:creationId xmlns:a16="http://schemas.microsoft.com/office/drawing/2014/main" id="{1A58A6EA-3439-E957-F03F-9319D87949AE}"/>
              </a:ext>
            </a:extLst>
          </p:cNvPr>
          <p:cNvSpPr>
            <a:spLocks noGrp="1"/>
          </p:cNvSpPr>
          <p:nvPr>
            <p:ph type="body" sz="quarter" idx="57" hasCustomPrompt="1"/>
          </p:nvPr>
        </p:nvSpPr>
        <p:spPr>
          <a:xfrm>
            <a:off x="4648201" y="4041942"/>
            <a:ext cx="2995488" cy="1828599"/>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0" name="Text Placeholder 49">
            <a:extLst>
              <a:ext uri="{FF2B5EF4-FFF2-40B4-BE49-F238E27FC236}">
                <a16:creationId xmlns:a16="http://schemas.microsoft.com/office/drawing/2014/main" id="{2A76557F-15A9-E70A-9B3B-E4FD1DFE9502}"/>
              </a:ext>
            </a:extLst>
          </p:cNvPr>
          <p:cNvSpPr>
            <a:spLocks noGrp="1"/>
          </p:cNvSpPr>
          <p:nvPr>
            <p:ph type="body" sz="quarter" idx="58" hasCustomPrompt="1"/>
          </p:nvPr>
        </p:nvSpPr>
        <p:spPr>
          <a:xfrm>
            <a:off x="4648200" y="3789379"/>
            <a:ext cx="2995488" cy="287245"/>
          </a:xfrm>
        </p:spPr>
        <p:txBody>
          <a:bodyPr>
            <a:normAutofit/>
          </a:bodyPr>
          <a:lstStyle>
            <a:lvl1pPr algn="ctr">
              <a:defRPr sz="1400" b="1">
                <a:solidFill>
                  <a:schemeClr val="tx1"/>
                </a:solidFill>
              </a:defRPr>
            </a:lvl1pPr>
          </a:lstStyle>
          <a:p>
            <a:pPr lvl="0"/>
            <a:r>
              <a:rPr lang="en-US"/>
              <a:t>Lorem ipsum dolor</a:t>
            </a:r>
          </a:p>
        </p:txBody>
      </p:sp>
      <p:sp>
        <p:nvSpPr>
          <p:cNvPr id="51" name="Text Placeholder 49">
            <a:extLst>
              <a:ext uri="{FF2B5EF4-FFF2-40B4-BE49-F238E27FC236}">
                <a16:creationId xmlns:a16="http://schemas.microsoft.com/office/drawing/2014/main" id="{83FAD55B-0071-5198-B0D2-588A7A8722B5}"/>
              </a:ext>
            </a:extLst>
          </p:cNvPr>
          <p:cNvSpPr>
            <a:spLocks noGrp="1"/>
          </p:cNvSpPr>
          <p:nvPr>
            <p:ph type="body" sz="quarter" idx="59" hasCustomPrompt="1"/>
          </p:nvPr>
        </p:nvSpPr>
        <p:spPr>
          <a:xfrm>
            <a:off x="8281585" y="4038800"/>
            <a:ext cx="2995488" cy="1828599"/>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2" name="Text Placeholder 49">
            <a:extLst>
              <a:ext uri="{FF2B5EF4-FFF2-40B4-BE49-F238E27FC236}">
                <a16:creationId xmlns:a16="http://schemas.microsoft.com/office/drawing/2014/main" id="{7E5FC87B-27F2-6C06-3FD7-5803E54812BC}"/>
              </a:ext>
            </a:extLst>
          </p:cNvPr>
          <p:cNvSpPr>
            <a:spLocks noGrp="1"/>
          </p:cNvSpPr>
          <p:nvPr>
            <p:ph type="body" sz="quarter" idx="60" hasCustomPrompt="1"/>
          </p:nvPr>
        </p:nvSpPr>
        <p:spPr>
          <a:xfrm>
            <a:off x="8281584" y="3786237"/>
            <a:ext cx="2995488" cy="287245"/>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111793587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Four step process - outlin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outlin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28" name="Triangle 27">
            <a:extLst>
              <a:ext uri="{FF2B5EF4-FFF2-40B4-BE49-F238E27FC236}">
                <a16:creationId xmlns:a16="http://schemas.microsoft.com/office/drawing/2014/main" id="{C4570B9D-8BC4-083A-A446-46258ABFE2B5}"/>
              </a:ext>
            </a:extLst>
          </p:cNvPr>
          <p:cNvSpPr/>
          <p:nvPr/>
        </p:nvSpPr>
        <p:spPr>
          <a:xfrm rot="5400000">
            <a:off x="3104511" y="3892047"/>
            <a:ext cx="555465" cy="207484"/>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Triangle 28">
            <a:extLst>
              <a:ext uri="{FF2B5EF4-FFF2-40B4-BE49-F238E27FC236}">
                <a16:creationId xmlns:a16="http://schemas.microsoft.com/office/drawing/2014/main" id="{21500193-C581-0DE3-F151-982E61780CE6}"/>
              </a:ext>
            </a:extLst>
          </p:cNvPr>
          <p:cNvSpPr/>
          <p:nvPr/>
        </p:nvSpPr>
        <p:spPr>
          <a:xfrm rot="5400000">
            <a:off x="5863859" y="3892047"/>
            <a:ext cx="555465" cy="207484"/>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nvGrpSpPr>
          <p:cNvPr id="30" name="Group 29">
            <a:extLst>
              <a:ext uri="{FF2B5EF4-FFF2-40B4-BE49-F238E27FC236}">
                <a16:creationId xmlns:a16="http://schemas.microsoft.com/office/drawing/2014/main" id="{874E9D1D-DB8C-E1FC-EA16-D70DDB4614B8}"/>
              </a:ext>
            </a:extLst>
          </p:cNvPr>
          <p:cNvGrpSpPr/>
          <p:nvPr userDrawn="1"/>
        </p:nvGrpSpPr>
        <p:grpSpPr>
          <a:xfrm>
            <a:off x="3592041" y="2051252"/>
            <a:ext cx="7844309" cy="3886768"/>
            <a:chOff x="848312" y="1689100"/>
            <a:chExt cx="10564716" cy="3886768"/>
          </a:xfrm>
        </p:grpSpPr>
        <p:grpSp>
          <p:nvGrpSpPr>
            <p:cNvPr id="31" name="Group 30">
              <a:extLst>
                <a:ext uri="{FF2B5EF4-FFF2-40B4-BE49-F238E27FC236}">
                  <a16:creationId xmlns:a16="http://schemas.microsoft.com/office/drawing/2014/main" id="{E929F2F3-BFD5-7E88-BECD-319290DE7276}"/>
                </a:ext>
              </a:extLst>
            </p:cNvPr>
            <p:cNvGrpSpPr/>
            <p:nvPr/>
          </p:nvGrpSpPr>
          <p:grpSpPr>
            <a:xfrm>
              <a:off x="848312" y="1689100"/>
              <a:ext cx="3208971" cy="3886767"/>
              <a:chOff x="577366" y="1689100"/>
              <a:chExt cx="3208971" cy="3886767"/>
            </a:xfrm>
          </p:grpSpPr>
          <p:sp>
            <p:nvSpPr>
              <p:cNvPr id="40" name="Rectangle 39">
                <a:extLst>
                  <a:ext uri="{FF2B5EF4-FFF2-40B4-BE49-F238E27FC236}">
                    <a16:creationId xmlns:a16="http://schemas.microsoft.com/office/drawing/2014/main" id="{7A2CD4EE-F9C1-B45A-6362-4F3530921FBF}"/>
                  </a:ext>
                </a:extLst>
              </p:cNvPr>
              <p:cNvSpPr/>
              <p:nvPr/>
            </p:nvSpPr>
            <p:spPr>
              <a:xfrm>
                <a:off x="577366" y="1700214"/>
                <a:ext cx="3208971" cy="3875653"/>
              </a:xfrm>
              <a:prstGeom prst="rect">
                <a:avLst/>
              </a:prstGeom>
              <a:noFill/>
              <a:ln w="603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260000" rIns="144000" bIns="288000" rtlCol="0" anchor="t" anchorCtr="0">
                <a:normAutofit/>
              </a:bodyPr>
              <a:lstStyle/>
              <a:p>
                <a:pPr algn="ctr"/>
                <a:endParaRPr lang="en-GB" sz="1400">
                  <a:solidFill>
                    <a:schemeClr val="bg2"/>
                  </a:solidFill>
                </a:endParaRPr>
              </a:p>
              <a:p>
                <a:pPr algn="ctr"/>
                <a:r>
                  <a:rPr lang="en-GB" sz="3200">
                    <a:solidFill>
                      <a:schemeClr val="tx1"/>
                    </a:solidFill>
                  </a:rPr>
                  <a:t>02</a:t>
                </a:r>
              </a:p>
              <a:p>
                <a:pPr algn="ctr"/>
                <a:endParaRPr lang="en-GB" sz="1600" b="1">
                  <a:solidFill>
                    <a:schemeClr val="tx1"/>
                  </a:solidFill>
                </a:endParaRPr>
              </a:p>
            </p:txBody>
          </p:sp>
          <p:sp>
            <p:nvSpPr>
              <p:cNvPr id="41" name="Freeform 40">
                <a:extLst>
                  <a:ext uri="{FF2B5EF4-FFF2-40B4-BE49-F238E27FC236}">
                    <a16:creationId xmlns:a16="http://schemas.microsoft.com/office/drawing/2014/main" id="{C741016F-AD55-1D7F-4255-4BC09AF57029}"/>
                  </a:ext>
                </a:extLst>
              </p:cNvPr>
              <p:cNvSpPr/>
              <p:nvPr/>
            </p:nvSpPr>
            <p:spPr>
              <a:xfrm rot="10800000">
                <a:off x="1515116" y="1689100"/>
                <a:ext cx="1292400" cy="1307523"/>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32" name="Group 31">
              <a:extLst>
                <a:ext uri="{FF2B5EF4-FFF2-40B4-BE49-F238E27FC236}">
                  <a16:creationId xmlns:a16="http://schemas.microsoft.com/office/drawing/2014/main" id="{7A815FD5-8861-0B20-2179-17C8A0254AA2}"/>
                </a:ext>
              </a:extLst>
            </p:cNvPr>
            <p:cNvGrpSpPr/>
            <p:nvPr/>
          </p:nvGrpSpPr>
          <p:grpSpPr>
            <a:xfrm>
              <a:off x="4526184" y="1689100"/>
              <a:ext cx="3208971" cy="3886768"/>
              <a:chOff x="4504543" y="1689100"/>
              <a:chExt cx="3208971" cy="3886768"/>
            </a:xfrm>
          </p:grpSpPr>
          <p:sp>
            <p:nvSpPr>
              <p:cNvPr id="37" name="Rectangle 36">
                <a:extLst>
                  <a:ext uri="{FF2B5EF4-FFF2-40B4-BE49-F238E27FC236}">
                    <a16:creationId xmlns:a16="http://schemas.microsoft.com/office/drawing/2014/main" id="{02FC4674-E9C9-13EF-F166-27242F513B98}"/>
                  </a:ext>
                </a:extLst>
              </p:cNvPr>
              <p:cNvSpPr/>
              <p:nvPr/>
            </p:nvSpPr>
            <p:spPr>
              <a:xfrm>
                <a:off x="4504543" y="1700214"/>
                <a:ext cx="3208971" cy="3875654"/>
              </a:xfrm>
              <a:prstGeom prst="rect">
                <a:avLst/>
              </a:prstGeom>
              <a:noFill/>
              <a:ln w="603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1260000" rIns="144000" bIns="288000" rtlCol="0" anchor="t" anchorCtr="0">
                <a:normAutofit/>
              </a:bodyPr>
              <a:lstStyle/>
              <a:p>
                <a:pPr algn="ctr"/>
                <a:endParaRPr lang="en-GB" sz="1400">
                  <a:solidFill>
                    <a:schemeClr val="bg2"/>
                  </a:solidFill>
                </a:endParaRPr>
              </a:p>
              <a:p>
                <a:pPr algn="ctr"/>
                <a:r>
                  <a:rPr lang="en-GB" sz="3200">
                    <a:solidFill>
                      <a:schemeClr val="tx1"/>
                    </a:solidFill>
                  </a:rPr>
                  <a:t>03</a:t>
                </a:r>
              </a:p>
              <a:p>
                <a:pPr algn="ctr"/>
                <a:endParaRPr lang="en-GB" sz="1600" b="1">
                  <a:solidFill>
                    <a:schemeClr val="tx1"/>
                  </a:solidFill>
                </a:endParaRPr>
              </a:p>
            </p:txBody>
          </p:sp>
          <p:sp>
            <p:nvSpPr>
              <p:cNvPr id="38" name="Freeform 37">
                <a:extLst>
                  <a:ext uri="{FF2B5EF4-FFF2-40B4-BE49-F238E27FC236}">
                    <a16:creationId xmlns:a16="http://schemas.microsoft.com/office/drawing/2014/main" id="{1C0F5015-6E92-C57F-67CB-DBDC6FDCE451}"/>
                  </a:ext>
                </a:extLst>
              </p:cNvPr>
              <p:cNvSpPr/>
              <p:nvPr/>
            </p:nvSpPr>
            <p:spPr>
              <a:xfrm rot="10800000">
                <a:off x="5462828" y="1689100"/>
                <a:ext cx="1292400" cy="1307523"/>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33" name="Group 32">
              <a:extLst>
                <a:ext uri="{FF2B5EF4-FFF2-40B4-BE49-F238E27FC236}">
                  <a16:creationId xmlns:a16="http://schemas.microsoft.com/office/drawing/2014/main" id="{F16DB048-38BB-29B2-3903-479501405FE1}"/>
                </a:ext>
              </a:extLst>
            </p:cNvPr>
            <p:cNvGrpSpPr/>
            <p:nvPr/>
          </p:nvGrpSpPr>
          <p:grpSpPr>
            <a:xfrm>
              <a:off x="8204057" y="1689100"/>
              <a:ext cx="3208971" cy="3886768"/>
              <a:chOff x="8432166" y="1689100"/>
              <a:chExt cx="3208971" cy="3886768"/>
            </a:xfrm>
          </p:grpSpPr>
          <p:sp>
            <p:nvSpPr>
              <p:cNvPr id="34" name="Freeform 33">
                <a:extLst>
                  <a:ext uri="{FF2B5EF4-FFF2-40B4-BE49-F238E27FC236}">
                    <a16:creationId xmlns:a16="http://schemas.microsoft.com/office/drawing/2014/main" id="{F37412E8-B040-E2F1-A6CD-9732A415FB6B}"/>
                  </a:ext>
                </a:extLst>
              </p:cNvPr>
              <p:cNvSpPr/>
              <p:nvPr/>
            </p:nvSpPr>
            <p:spPr>
              <a:xfrm rot="10800000">
                <a:off x="9390451" y="1689100"/>
                <a:ext cx="1292400" cy="1307523"/>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sp>
            <p:nvSpPr>
              <p:cNvPr id="35" name="Rectangle 34">
                <a:extLst>
                  <a:ext uri="{FF2B5EF4-FFF2-40B4-BE49-F238E27FC236}">
                    <a16:creationId xmlns:a16="http://schemas.microsoft.com/office/drawing/2014/main" id="{10215365-F6B1-5DFB-88EA-B079350CFFAF}"/>
                  </a:ext>
                </a:extLst>
              </p:cNvPr>
              <p:cNvSpPr/>
              <p:nvPr/>
            </p:nvSpPr>
            <p:spPr>
              <a:xfrm>
                <a:off x="8432166" y="1700214"/>
                <a:ext cx="3208971" cy="3875654"/>
              </a:xfrm>
              <a:prstGeom prst="rect">
                <a:avLst/>
              </a:prstGeom>
              <a:noFill/>
              <a:ln w="603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260000" rIns="144000" bIns="288000" rtlCol="0" anchor="t" anchorCtr="0">
                <a:normAutofit/>
              </a:bodyPr>
              <a:lstStyle/>
              <a:p>
                <a:pPr algn="ctr"/>
                <a:endParaRPr lang="en-GB" sz="1400">
                  <a:solidFill>
                    <a:schemeClr val="bg2"/>
                  </a:solidFill>
                </a:endParaRPr>
              </a:p>
              <a:p>
                <a:pPr algn="ctr"/>
                <a:r>
                  <a:rPr lang="en-GB" sz="3200">
                    <a:solidFill>
                      <a:schemeClr val="tx1"/>
                    </a:solidFill>
                  </a:rPr>
                  <a:t>04</a:t>
                </a:r>
              </a:p>
              <a:p>
                <a:pPr algn="ctr"/>
                <a:endParaRPr lang="en-GB" sz="1600" b="1">
                  <a:solidFill>
                    <a:schemeClr val="tx1"/>
                  </a:solidFill>
                </a:endParaRPr>
              </a:p>
            </p:txBody>
          </p:sp>
        </p:grpSp>
      </p:grpSp>
      <p:sp>
        <p:nvSpPr>
          <p:cNvPr id="3" name="Freeform 2">
            <a:extLst>
              <a:ext uri="{FF2B5EF4-FFF2-40B4-BE49-F238E27FC236}">
                <a16:creationId xmlns:a16="http://schemas.microsoft.com/office/drawing/2014/main" id="{0137F336-81B8-1E67-E7EA-3C5FBDFC7F08}"/>
              </a:ext>
            </a:extLst>
          </p:cNvPr>
          <p:cNvSpPr/>
          <p:nvPr userDrawn="1"/>
        </p:nvSpPr>
        <p:spPr>
          <a:xfrm rot="10800000">
            <a:off x="1541017" y="2051251"/>
            <a:ext cx="959608" cy="1307523"/>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sp>
        <p:nvSpPr>
          <p:cNvPr id="9" name="Rectangle 8">
            <a:extLst>
              <a:ext uri="{FF2B5EF4-FFF2-40B4-BE49-F238E27FC236}">
                <a16:creationId xmlns:a16="http://schemas.microsoft.com/office/drawing/2014/main" id="{AECA63D7-D812-A3F6-0372-DAA16F4A92B7}"/>
              </a:ext>
            </a:extLst>
          </p:cNvPr>
          <p:cNvSpPr/>
          <p:nvPr userDrawn="1"/>
        </p:nvSpPr>
        <p:spPr>
          <a:xfrm>
            <a:off x="818309" y="2062366"/>
            <a:ext cx="2382663" cy="3875654"/>
          </a:xfrm>
          <a:prstGeom prst="rect">
            <a:avLst/>
          </a:prstGeom>
          <a:noFill/>
          <a:ln w="603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260000" rIns="144000" bIns="288000" rtlCol="0" anchor="t" anchorCtr="0">
            <a:normAutofit/>
          </a:bodyPr>
          <a:lstStyle/>
          <a:p>
            <a:pPr algn="ctr"/>
            <a:endParaRPr lang="en-GB" sz="1400">
              <a:solidFill>
                <a:schemeClr val="bg2"/>
              </a:solidFill>
            </a:endParaRPr>
          </a:p>
          <a:p>
            <a:pPr algn="ctr"/>
            <a:r>
              <a:rPr lang="en-GB" sz="3200">
                <a:solidFill>
                  <a:schemeClr val="tx1"/>
                </a:solidFill>
              </a:rPr>
              <a:t>01</a:t>
            </a:r>
          </a:p>
          <a:p>
            <a:pPr algn="ctr"/>
            <a:endParaRPr lang="en-GB" sz="1600" b="1">
              <a:solidFill>
                <a:schemeClr val="tx1"/>
              </a:solidFill>
            </a:endParaRPr>
          </a:p>
        </p:txBody>
      </p:sp>
      <p:sp>
        <p:nvSpPr>
          <p:cNvPr id="16" name="Triangle 15">
            <a:extLst>
              <a:ext uri="{FF2B5EF4-FFF2-40B4-BE49-F238E27FC236}">
                <a16:creationId xmlns:a16="http://schemas.microsoft.com/office/drawing/2014/main" id="{86373762-5A53-E3E1-C85C-C6DE50999510}"/>
              </a:ext>
            </a:extLst>
          </p:cNvPr>
          <p:cNvSpPr/>
          <p:nvPr userDrawn="1"/>
        </p:nvSpPr>
        <p:spPr>
          <a:xfrm rot="5400000">
            <a:off x="8606000" y="3864503"/>
            <a:ext cx="555465" cy="207484"/>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Picture Placeholder 9">
            <a:extLst>
              <a:ext uri="{FF2B5EF4-FFF2-40B4-BE49-F238E27FC236}">
                <a16:creationId xmlns:a16="http://schemas.microsoft.com/office/drawing/2014/main" id="{C2D24B59-3C99-00A8-2611-B88FF9E2079D}"/>
              </a:ext>
            </a:extLst>
          </p:cNvPr>
          <p:cNvSpPr>
            <a:spLocks noGrp="1"/>
          </p:cNvSpPr>
          <p:nvPr>
            <p:ph type="pic" sz="quarter" idx="19"/>
          </p:nvPr>
        </p:nvSpPr>
        <p:spPr>
          <a:xfrm>
            <a:off x="1676400" y="2241550"/>
            <a:ext cx="730250" cy="730250"/>
          </a:xfrm>
        </p:spPr>
        <p:txBody>
          <a:bodyPr>
            <a:normAutofit/>
          </a:bodyPr>
          <a:lstStyle>
            <a:lvl1pPr>
              <a:defRPr sz="800"/>
            </a:lvl1pPr>
          </a:lstStyle>
          <a:p>
            <a:r>
              <a:rPr lang="en-US"/>
              <a:t>Click icon to add picture</a:t>
            </a:r>
          </a:p>
        </p:txBody>
      </p:sp>
      <p:sp>
        <p:nvSpPr>
          <p:cNvPr id="18" name="Picture Placeholder 9">
            <a:extLst>
              <a:ext uri="{FF2B5EF4-FFF2-40B4-BE49-F238E27FC236}">
                <a16:creationId xmlns:a16="http://schemas.microsoft.com/office/drawing/2014/main" id="{8A0AD301-FA56-7931-1094-DD6625FC2D56}"/>
              </a:ext>
            </a:extLst>
          </p:cNvPr>
          <p:cNvSpPr>
            <a:spLocks noGrp="1"/>
          </p:cNvSpPr>
          <p:nvPr>
            <p:ph type="pic" sz="quarter" idx="20"/>
          </p:nvPr>
        </p:nvSpPr>
        <p:spPr>
          <a:xfrm>
            <a:off x="4398420" y="2241550"/>
            <a:ext cx="730250" cy="730250"/>
          </a:xfrm>
        </p:spPr>
        <p:txBody>
          <a:bodyPr>
            <a:normAutofit/>
          </a:bodyPr>
          <a:lstStyle>
            <a:lvl1pPr>
              <a:defRPr sz="800"/>
            </a:lvl1pPr>
          </a:lstStyle>
          <a:p>
            <a:r>
              <a:rPr lang="en-US"/>
              <a:t>Click icon to add picture</a:t>
            </a:r>
          </a:p>
        </p:txBody>
      </p:sp>
      <p:sp>
        <p:nvSpPr>
          <p:cNvPr id="20" name="Picture Placeholder 9">
            <a:extLst>
              <a:ext uri="{FF2B5EF4-FFF2-40B4-BE49-F238E27FC236}">
                <a16:creationId xmlns:a16="http://schemas.microsoft.com/office/drawing/2014/main" id="{0DACE9C9-F544-23F9-972B-B29ABC1F4E3D}"/>
              </a:ext>
            </a:extLst>
          </p:cNvPr>
          <p:cNvSpPr>
            <a:spLocks noGrp="1"/>
          </p:cNvSpPr>
          <p:nvPr>
            <p:ph type="pic" sz="quarter" idx="21"/>
          </p:nvPr>
        </p:nvSpPr>
        <p:spPr>
          <a:xfrm>
            <a:off x="7175020" y="2241550"/>
            <a:ext cx="730250" cy="730250"/>
          </a:xfrm>
        </p:spPr>
        <p:txBody>
          <a:bodyPr>
            <a:normAutofit/>
          </a:bodyPr>
          <a:lstStyle>
            <a:lvl1pPr>
              <a:defRPr sz="800"/>
            </a:lvl1pPr>
          </a:lstStyle>
          <a:p>
            <a:r>
              <a:rPr lang="en-US"/>
              <a:t>Click icon to add picture</a:t>
            </a:r>
          </a:p>
        </p:txBody>
      </p:sp>
      <p:sp>
        <p:nvSpPr>
          <p:cNvPr id="21" name="Picture Placeholder 9">
            <a:extLst>
              <a:ext uri="{FF2B5EF4-FFF2-40B4-BE49-F238E27FC236}">
                <a16:creationId xmlns:a16="http://schemas.microsoft.com/office/drawing/2014/main" id="{9BF5A735-3E85-23F4-BD57-B9DF2571D872}"/>
              </a:ext>
            </a:extLst>
          </p:cNvPr>
          <p:cNvSpPr>
            <a:spLocks noGrp="1"/>
          </p:cNvSpPr>
          <p:nvPr>
            <p:ph type="pic" sz="quarter" idx="22"/>
          </p:nvPr>
        </p:nvSpPr>
        <p:spPr>
          <a:xfrm>
            <a:off x="9918220" y="2240093"/>
            <a:ext cx="730250" cy="730250"/>
          </a:xfrm>
        </p:spPr>
        <p:txBody>
          <a:bodyPr>
            <a:normAutofit/>
          </a:bodyPr>
          <a:lstStyle>
            <a:lvl1pPr>
              <a:defRPr sz="800"/>
            </a:lvl1pPr>
          </a:lstStyle>
          <a:p>
            <a:r>
              <a:rPr lang="en-US"/>
              <a:t>Click icon to add picture</a:t>
            </a:r>
          </a:p>
        </p:txBody>
      </p:sp>
      <p:sp>
        <p:nvSpPr>
          <p:cNvPr id="22" name="Text Placeholder 49">
            <a:extLst>
              <a:ext uri="{FF2B5EF4-FFF2-40B4-BE49-F238E27FC236}">
                <a16:creationId xmlns:a16="http://schemas.microsoft.com/office/drawing/2014/main" id="{B084F8C5-C842-A259-7335-04F876D0EE7E}"/>
              </a:ext>
            </a:extLst>
          </p:cNvPr>
          <p:cNvSpPr>
            <a:spLocks noGrp="1"/>
          </p:cNvSpPr>
          <p:nvPr>
            <p:ph type="body" sz="quarter" idx="55" hasCustomPrompt="1"/>
          </p:nvPr>
        </p:nvSpPr>
        <p:spPr>
          <a:xfrm>
            <a:off x="925994" y="4367364"/>
            <a:ext cx="2178428" cy="1500036"/>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23" name="Text Placeholder 49">
            <a:extLst>
              <a:ext uri="{FF2B5EF4-FFF2-40B4-BE49-F238E27FC236}">
                <a16:creationId xmlns:a16="http://schemas.microsoft.com/office/drawing/2014/main" id="{06C1A1A2-631B-2341-58C1-E2A61F0FB567}"/>
              </a:ext>
            </a:extLst>
          </p:cNvPr>
          <p:cNvSpPr>
            <a:spLocks noGrp="1"/>
          </p:cNvSpPr>
          <p:nvPr>
            <p:ph type="body" sz="quarter" idx="56" hasCustomPrompt="1"/>
          </p:nvPr>
        </p:nvSpPr>
        <p:spPr>
          <a:xfrm>
            <a:off x="925993" y="4114800"/>
            <a:ext cx="2178428" cy="235633"/>
          </a:xfrm>
        </p:spPr>
        <p:txBody>
          <a:bodyPr>
            <a:normAutofit/>
          </a:bodyPr>
          <a:lstStyle>
            <a:lvl1pPr algn="ctr">
              <a:defRPr sz="1400" b="1">
                <a:solidFill>
                  <a:schemeClr val="tx1"/>
                </a:solidFill>
              </a:defRPr>
            </a:lvl1pPr>
          </a:lstStyle>
          <a:p>
            <a:pPr lvl="0"/>
            <a:r>
              <a:rPr lang="en-US"/>
              <a:t>Lorem ipsum dolor</a:t>
            </a:r>
          </a:p>
        </p:txBody>
      </p:sp>
      <p:sp>
        <p:nvSpPr>
          <p:cNvPr id="24" name="Text Placeholder 49">
            <a:extLst>
              <a:ext uri="{FF2B5EF4-FFF2-40B4-BE49-F238E27FC236}">
                <a16:creationId xmlns:a16="http://schemas.microsoft.com/office/drawing/2014/main" id="{F719AE31-F9F4-1F25-328A-0DD2E7FFF758}"/>
              </a:ext>
            </a:extLst>
          </p:cNvPr>
          <p:cNvSpPr>
            <a:spLocks noGrp="1"/>
          </p:cNvSpPr>
          <p:nvPr>
            <p:ph type="body" sz="quarter" idx="57" hasCustomPrompt="1"/>
          </p:nvPr>
        </p:nvSpPr>
        <p:spPr>
          <a:xfrm>
            <a:off x="3685342" y="4384295"/>
            <a:ext cx="2178428" cy="1500036"/>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25" name="Text Placeholder 49">
            <a:extLst>
              <a:ext uri="{FF2B5EF4-FFF2-40B4-BE49-F238E27FC236}">
                <a16:creationId xmlns:a16="http://schemas.microsoft.com/office/drawing/2014/main" id="{80481BA8-E33D-C1FB-774C-6EA1288C402C}"/>
              </a:ext>
            </a:extLst>
          </p:cNvPr>
          <p:cNvSpPr>
            <a:spLocks noGrp="1"/>
          </p:cNvSpPr>
          <p:nvPr>
            <p:ph type="body" sz="quarter" idx="58" hasCustomPrompt="1"/>
          </p:nvPr>
        </p:nvSpPr>
        <p:spPr>
          <a:xfrm>
            <a:off x="3685341" y="4131731"/>
            <a:ext cx="2178428" cy="235633"/>
          </a:xfrm>
        </p:spPr>
        <p:txBody>
          <a:bodyPr>
            <a:normAutofit/>
          </a:bodyPr>
          <a:lstStyle>
            <a:lvl1pPr algn="ctr">
              <a:defRPr sz="1400" b="1">
                <a:solidFill>
                  <a:schemeClr val="tx1"/>
                </a:solidFill>
              </a:defRPr>
            </a:lvl1pPr>
          </a:lstStyle>
          <a:p>
            <a:pPr lvl="0"/>
            <a:r>
              <a:rPr lang="en-US"/>
              <a:t>Lorem ipsum dolor</a:t>
            </a:r>
          </a:p>
        </p:txBody>
      </p:sp>
      <p:sp>
        <p:nvSpPr>
          <p:cNvPr id="26" name="Text Placeholder 49">
            <a:extLst>
              <a:ext uri="{FF2B5EF4-FFF2-40B4-BE49-F238E27FC236}">
                <a16:creationId xmlns:a16="http://schemas.microsoft.com/office/drawing/2014/main" id="{0599C9C6-BFF8-FDB7-48EF-8D646459F771}"/>
              </a:ext>
            </a:extLst>
          </p:cNvPr>
          <p:cNvSpPr>
            <a:spLocks noGrp="1"/>
          </p:cNvSpPr>
          <p:nvPr>
            <p:ph type="body" sz="quarter" idx="59" hasCustomPrompt="1"/>
          </p:nvPr>
        </p:nvSpPr>
        <p:spPr>
          <a:xfrm>
            <a:off x="6427483" y="4364949"/>
            <a:ext cx="2178428" cy="1500036"/>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43" name="Text Placeholder 49">
            <a:extLst>
              <a:ext uri="{FF2B5EF4-FFF2-40B4-BE49-F238E27FC236}">
                <a16:creationId xmlns:a16="http://schemas.microsoft.com/office/drawing/2014/main" id="{EC92F0AA-6E8B-0514-7E03-594EC7DAF9A1}"/>
              </a:ext>
            </a:extLst>
          </p:cNvPr>
          <p:cNvSpPr>
            <a:spLocks noGrp="1"/>
          </p:cNvSpPr>
          <p:nvPr>
            <p:ph type="body" sz="quarter" idx="60" hasCustomPrompt="1"/>
          </p:nvPr>
        </p:nvSpPr>
        <p:spPr>
          <a:xfrm>
            <a:off x="6427482" y="4112385"/>
            <a:ext cx="2178428" cy="235633"/>
          </a:xfrm>
        </p:spPr>
        <p:txBody>
          <a:bodyPr>
            <a:normAutofit/>
          </a:bodyPr>
          <a:lstStyle>
            <a:lvl1pPr algn="ctr">
              <a:defRPr sz="1400" b="1">
                <a:solidFill>
                  <a:schemeClr val="tx1"/>
                </a:solidFill>
              </a:defRPr>
            </a:lvl1pPr>
          </a:lstStyle>
          <a:p>
            <a:pPr lvl="0"/>
            <a:r>
              <a:rPr lang="en-US"/>
              <a:t>Lorem ipsum dolor</a:t>
            </a:r>
          </a:p>
        </p:txBody>
      </p:sp>
      <p:sp>
        <p:nvSpPr>
          <p:cNvPr id="44" name="Text Placeholder 49">
            <a:extLst>
              <a:ext uri="{FF2B5EF4-FFF2-40B4-BE49-F238E27FC236}">
                <a16:creationId xmlns:a16="http://schemas.microsoft.com/office/drawing/2014/main" id="{2655BE9D-78AC-477B-852B-A8A3A2E57561}"/>
              </a:ext>
            </a:extLst>
          </p:cNvPr>
          <p:cNvSpPr>
            <a:spLocks noGrp="1"/>
          </p:cNvSpPr>
          <p:nvPr>
            <p:ph type="body" sz="quarter" idx="61" hasCustomPrompt="1"/>
          </p:nvPr>
        </p:nvSpPr>
        <p:spPr>
          <a:xfrm>
            <a:off x="9144001" y="4364949"/>
            <a:ext cx="2178428" cy="1500036"/>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45" name="Text Placeholder 49">
            <a:extLst>
              <a:ext uri="{FF2B5EF4-FFF2-40B4-BE49-F238E27FC236}">
                <a16:creationId xmlns:a16="http://schemas.microsoft.com/office/drawing/2014/main" id="{EA0A3105-B181-FA62-8035-44CAD7111E19}"/>
              </a:ext>
            </a:extLst>
          </p:cNvPr>
          <p:cNvSpPr>
            <a:spLocks noGrp="1"/>
          </p:cNvSpPr>
          <p:nvPr>
            <p:ph type="body" sz="quarter" idx="62" hasCustomPrompt="1"/>
          </p:nvPr>
        </p:nvSpPr>
        <p:spPr>
          <a:xfrm>
            <a:off x="9144000" y="4112385"/>
            <a:ext cx="2178428" cy="235633"/>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389040335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Eight step process - outlin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grpSp>
        <p:nvGrpSpPr>
          <p:cNvPr id="10" name="Group 9">
            <a:extLst>
              <a:ext uri="{FF2B5EF4-FFF2-40B4-BE49-F238E27FC236}">
                <a16:creationId xmlns:a16="http://schemas.microsoft.com/office/drawing/2014/main" id="{E610E901-AD9B-D93A-BCA0-6B2F9303B978}"/>
              </a:ext>
            </a:extLst>
          </p:cNvPr>
          <p:cNvGrpSpPr/>
          <p:nvPr userDrawn="1">
            <p:custDataLst>
              <p:tags r:id="rId1"/>
            </p:custDataLst>
          </p:nvPr>
        </p:nvGrpSpPr>
        <p:grpSpPr>
          <a:xfrm>
            <a:off x="814558" y="2009069"/>
            <a:ext cx="10621792" cy="4177659"/>
            <a:chOff x="577367" y="1694285"/>
            <a:chExt cx="11062428" cy="4749304"/>
          </a:xfrm>
        </p:grpSpPr>
        <p:sp>
          <p:nvSpPr>
            <p:cNvPr id="22" name="Triangle 21">
              <a:extLst>
                <a:ext uri="{FF2B5EF4-FFF2-40B4-BE49-F238E27FC236}">
                  <a16:creationId xmlns:a16="http://schemas.microsoft.com/office/drawing/2014/main" id="{423D92D3-5A80-1AC5-B28F-DE338A6507CC}"/>
                </a:ext>
              </a:extLst>
            </p:cNvPr>
            <p:cNvSpPr/>
            <p:nvPr/>
          </p:nvSpPr>
          <p:spPr>
            <a:xfrm rot="5400000">
              <a:off x="2932077" y="2710128"/>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Triangle 22">
              <a:extLst>
                <a:ext uri="{FF2B5EF4-FFF2-40B4-BE49-F238E27FC236}">
                  <a16:creationId xmlns:a16="http://schemas.microsoft.com/office/drawing/2014/main" id="{2285CE1B-E3D2-F461-C270-49E931C17DEC}"/>
                </a:ext>
              </a:extLst>
            </p:cNvPr>
            <p:cNvSpPr/>
            <p:nvPr/>
          </p:nvSpPr>
          <p:spPr>
            <a:xfrm rot="5400000">
              <a:off x="5829705" y="2710128"/>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4" name="Triangle 23">
              <a:extLst>
                <a:ext uri="{FF2B5EF4-FFF2-40B4-BE49-F238E27FC236}">
                  <a16:creationId xmlns:a16="http://schemas.microsoft.com/office/drawing/2014/main" id="{DBD5ED16-B429-3C64-C7A8-B5F97BDD6FBE}"/>
                </a:ext>
              </a:extLst>
            </p:cNvPr>
            <p:cNvSpPr/>
            <p:nvPr/>
          </p:nvSpPr>
          <p:spPr>
            <a:xfrm rot="5400000">
              <a:off x="8735305" y="2710128"/>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5" name="Triangle 24">
              <a:extLst>
                <a:ext uri="{FF2B5EF4-FFF2-40B4-BE49-F238E27FC236}">
                  <a16:creationId xmlns:a16="http://schemas.microsoft.com/office/drawing/2014/main" id="{70FC43B6-AC7F-6ED2-CB0E-C3BC74D4806B}"/>
                </a:ext>
              </a:extLst>
            </p:cNvPr>
            <p:cNvSpPr/>
            <p:nvPr/>
          </p:nvSpPr>
          <p:spPr>
            <a:xfrm rot="16200000">
              <a:off x="2932077" y="5242116"/>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Triangle 25">
              <a:extLst>
                <a:ext uri="{FF2B5EF4-FFF2-40B4-BE49-F238E27FC236}">
                  <a16:creationId xmlns:a16="http://schemas.microsoft.com/office/drawing/2014/main" id="{AB7A4ABB-639D-03A7-AB7A-3287F93D5E84}"/>
                </a:ext>
              </a:extLst>
            </p:cNvPr>
            <p:cNvSpPr/>
            <p:nvPr/>
          </p:nvSpPr>
          <p:spPr>
            <a:xfrm rot="16200000">
              <a:off x="5829705" y="5242116"/>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7" name="Triangle 26">
              <a:extLst>
                <a:ext uri="{FF2B5EF4-FFF2-40B4-BE49-F238E27FC236}">
                  <a16:creationId xmlns:a16="http://schemas.microsoft.com/office/drawing/2014/main" id="{B10BAC4D-AF31-2DAF-0851-B0952E59F870}"/>
                </a:ext>
              </a:extLst>
            </p:cNvPr>
            <p:cNvSpPr/>
            <p:nvPr/>
          </p:nvSpPr>
          <p:spPr>
            <a:xfrm rot="16200000">
              <a:off x="8735305" y="5242116"/>
              <a:ext cx="555465" cy="275117"/>
            </a:xfrm>
            <a:prstGeom prst="triangle">
              <a:avLst>
                <a:gd name="adj" fmla="val 49327"/>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6" name="Triangle 35">
              <a:extLst>
                <a:ext uri="{FF2B5EF4-FFF2-40B4-BE49-F238E27FC236}">
                  <a16:creationId xmlns:a16="http://schemas.microsoft.com/office/drawing/2014/main" id="{9F9925EB-3880-3313-2D31-6D8C9CE5C0BA}"/>
                </a:ext>
              </a:extLst>
            </p:cNvPr>
            <p:cNvSpPr/>
            <p:nvPr/>
          </p:nvSpPr>
          <p:spPr>
            <a:xfrm rot="10800000">
              <a:off x="10166442" y="3941914"/>
              <a:ext cx="555465" cy="275117"/>
            </a:xfrm>
            <a:prstGeom prst="triangle">
              <a:avLst>
                <a:gd name="adj" fmla="val 49327"/>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nvGrpSpPr>
            <p:cNvPr id="39" name="Group 38">
              <a:extLst>
                <a:ext uri="{FF2B5EF4-FFF2-40B4-BE49-F238E27FC236}">
                  <a16:creationId xmlns:a16="http://schemas.microsoft.com/office/drawing/2014/main" id="{800BC919-03C9-8C71-BC64-9E0472F11B59}"/>
                </a:ext>
              </a:extLst>
            </p:cNvPr>
            <p:cNvGrpSpPr/>
            <p:nvPr/>
          </p:nvGrpSpPr>
          <p:grpSpPr>
            <a:xfrm>
              <a:off x="577367" y="1694285"/>
              <a:ext cx="2370143" cy="2217316"/>
              <a:chOff x="577367" y="1694285"/>
              <a:chExt cx="2370143" cy="2217316"/>
            </a:xfrm>
          </p:grpSpPr>
          <p:sp>
            <p:nvSpPr>
              <p:cNvPr id="70" name="Rectangle 69">
                <a:extLst>
                  <a:ext uri="{FF2B5EF4-FFF2-40B4-BE49-F238E27FC236}">
                    <a16:creationId xmlns:a16="http://schemas.microsoft.com/office/drawing/2014/main" id="{DC7464FF-6850-044A-5A74-0DB879EA4801}"/>
                  </a:ext>
                </a:extLst>
              </p:cNvPr>
              <p:cNvSpPr/>
              <p:nvPr/>
            </p:nvSpPr>
            <p:spPr>
              <a:xfrm>
                <a:off x="577367" y="1694285"/>
                <a:ext cx="2370143" cy="2217316"/>
              </a:xfrm>
              <a:prstGeom prst="rect">
                <a:avLst/>
              </a:prstGeom>
              <a:noFill/>
              <a:ln w="603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288000" rtlCol="0" anchor="t" anchorCtr="0">
                <a:noAutofit/>
              </a:bodyPr>
              <a:lstStyle/>
              <a:p>
                <a:pPr algn="ctr"/>
                <a:r>
                  <a:rPr lang="en-GB" sz="2000">
                    <a:solidFill>
                      <a:schemeClr val="tx1"/>
                    </a:solidFill>
                  </a:rPr>
                  <a:t>01</a:t>
                </a:r>
              </a:p>
            </p:txBody>
          </p:sp>
          <p:sp>
            <p:nvSpPr>
              <p:cNvPr id="71" name="Freeform 70">
                <a:extLst>
                  <a:ext uri="{FF2B5EF4-FFF2-40B4-BE49-F238E27FC236}">
                    <a16:creationId xmlns:a16="http://schemas.microsoft.com/office/drawing/2014/main" id="{B1C171E9-F722-B4F7-3715-40D79A3EB37C}"/>
                  </a:ext>
                </a:extLst>
              </p:cNvPr>
              <p:cNvSpPr>
                <a:spLocks/>
              </p:cNvSpPr>
              <p:nvPr/>
            </p:nvSpPr>
            <p:spPr>
              <a:xfrm rot="10800000">
                <a:off x="1294439" y="170021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600"/>
              </a:p>
            </p:txBody>
          </p:sp>
        </p:grpSp>
        <p:grpSp>
          <p:nvGrpSpPr>
            <p:cNvPr id="42" name="Group 41">
              <a:extLst>
                <a:ext uri="{FF2B5EF4-FFF2-40B4-BE49-F238E27FC236}">
                  <a16:creationId xmlns:a16="http://schemas.microsoft.com/office/drawing/2014/main" id="{07F9B146-3075-7C1C-EF83-FAD7397DEF0A}"/>
                </a:ext>
              </a:extLst>
            </p:cNvPr>
            <p:cNvGrpSpPr/>
            <p:nvPr/>
          </p:nvGrpSpPr>
          <p:grpSpPr>
            <a:xfrm>
              <a:off x="577367" y="4226273"/>
              <a:ext cx="2370143" cy="2217316"/>
              <a:chOff x="577367" y="4226273"/>
              <a:chExt cx="2370143" cy="2217316"/>
            </a:xfrm>
          </p:grpSpPr>
          <p:sp>
            <p:nvSpPr>
              <p:cNvPr id="67" name="Rectangle 66">
                <a:extLst>
                  <a:ext uri="{FF2B5EF4-FFF2-40B4-BE49-F238E27FC236}">
                    <a16:creationId xmlns:a16="http://schemas.microsoft.com/office/drawing/2014/main" id="{D4BD5149-12CE-783F-BCBF-BBEE6B540F5B}"/>
                  </a:ext>
                </a:extLst>
              </p:cNvPr>
              <p:cNvSpPr/>
              <p:nvPr/>
            </p:nvSpPr>
            <p:spPr>
              <a:xfrm>
                <a:off x="577367" y="4226273"/>
                <a:ext cx="2370143" cy="2217316"/>
              </a:xfrm>
              <a:prstGeom prst="rect">
                <a:avLst/>
              </a:prstGeom>
              <a:noFill/>
              <a:ln w="603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288000" rtlCol="0" anchor="t" anchorCtr="0">
                <a:noAutofit/>
              </a:bodyPr>
              <a:lstStyle/>
              <a:p>
                <a:pPr algn="ctr"/>
                <a:r>
                  <a:rPr lang="en-GB" sz="2000">
                    <a:solidFill>
                      <a:schemeClr val="tx1"/>
                    </a:solidFill>
                  </a:rPr>
                  <a:t>08</a:t>
                </a:r>
              </a:p>
            </p:txBody>
          </p:sp>
          <p:sp>
            <p:nvSpPr>
              <p:cNvPr id="68" name="Freeform 67">
                <a:extLst>
                  <a:ext uri="{FF2B5EF4-FFF2-40B4-BE49-F238E27FC236}">
                    <a16:creationId xmlns:a16="http://schemas.microsoft.com/office/drawing/2014/main" id="{7C391B08-6F47-E277-0663-D67F6E499565}"/>
                  </a:ext>
                </a:extLst>
              </p:cNvPr>
              <p:cNvSpPr>
                <a:spLocks/>
              </p:cNvSpPr>
              <p:nvPr/>
            </p:nvSpPr>
            <p:spPr>
              <a:xfrm rot="10800000">
                <a:off x="1294439" y="423005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43" name="Group 42">
              <a:extLst>
                <a:ext uri="{FF2B5EF4-FFF2-40B4-BE49-F238E27FC236}">
                  <a16:creationId xmlns:a16="http://schemas.microsoft.com/office/drawing/2014/main" id="{2038D0D3-27BE-EA63-25CA-80EFAF8882D4}"/>
                </a:ext>
              </a:extLst>
            </p:cNvPr>
            <p:cNvGrpSpPr/>
            <p:nvPr/>
          </p:nvGrpSpPr>
          <p:grpSpPr>
            <a:xfrm>
              <a:off x="3477976" y="1694285"/>
              <a:ext cx="2370143" cy="2217316"/>
              <a:chOff x="3477976" y="1694285"/>
              <a:chExt cx="2370143" cy="2217316"/>
            </a:xfrm>
          </p:grpSpPr>
          <p:sp>
            <p:nvSpPr>
              <p:cNvPr id="64" name="Rectangle 63">
                <a:extLst>
                  <a:ext uri="{FF2B5EF4-FFF2-40B4-BE49-F238E27FC236}">
                    <a16:creationId xmlns:a16="http://schemas.microsoft.com/office/drawing/2014/main" id="{AD35FF12-D6D4-772D-913C-E9A44C121558}"/>
                  </a:ext>
                </a:extLst>
              </p:cNvPr>
              <p:cNvSpPr/>
              <p:nvPr/>
            </p:nvSpPr>
            <p:spPr>
              <a:xfrm>
                <a:off x="3477976" y="1694285"/>
                <a:ext cx="2370143" cy="2217316"/>
              </a:xfrm>
              <a:prstGeom prst="rect">
                <a:avLst/>
              </a:prstGeom>
              <a:noFill/>
              <a:ln w="603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684000" rIns="144000" bIns="288000" rtlCol="0" anchor="t" anchorCtr="0">
                <a:noAutofit/>
              </a:bodyPr>
              <a:lstStyle/>
              <a:p>
                <a:pPr algn="ctr"/>
                <a:endParaRPr lang="en-GB" sz="1050">
                  <a:solidFill>
                    <a:schemeClr val="tx1"/>
                  </a:solidFill>
                </a:endParaRPr>
              </a:p>
              <a:p>
                <a:pPr algn="ctr"/>
                <a:r>
                  <a:rPr lang="en-GB" sz="2000">
                    <a:solidFill>
                      <a:schemeClr val="tx1"/>
                    </a:solidFill>
                  </a:rPr>
                  <a:t>02</a:t>
                </a:r>
              </a:p>
            </p:txBody>
          </p:sp>
          <p:sp>
            <p:nvSpPr>
              <p:cNvPr id="65" name="Freeform 64">
                <a:extLst>
                  <a:ext uri="{FF2B5EF4-FFF2-40B4-BE49-F238E27FC236}">
                    <a16:creationId xmlns:a16="http://schemas.microsoft.com/office/drawing/2014/main" id="{1C759A13-9A34-232F-2F75-FA6C0664EDDB}"/>
                  </a:ext>
                </a:extLst>
              </p:cNvPr>
              <p:cNvSpPr>
                <a:spLocks/>
              </p:cNvSpPr>
              <p:nvPr/>
            </p:nvSpPr>
            <p:spPr>
              <a:xfrm rot="10800000">
                <a:off x="4195048" y="170021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44" name="Group 43">
              <a:extLst>
                <a:ext uri="{FF2B5EF4-FFF2-40B4-BE49-F238E27FC236}">
                  <a16:creationId xmlns:a16="http://schemas.microsoft.com/office/drawing/2014/main" id="{540B7FEF-126A-6EC2-A605-C79D0E7D561A}"/>
                </a:ext>
              </a:extLst>
            </p:cNvPr>
            <p:cNvGrpSpPr/>
            <p:nvPr/>
          </p:nvGrpSpPr>
          <p:grpSpPr>
            <a:xfrm>
              <a:off x="3477976" y="4226273"/>
              <a:ext cx="2370143" cy="2217316"/>
              <a:chOff x="3477976" y="4226273"/>
              <a:chExt cx="2370143" cy="2217316"/>
            </a:xfrm>
          </p:grpSpPr>
          <p:sp>
            <p:nvSpPr>
              <p:cNvPr id="61" name="Rectangle 60">
                <a:extLst>
                  <a:ext uri="{FF2B5EF4-FFF2-40B4-BE49-F238E27FC236}">
                    <a16:creationId xmlns:a16="http://schemas.microsoft.com/office/drawing/2014/main" id="{B92E0BBE-D6DA-B659-E6F0-4B2408CF67B3}"/>
                  </a:ext>
                </a:extLst>
              </p:cNvPr>
              <p:cNvSpPr/>
              <p:nvPr/>
            </p:nvSpPr>
            <p:spPr>
              <a:xfrm>
                <a:off x="3477976" y="4226273"/>
                <a:ext cx="2370143" cy="2217316"/>
              </a:xfrm>
              <a:prstGeom prst="rect">
                <a:avLst/>
              </a:prstGeom>
              <a:noFill/>
              <a:ln w="603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684000" rIns="144000" bIns="288000" rtlCol="0" anchor="t" anchorCtr="0">
                <a:noAutofit/>
              </a:bodyPr>
              <a:lstStyle/>
              <a:p>
                <a:pPr algn="ctr"/>
                <a:endParaRPr lang="en-GB" sz="1050">
                  <a:solidFill>
                    <a:schemeClr val="tx1"/>
                  </a:solidFill>
                </a:endParaRPr>
              </a:p>
              <a:p>
                <a:pPr algn="ctr"/>
                <a:r>
                  <a:rPr lang="en-GB" sz="2000">
                    <a:solidFill>
                      <a:schemeClr val="tx1"/>
                    </a:solidFill>
                  </a:rPr>
                  <a:t>07</a:t>
                </a:r>
              </a:p>
            </p:txBody>
          </p:sp>
          <p:sp>
            <p:nvSpPr>
              <p:cNvPr id="62" name="Freeform 61">
                <a:extLst>
                  <a:ext uri="{FF2B5EF4-FFF2-40B4-BE49-F238E27FC236}">
                    <a16:creationId xmlns:a16="http://schemas.microsoft.com/office/drawing/2014/main" id="{371834BB-BF62-3818-B305-A42068F3B092}"/>
                  </a:ext>
                </a:extLst>
              </p:cNvPr>
              <p:cNvSpPr>
                <a:spLocks/>
              </p:cNvSpPr>
              <p:nvPr/>
            </p:nvSpPr>
            <p:spPr>
              <a:xfrm rot="10800000">
                <a:off x="4195048" y="423005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45" name="Group 44">
              <a:extLst>
                <a:ext uri="{FF2B5EF4-FFF2-40B4-BE49-F238E27FC236}">
                  <a16:creationId xmlns:a16="http://schemas.microsoft.com/office/drawing/2014/main" id="{616F5FA2-65B3-22C6-02AE-986CDBF81E4B}"/>
                </a:ext>
              </a:extLst>
            </p:cNvPr>
            <p:cNvGrpSpPr/>
            <p:nvPr/>
          </p:nvGrpSpPr>
          <p:grpSpPr>
            <a:xfrm>
              <a:off x="6378914" y="1694285"/>
              <a:ext cx="2370143" cy="2217316"/>
              <a:chOff x="6378914" y="1694285"/>
              <a:chExt cx="2370143" cy="2217316"/>
            </a:xfrm>
          </p:grpSpPr>
          <p:sp>
            <p:nvSpPr>
              <p:cNvPr id="58" name="Rectangle 57">
                <a:extLst>
                  <a:ext uri="{FF2B5EF4-FFF2-40B4-BE49-F238E27FC236}">
                    <a16:creationId xmlns:a16="http://schemas.microsoft.com/office/drawing/2014/main" id="{1A816629-1876-4D4E-C274-8758708A6A5F}"/>
                  </a:ext>
                </a:extLst>
              </p:cNvPr>
              <p:cNvSpPr/>
              <p:nvPr/>
            </p:nvSpPr>
            <p:spPr>
              <a:xfrm>
                <a:off x="6378914" y="1694285"/>
                <a:ext cx="2370143" cy="2217316"/>
              </a:xfrm>
              <a:prstGeom prst="rect">
                <a:avLst/>
              </a:prstGeom>
              <a:noFill/>
              <a:ln w="603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684000" rIns="144000" bIns="288000" rtlCol="0" anchor="t" anchorCtr="0">
                <a:noAutofit/>
              </a:bodyPr>
              <a:lstStyle/>
              <a:p>
                <a:pPr algn="ctr"/>
                <a:endParaRPr lang="en-GB" sz="1050">
                  <a:solidFill>
                    <a:schemeClr val="tx1"/>
                  </a:solidFill>
                </a:endParaRPr>
              </a:p>
              <a:p>
                <a:pPr algn="ctr"/>
                <a:r>
                  <a:rPr lang="en-GB" sz="2000">
                    <a:solidFill>
                      <a:schemeClr val="tx1"/>
                    </a:solidFill>
                  </a:rPr>
                  <a:t>03</a:t>
                </a:r>
              </a:p>
            </p:txBody>
          </p:sp>
          <p:sp>
            <p:nvSpPr>
              <p:cNvPr id="59" name="Freeform 58">
                <a:extLst>
                  <a:ext uri="{FF2B5EF4-FFF2-40B4-BE49-F238E27FC236}">
                    <a16:creationId xmlns:a16="http://schemas.microsoft.com/office/drawing/2014/main" id="{4D30ADA5-9858-5A64-9C33-58D3440476FC}"/>
                  </a:ext>
                </a:extLst>
              </p:cNvPr>
              <p:cNvSpPr>
                <a:spLocks/>
              </p:cNvSpPr>
              <p:nvPr/>
            </p:nvSpPr>
            <p:spPr>
              <a:xfrm rot="10800000">
                <a:off x="7095986" y="170021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46" name="Group 45">
              <a:extLst>
                <a:ext uri="{FF2B5EF4-FFF2-40B4-BE49-F238E27FC236}">
                  <a16:creationId xmlns:a16="http://schemas.microsoft.com/office/drawing/2014/main" id="{5C423EEE-988C-9C14-280A-2AA7B419480A}"/>
                </a:ext>
              </a:extLst>
            </p:cNvPr>
            <p:cNvGrpSpPr/>
            <p:nvPr/>
          </p:nvGrpSpPr>
          <p:grpSpPr>
            <a:xfrm>
              <a:off x="6378914" y="4226273"/>
              <a:ext cx="2370143" cy="2217316"/>
              <a:chOff x="6378914" y="4226273"/>
              <a:chExt cx="2370143" cy="2217316"/>
            </a:xfrm>
          </p:grpSpPr>
          <p:sp>
            <p:nvSpPr>
              <p:cNvPr id="55" name="Rectangle 54">
                <a:extLst>
                  <a:ext uri="{FF2B5EF4-FFF2-40B4-BE49-F238E27FC236}">
                    <a16:creationId xmlns:a16="http://schemas.microsoft.com/office/drawing/2014/main" id="{C407E344-BE23-8D47-9E68-4E9CF8E6551B}"/>
                  </a:ext>
                </a:extLst>
              </p:cNvPr>
              <p:cNvSpPr/>
              <p:nvPr/>
            </p:nvSpPr>
            <p:spPr>
              <a:xfrm>
                <a:off x="6378914" y="4226273"/>
                <a:ext cx="2370143" cy="2217316"/>
              </a:xfrm>
              <a:prstGeom prst="rect">
                <a:avLst/>
              </a:prstGeom>
              <a:noFill/>
              <a:ln w="603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684000" rIns="144000" bIns="288000" rtlCol="0" anchor="t" anchorCtr="0">
                <a:noAutofit/>
              </a:bodyPr>
              <a:lstStyle/>
              <a:p>
                <a:pPr algn="ctr"/>
                <a:endParaRPr lang="en-GB" sz="1050">
                  <a:solidFill>
                    <a:schemeClr val="tx1"/>
                  </a:solidFill>
                </a:endParaRPr>
              </a:p>
              <a:p>
                <a:pPr algn="ctr"/>
                <a:r>
                  <a:rPr lang="en-GB" sz="2000">
                    <a:solidFill>
                      <a:schemeClr val="tx1"/>
                    </a:solidFill>
                  </a:rPr>
                  <a:t>06</a:t>
                </a:r>
              </a:p>
            </p:txBody>
          </p:sp>
          <p:sp>
            <p:nvSpPr>
              <p:cNvPr id="56" name="Freeform 55">
                <a:extLst>
                  <a:ext uri="{FF2B5EF4-FFF2-40B4-BE49-F238E27FC236}">
                    <a16:creationId xmlns:a16="http://schemas.microsoft.com/office/drawing/2014/main" id="{C9715BE4-0FA2-A822-05D3-4B9CCCF1B77A}"/>
                  </a:ext>
                </a:extLst>
              </p:cNvPr>
              <p:cNvSpPr>
                <a:spLocks/>
              </p:cNvSpPr>
              <p:nvPr/>
            </p:nvSpPr>
            <p:spPr>
              <a:xfrm rot="10800000">
                <a:off x="7095986" y="423005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47" name="Group 46">
              <a:extLst>
                <a:ext uri="{FF2B5EF4-FFF2-40B4-BE49-F238E27FC236}">
                  <a16:creationId xmlns:a16="http://schemas.microsoft.com/office/drawing/2014/main" id="{2C7F46D4-F332-AB4A-6E19-A21779DAE643}"/>
                </a:ext>
              </a:extLst>
            </p:cNvPr>
            <p:cNvGrpSpPr/>
            <p:nvPr/>
          </p:nvGrpSpPr>
          <p:grpSpPr>
            <a:xfrm>
              <a:off x="9270995" y="1694285"/>
              <a:ext cx="2368800" cy="2217316"/>
              <a:chOff x="9270995" y="1694285"/>
              <a:chExt cx="2368800" cy="2217316"/>
            </a:xfrm>
          </p:grpSpPr>
          <p:sp>
            <p:nvSpPr>
              <p:cNvPr id="52" name="Rectangle 51">
                <a:extLst>
                  <a:ext uri="{FF2B5EF4-FFF2-40B4-BE49-F238E27FC236}">
                    <a16:creationId xmlns:a16="http://schemas.microsoft.com/office/drawing/2014/main" id="{C3764A3F-7F38-99C0-E0FA-97A61408F016}"/>
                  </a:ext>
                </a:extLst>
              </p:cNvPr>
              <p:cNvSpPr/>
              <p:nvPr/>
            </p:nvSpPr>
            <p:spPr>
              <a:xfrm>
                <a:off x="9270995" y="1694285"/>
                <a:ext cx="2368800" cy="2217316"/>
              </a:xfrm>
              <a:prstGeom prst="rect">
                <a:avLst/>
              </a:prstGeom>
              <a:noFill/>
              <a:ln w="603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684000" rIns="144000" bIns="288000" rtlCol="0" anchor="t" anchorCtr="0">
                <a:noAutofit/>
              </a:bodyPr>
              <a:lstStyle/>
              <a:p>
                <a:pPr algn="ctr"/>
                <a:endParaRPr lang="en-GB" sz="1050">
                  <a:solidFill>
                    <a:schemeClr val="tx1"/>
                  </a:solidFill>
                </a:endParaRPr>
              </a:p>
              <a:p>
                <a:pPr algn="ctr"/>
                <a:r>
                  <a:rPr lang="en-GB" sz="2000">
                    <a:solidFill>
                      <a:schemeClr val="tx1"/>
                    </a:solidFill>
                  </a:rPr>
                  <a:t>04</a:t>
                </a:r>
              </a:p>
            </p:txBody>
          </p:sp>
          <p:sp>
            <p:nvSpPr>
              <p:cNvPr id="53" name="Freeform 52">
                <a:extLst>
                  <a:ext uri="{FF2B5EF4-FFF2-40B4-BE49-F238E27FC236}">
                    <a16:creationId xmlns:a16="http://schemas.microsoft.com/office/drawing/2014/main" id="{AD3B6B3A-1E61-76C3-1C52-A9B479A5A5E4}"/>
                  </a:ext>
                </a:extLst>
              </p:cNvPr>
              <p:cNvSpPr>
                <a:spLocks/>
              </p:cNvSpPr>
              <p:nvPr/>
            </p:nvSpPr>
            <p:spPr>
              <a:xfrm rot="10800000">
                <a:off x="9987396" y="170021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nvGrpSpPr>
            <p:cNvPr id="48" name="Group 47">
              <a:extLst>
                <a:ext uri="{FF2B5EF4-FFF2-40B4-BE49-F238E27FC236}">
                  <a16:creationId xmlns:a16="http://schemas.microsoft.com/office/drawing/2014/main" id="{2BE7B2D0-FF56-BD41-144F-7017DEDE61D8}"/>
                </a:ext>
              </a:extLst>
            </p:cNvPr>
            <p:cNvGrpSpPr/>
            <p:nvPr/>
          </p:nvGrpSpPr>
          <p:grpSpPr>
            <a:xfrm>
              <a:off x="9270995" y="4226273"/>
              <a:ext cx="2368800" cy="2217316"/>
              <a:chOff x="9270995" y="4226273"/>
              <a:chExt cx="2368800" cy="2217316"/>
            </a:xfrm>
          </p:grpSpPr>
          <p:sp>
            <p:nvSpPr>
              <p:cNvPr id="49" name="Rectangle 48">
                <a:extLst>
                  <a:ext uri="{FF2B5EF4-FFF2-40B4-BE49-F238E27FC236}">
                    <a16:creationId xmlns:a16="http://schemas.microsoft.com/office/drawing/2014/main" id="{BB56B87F-C8CB-B9D0-839B-34DA1719E49B}"/>
                  </a:ext>
                </a:extLst>
              </p:cNvPr>
              <p:cNvSpPr/>
              <p:nvPr/>
            </p:nvSpPr>
            <p:spPr>
              <a:xfrm>
                <a:off x="9270995" y="4226273"/>
                <a:ext cx="2368800" cy="2217316"/>
              </a:xfrm>
              <a:prstGeom prst="rect">
                <a:avLst/>
              </a:prstGeom>
              <a:noFill/>
              <a:ln w="603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684000" rIns="144000" bIns="288000" rtlCol="0" anchor="t" anchorCtr="0">
                <a:noAutofit/>
              </a:bodyPr>
              <a:lstStyle/>
              <a:p>
                <a:pPr algn="ctr"/>
                <a:endParaRPr lang="en-GB" sz="1050">
                  <a:solidFill>
                    <a:schemeClr val="tx1"/>
                  </a:solidFill>
                </a:endParaRPr>
              </a:p>
              <a:p>
                <a:pPr algn="ctr"/>
                <a:r>
                  <a:rPr lang="en-GB" sz="2000">
                    <a:solidFill>
                      <a:schemeClr val="tx1"/>
                    </a:solidFill>
                  </a:rPr>
                  <a:t>05</a:t>
                </a:r>
              </a:p>
            </p:txBody>
          </p:sp>
          <p:sp>
            <p:nvSpPr>
              <p:cNvPr id="50" name="Freeform 49">
                <a:extLst>
                  <a:ext uri="{FF2B5EF4-FFF2-40B4-BE49-F238E27FC236}">
                    <a16:creationId xmlns:a16="http://schemas.microsoft.com/office/drawing/2014/main" id="{43588898-7E27-E559-8779-119AD2C03947}"/>
                  </a:ext>
                </a:extLst>
              </p:cNvPr>
              <p:cNvSpPr>
                <a:spLocks/>
              </p:cNvSpPr>
              <p:nvPr/>
            </p:nvSpPr>
            <p:spPr>
              <a:xfrm rot="10800000">
                <a:off x="9987396" y="4230053"/>
                <a:ext cx="935999" cy="828000"/>
              </a:xfrm>
              <a:custGeom>
                <a:avLst/>
                <a:gdLst>
                  <a:gd name="connsiteX0" fmla="*/ 1004371 w 1004400"/>
                  <a:gd name="connsiteY0" fmla="*/ 1307523 h 1307523"/>
                  <a:gd name="connsiteX1" fmla="*/ 30 w 1004400"/>
                  <a:gd name="connsiteY1" fmla="*/ 1307523 h 1307523"/>
                  <a:gd name="connsiteX2" fmla="*/ 30 w 1004400"/>
                  <a:gd name="connsiteY2" fmla="*/ 305352 h 1307523"/>
                  <a:gd name="connsiteX3" fmla="*/ 0 w 1004400"/>
                  <a:gd name="connsiteY3" fmla="*/ 305352 h 1307523"/>
                  <a:gd name="connsiteX4" fmla="*/ 30 w 1004400"/>
                  <a:gd name="connsiteY4" fmla="*/ 305333 h 1307523"/>
                  <a:gd name="connsiteX5" fmla="*/ 30 w 1004400"/>
                  <a:gd name="connsiteY5" fmla="*/ 303182 h 1307523"/>
                  <a:gd name="connsiteX6" fmla="*/ 3455 w 1004400"/>
                  <a:gd name="connsiteY6" fmla="*/ 303182 h 1307523"/>
                  <a:gd name="connsiteX7" fmla="*/ 486260 w 1004400"/>
                  <a:gd name="connsiteY7" fmla="*/ 0 h 1307523"/>
                  <a:gd name="connsiteX8" fmla="*/ 1000718 w 1004400"/>
                  <a:gd name="connsiteY8" fmla="*/ 303182 h 1307523"/>
                  <a:gd name="connsiteX9" fmla="*/ 1004371 w 1004400"/>
                  <a:gd name="connsiteY9" fmla="*/ 303182 h 1307523"/>
                  <a:gd name="connsiteX10" fmla="*/ 1004371 w 1004400"/>
                  <a:gd name="connsiteY10" fmla="*/ 305335 h 1307523"/>
                  <a:gd name="connsiteX11" fmla="*/ 1004400 w 1004400"/>
                  <a:gd name="connsiteY11" fmla="*/ 305352 h 1307523"/>
                  <a:gd name="connsiteX12" fmla="*/ 1004371 w 1004400"/>
                  <a:gd name="connsiteY12" fmla="*/ 305352 h 130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4400" h="1307523">
                    <a:moveTo>
                      <a:pt x="1004371" y="1307523"/>
                    </a:moveTo>
                    <a:lnTo>
                      <a:pt x="30" y="1307523"/>
                    </a:lnTo>
                    <a:lnTo>
                      <a:pt x="30" y="305352"/>
                    </a:lnTo>
                    <a:lnTo>
                      <a:pt x="0" y="305352"/>
                    </a:lnTo>
                    <a:lnTo>
                      <a:pt x="30" y="305333"/>
                    </a:lnTo>
                    <a:lnTo>
                      <a:pt x="30" y="303182"/>
                    </a:lnTo>
                    <a:lnTo>
                      <a:pt x="3455" y="303182"/>
                    </a:lnTo>
                    <a:lnTo>
                      <a:pt x="486260" y="0"/>
                    </a:lnTo>
                    <a:lnTo>
                      <a:pt x="1000718" y="303182"/>
                    </a:lnTo>
                    <a:lnTo>
                      <a:pt x="1004371" y="303182"/>
                    </a:lnTo>
                    <a:lnTo>
                      <a:pt x="1004371" y="305335"/>
                    </a:lnTo>
                    <a:lnTo>
                      <a:pt x="1004400" y="305352"/>
                    </a:lnTo>
                    <a:lnTo>
                      <a:pt x="1004371" y="305352"/>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56346" tIns="56346" rIns="56346" bIns="56346" rtlCol="0" anchor="ctr">
                <a:noAutofit/>
              </a:bodyPr>
              <a:lstStyle/>
              <a:p>
                <a:pPr algn="ctr"/>
                <a:endParaRPr lang="en-US" sz="1400"/>
              </a:p>
            </p:txBody>
          </p:sp>
        </p:gr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Eight step process - outlin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an remove from second row as needed for less steps</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6205956" y="250128"/>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17" name="Picture Placeholder 9">
            <a:extLst>
              <a:ext uri="{FF2B5EF4-FFF2-40B4-BE49-F238E27FC236}">
                <a16:creationId xmlns:a16="http://schemas.microsoft.com/office/drawing/2014/main" id="{C2D24B59-3C99-00A8-2611-B88FF9E2079D}"/>
              </a:ext>
            </a:extLst>
          </p:cNvPr>
          <p:cNvSpPr>
            <a:spLocks noGrp="1"/>
          </p:cNvSpPr>
          <p:nvPr>
            <p:ph type="pic" sz="quarter" idx="19"/>
          </p:nvPr>
        </p:nvSpPr>
        <p:spPr>
          <a:xfrm>
            <a:off x="1676400" y="2058857"/>
            <a:ext cx="539246" cy="539246"/>
          </a:xfrm>
        </p:spPr>
        <p:txBody>
          <a:bodyPr>
            <a:normAutofit/>
          </a:bodyPr>
          <a:lstStyle>
            <a:lvl1pPr>
              <a:defRPr sz="800"/>
            </a:lvl1pPr>
          </a:lstStyle>
          <a:p>
            <a:r>
              <a:rPr lang="en-US"/>
              <a:t>Click icon to add picture</a:t>
            </a:r>
          </a:p>
        </p:txBody>
      </p:sp>
      <p:sp>
        <p:nvSpPr>
          <p:cNvPr id="18" name="Picture Placeholder 9">
            <a:extLst>
              <a:ext uri="{FF2B5EF4-FFF2-40B4-BE49-F238E27FC236}">
                <a16:creationId xmlns:a16="http://schemas.microsoft.com/office/drawing/2014/main" id="{8A0AD301-FA56-7931-1094-DD6625FC2D56}"/>
              </a:ext>
            </a:extLst>
          </p:cNvPr>
          <p:cNvSpPr>
            <a:spLocks noGrp="1"/>
          </p:cNvSpPr>
          <p:nvPr>
            <p:ph type="pic" sz="quarter" idx="20"/>
          </p:nvPr>
        </p:nvSpPr>
        <p:spPr>
          <a:xfrm>
            <a:off x="4495800" y="2058857"/>
            <a:ext cx="539246" cy="539246"/>
          </a:xfrm>
        </p:spPr>
        <p:txBody>
          <a:bodyPr>
            <a:normAutofit/>
          </a:bodyPr>
          <a:lstStyle>
            <a:lvl1pPr>
              <a:defRPr sz="800"/>
            </a:lvl1pPr>
          </a:lstStyle>
          <a:p>
            <a:r>
              <a:rPr lang="en-US"/>
              <a:t>Click icon to add picture</a:t>
            </a:r>
          </a:p>
        </p:txBody>
      </p:sp>
      <p:sp>
        <p:nvSpPr>
          <p:cNvPr id="20" name="Picture Placeholder 9">
            <a:extLst>
              <a:ext uri="{FF2B5EF4-FFF2-40B4-BE49-F238E27FC236}">
                <a16:creationId xmlns:a16="http://schemas.microsoft.com/office/drawing/2014/main" id="{0DACE9C9-F544-23F9-972B-B29ABC1F4E3D}"/>
              </a:ext>
            </a:extLst>
          </p:cNvPr>
          <p:cNvSpPr>
            <a:spLocks noGrp="1"/>
          </p:cNvSpPr>
          <p:nvPr>
            <p:ph type="pic" sz="quarter" idx="21"/>
          </p:nvPr>
        </p:nvSpPr>
        <p:spPr>
          <a:xfrm>
            <a:off x="7253263" y="2058857"/>
            <a:ext cx="539246" cy="539246"/>
          </a:xfrm>
        </p:spPr>
        <p:txBody>
          <a:bodyPr>
            <a:normAutofit/>
          </a:bodyPr>
          <a:lstStyle>
            <a:lvl1pPr>
              <a:defRPr sz="800"/>
            </a:lvl1pPr>
          </a:lstStyle>
          <a:p>
            <a:r>
              <a:rPr lang="en-US"/>
              <a:t>Click icon to add picture</a:t>
            </a:r>
          </a:p>
        </p:txBody>
      </p:sp>
      <p:sp>
        <p:nvSpPr>
          <p:cNvPr id="21" name="Picture Placeholder 9">
            <a:extLst>
              <a:ext uri="{FF2B5EF4-FFF2-40B4-BE49-F238E27FC236}">
                <a16:creationId xmlns:a16="http://schemas.microsoft.com/office/drawing/2014/main" id="{9BF5A735-3E85-23F4-BD57-B9DF2571D872}"/>
              </a:ext>
            </a:extLst>
          </p:cNvPr>
          <p:cNvSpPr>
            <a:spLocks noGrp="1"/>
          </p:cNvSpPr>
          <p:nvPr>
            <p:ph type="pic" sz="quarter" idx="22"/>
          </p:nvPr>
        </p:nvSpPr>
        <p:spPr>
          <a:xfrm>
            <a:off x="10015777" y="2057400"/>
            <a:ext cx="539246" cy="539246"/>
          </a:xfrm>
        </p:spPr>
        <p:txBody>
          <a:bodyPr>
            <a:normAutofit/>
          </a:bodyPr>
          <a:lstStyle>
            <a:lvl1pPr>
              <a:defRPr sz="800"/>
            </a:lvl1pPr>
          </a:lstStyle>
          <a:p>
            <a:r>
              <a:rPr lang="en-US"/>
              <a:t>Click icon to add picture</a:t>
            </a:r>
          </a:p>
        </p:txBody>
      </p:sp>
      <p:sp>
        <p:nvSpPr>
          <p:cNvPr id="73" name="Picture Placeholder 9">
            <a:extLst>
              <a:ext uri="{FF2B5EF4-FFF2-40B4-BE49-F238E27FC236}">
                <a16:creationId xmlns:a16="http://schemas.microsoft.com/office/drawing/2014/main" id="{0710B013-FBB1-5C66-12AC-FE8FCAAFEB89}"/>
              </a:ext>
            </a:extLst>
          </p:cNvPr>
          <p:cNvSpPr>
            <a:spLocks noGrp="1"/>
          </p:cNvSpPr>
          <p:nvPr>
            <p:ph type="pic" sz="quarter" idx="49"/>
          </p:nvPr>
        </p:nvSpPr>
        <p:spPr>
          <a:xfrm>
            <a:off x="1652618" y="4255709"/>
            <a:ext cx="539246" cy="539246"/>
          </a:xfrm>
        </p:spPr>
        <p:txBody>
          <a:bodyPr>
            <a:normAutofit/>
          </a:bodyPr>
          <a:lstStyle>
            <a:lvl1pPr>
              <a:defRPr sz="800"/>
            </a:lvl1pPr>
          </a:lstStyle>
          <a:p>
            <a:r>
              <a:rPr lang="en-US"/>
              <a:t>Click icon to add picture</a:t>
            </a:r>
          </a:p>
        </p:txBody>
      </p:sp>
      <p:sp>
        <p:nvSpPr>
          <p:cNvPr id="74" name="Picture Placeholder 9">
            <a:extLst>
              <a:ext uri="{FF2B5EF4-FFF2-40B4-BE49-F238E27FC236}">
                <a16:creationId xmlns:a16="http://schemas.microsoft.com/office/drawing/2014/main" id="{EF238D50-2E24-382A-D90C-8F61CCECD203}"/>
              </a:ext>
            </a:extLst>
          </p:cNvPr>
          <p:cNvSpPr>
            <a:spLocks noGrp="1"/>
          </p:cNvSpPr>
          <p:nvPr>
            <p:ph type="pic" sz="quarter" idx="50"/>
          </p:nvPr>
        </p:nvSpPr>
        <p:spPr>
          <a:xfrm>
            <a:off x="4472018" y="4255709"/>
            <a:ext cx="539246" cy="539246"/>
          </a:xfrm>
        </p:spPr>
        <p:txBody>
          <a:bodyPr>
            <a:normAutofit/>
          </a:bodyPr>
          <a:lstStyle>
            <a:lvl1pPr>
              <a:defRPr sz="800"/>
            </a:lvl1pPr>
          </a:lstStyle>
          <a:p>
            <a:r>
              <a:rPr lang="en-US"/>
              <a:t>Click icon to add picture</a:t>
            </a:r>
          </a:p>
        </p:txBody>
      </p:sp>
      <p:sp>
        <p:nvSpPr>
          <p:cNvPr id="75" name="Picture Placeholder 9">
            <a:extLst>
              <a:ext uri="{FF2B5EF4-FFF2-40B4-BE49-F238E27FC236}">
                <a16:creationId xmlns:a16="http://schemas.microsoft.com/office/drawing/2014/main" id="{F658823D-CB81-3CFF-217A-67062F5355AA}"/>
              </a:ext>
            </a:extLst>
          </p:cNvPr>
          <p:cNvSpPr>
            <a:spLocks noGrp="1"/>
          </p:cNvSpPr>
          <p:nvPr>
            <p:ph type="pic" sz="quarter" idx="51"/>
          </p:nvPr>
        </p:nvSpPr>
        <p:spPr>
          <a:xfrm>
            <a:off x="7229481" y="4255709"/>
            <a:ext cx="539246" cy="539246"/>
          </a:xfrm>
        </p:spPr>
        <p:txBody>
          <a:bodyPr>
            <a:normAutofit/>
          </a:bodyPr>
          <a:lstStyle>
            <a:lvl1pPr>
              <a:defRPr sz="800"/>
            </a:lvl1pPr>
          </a:lstStyle>
          <a:p>
            <a:r>
              <a:rPr lang="en-US"/>
              <a:t>Click icon to add picture</a:t>
            </a:r>
          </a:p>
        </p:txBody>
      </p:sp>
      <p:sp>
        <p:nvSpPr>
          <p:cNvPr id="76" name="Picture Placeholder 9">
            <a:extLst>
              <a:ext uri="{FF2B5EF4-FFF2-40B4-BE49-F238E27FC236}">
                <a16:creationId xmlns:a16="http://schemas.microsoft.com/office/drawing/2014/main" id="{78DD4851-EE9C-6809-BDD8-5E9BAFDC766E}"/>
              </a:ext>
            </a:extLst>
          </p:cNvPr>
          <p:cNvSpPr>
            <a:spLocks noGrp="1"/>
          </p:cNvSpPr>
          <p:nvPr>
            <p:ph type="pic" sz="quarter" idx="52"/>
          </p:nvPr>
        </p:nvSpPr>
        <p:spPr>
          <a:xfrm>
            <a:off x="9991995" y="4254252"/>
            <a:ext cx="539246" cy="539246"/>
          </a:xfrm>
        </p:spPr>
        <p:txBody>
          <a:bodyPr>
            <a:normAutofit/>
          </a:bodyPr>
          <a:lstStyle>
            <a:lvl1pPr>
              <a:defRPr sz="800"/>
            </a:lvl1pPr>
          </a:lstStyle>
          <a:p>
            <a:r>
              <a:rPr lang="en-US"/>
              <a:t>Click icon to add picture</a:t>
            </a:r>
          </a:p>
        </p:txBody>
      </p:sp>
      <p:sp>
        <p:nvSpPr>
          <p:cNvPr id="79" name="Text Placeholder 49">
            <a:extLst>
              <a:ext uri="{FF2B5EF4-FFF2-40B4-BE49-F238E27FC236}">
                <a16:creationId xmlns:a16="http://schemas.microsoft.com/office/drawing/2014/main" id="{37AD0E32-0395-4ADB-4332-813D1EA217BE}"/>
              </a:ext>
            </a:extLst>
          </p:cNvPr>
          <p:cNvSpPr>
            <a:spLocks noGrp="1"/>
          </p:cNvSpPr>
          <p:nvPr>
            <p:ph type="body" sz="quarter" idx="53" hasCustomPrompt="1"/>
          </p:nvPr>
        </p:nvSpPr>
        <p:spPr>
          <a:xfrm>
            <a:off x="3657601" y="3412059"/>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0" name="Text Placeholder 49">
            <a:extLst>
              <a:ext uri="{FF2B5EF4-FFF2-40B4-BE49-F238E27FC236}">
                <a16:creationId xmlns:a16="http://schemas.microsoft.com/office/drawing/2014/main" id="{BFF80352-B364-5726-1632-2095C85B2519}"/>
              </a:ext>
            </a:extLst>
          </p:cNvPr>
          <p:cNvSpPr>
            <a:spLocks noGrp="1"/>
          </p:cNvSpPr>
          <p:nvPr>
            <p:ph type="body" sz="quarter" idx="54" hasCustomPrompt="1"/>
          </p:nvPr>
        </p:nvSpPr>
        <p:spPr>
          <a:xfrm>
            <a:off x="3657600" y="3200400"/>
            <a:ext cx="2178428" cy="235633"/>
          </a:xfrm>
        </p:spPr>
        <p:txBody>
          <a:bodyPr>
            <a:normAutofit/>
          </a:bodyPr>
          <a:lstStyle>
            <a:lvl1pPr algn="ctr">
              <a:defRPr sz="1200" b="1">
                <a:solidFill>
                  <a:schemeClr val="tx1"/>
                </a:solidFill>
              </a:defRPr>
            </a:lvl1pPr>
          </a:lstStyle>
          <a:p>
            <a:pPr lvl="0"/>
            <a:r>
              <a:rPr lang="en-US"/>
              <a:t>Lorem ipsum dolor</a:t>
            </a:r>
          </a:p>
        </p:txBody>
      </p:sp>
      <p:sp>
        <p:nvSpPr>
          <p:cNvPr id="81" name="Text Placeholder 49">
            <a:extLst>
              <a:ext uri="{FF2B5EF4-FFF2-40B4-BE49-F238E27FC236}">
                <a16:creationId xmlns:a16="http://schemas.microsoft.com/office/drawing/2014/main" id="{66AFC34A-AC27-07FF-796B-F02387AD7020}"/>
              </a:ext>
            </a:extLst>
          </p:cNvPr>
          <p:cNvSpPr>
            <a:spLocks noGrp="1"/>
          </p:cNvSpPr>
          <p:nvPr>
            <p:ph type="body" sz="quarter" idx="55" hasCustomPrompt="1"/>
          </p:nvPr>
        </p:nvSpPr>
        <p:spPr>
          <a:xfrm>
            <a:off x="885773" y="3412059"/>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2" name="Text Placeholder 49">
            <a:extLst>
              <a:ext uri="{FF2B5EF4-FFF2-40B4-BE49-F238E27FC236}">
                <a16:creationId xmlns:a16="http://schemas.microsoft.com/office/drawing/2014/main" id="{FE138951-AFAE-BF32-6BA1-2C3CB21DCBCF}"/>
              </a:ext>
            </a:extLst>
          </p:cNvPr>
          <p:cNvSpPr>
            <a:spLocks noGrp="1"/>
          </p:cNvSpPr>
          <p:nvPr>
            <p:ph type="body" sz="quarter" idx="56" hasCustomPrompt="1"/>
          </p:nvPr>
        </p:nvSpPr>
        <p:spPr>
          <a:xfrm>
            <a:off x="885772" y="3200400"/>
            <a:ext cx="2178428" cy="235633"/>
          </a:xfrm>
        </p:spPr>
        <p:txBody>
          <a:bodyPr>
            <a:normAutofit/>
          </a:bodyPr>
          <a:lstStyle>
            <a:lvl1pPr algn="ctr">
              <a:defRPr sz="1200" b="1">
                <a:solidFill>
                  <a:schemeClr val="tx1"/>
                </a:solidFill>
              </a:defRPr>
            </a:lvl1pPr>
          </a:lstStyle>
          <a:p>
            <a:pPr lvl="0"/>
            <a:r>
              <a:rPr lang="en-US"/>
              <a:t>Lorem ipsum dolor</a:t>
            </a:r>
          </a:p>
        </p:txBody>
      </p:sp>
      <p:sp>
        <p:nvSpPr>
          <p:cNvPr id="83" name="Text Placeholder 49">
            <a:extLst>
              <a:ext uri="{FF2B5EF4-FFF2-40B4-BE49-F238E27FC236}">
                <a16:creationId xmlns:a16="http://schemas.microsoft.com/office/drawing/2014/main" id="{9696F034-4CF6-F4A8-DE4C-8F254F90493A}"/>
              </a:ext>
            </a:extLst>
          </p:cNvPr>
          <p:cNvSpPr>
            <a:spLocks noGrp="1"/>
          </p:cNvSpPr>
          <p:nvPr>
            <p:ph type="body" sz="quarter" idx="57" hasCustomPrompt="1"/>
          </p:nvPr>
        </p:nvSpPr>
        <p:spPr>
          <a:xfrm>
            <a:off x="3650814" y="5633754"/>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4" name="Text Placeholder 49">
            <a:extLst>
              <a:ext uri="{FF2B5EF4-FFF2-40B4-BE49-F238E27FC236}">
                <a16:creationId xmlns:a16="http://schemas.microsoft.com/office/drawing/2014/main" id="{B9C10645-32E4-AA7B-B59A-338A9BF97854}"/>
              </a:ext>
            </a:extLst>
          </p:cNvPr>
          <p:cNvSpPr>
            <a:spLocks noGrp="1"/>
          </p:cNvSpPr>
          <p:nvPr>
            <p:ph type="body" sz="quarter" idx="58" hasCustomPrompt="1"/>
          </p:nvPr>
        </p:nvSpPr>
        <p:spPr>
          <a:xfrm>
            <a:off x="3650813" y="5422095"/>
            <a:ext cx="2178428" cy="235633"/>
          </a:xfrm>
        </p:spPr>
        <p:txBody>
          <a:bodyPr>
            <a:normAutofit/>
          </a:bodyPr>
          <a:lstStyle>
            <a:lvl1pPr algn="ctr">
              <a:defRPr sz="1200" b="1">
                <a:solidFill>
                  <a:schemeClr val="tx1"/>
                </a:solidFill>
              </a:defRPr>
            </a:lvl1pPr>
          </a:lstStyle>
          <a:p>
            <a:pPr lvl="0"/>
            <a:r>
              <a:rPr lang="en-US"/>
              <a:t>Lorem ipsum dolor</a:t>
            </a:r>
          </a:p>
        </p:txBody>
      </p:sp>
      <p:sp>
        <p:nvSpPr>
          <p:cNvPr id="85" name="Text Placeholder 49">
            <a:extLst>
              <a:ext uri="{FF2B5EF4-FFF2-40B4-BE49-F238E27FC236}">
                <a16:creationId xmlns:a16="http://schemas.microsoft.com/office/drawing/2014/main" id="{A6B197B1-0210-9CAE-48FD-E9021F0E9A99}"/>
              </a:ext>
            </a:extLst>
          </p:cNvPr>
          <p:cNvSpPr>
            <a:spLocks noGrp="1"/>
          </p:cNvSpPr>
          <p:nvPr>
            <p:ph type="body" sz="quarter" idx="59" hasCustomPrompt="1"/>
          </p:nvPr>
        </p:nvSpPr>
        <p:spPr>
          <a:xfrm>
            <a:off x="878986" y="5633754"/>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6" name="Text Placeholder 49">
            <a:extLst>
              <a:ext uri="{FF2B5EF4-FFF2-40B4-BE49-F238E27FC236}">
                <a16:creationId xmlns:a16="http://schemas.microsoft.com/office/drawing/2014/main" id="{3A07CFD8-73B5-BC35-BD4A-63A3C7470678}"/>
              </a:ext>
            </a:extLst>
          </p:cNvPr>
          <p:cNvSpPr>
            <a:spLocks noGrp="1"/>
          </p:cNvSpPr>
          <p:nvPr>
            <p:ph type="body" sz="quarter" idx="60" hasCustomPrompt="1"/>
          </p:nvPr>
        </p:nvSpPr>
        <p:spPr>
          <a:xfrm>
            <a:off x="878985" y="5422095"/>
            <a:ext cx="2178428" cy="235633"/>
          </a:xfrm>
        </p:spPr>
        <p:txBody>
          <a:bodyPr>
            <a:normAutofit/>
          </a:bodyPr>
          <a:lstStyle>
            <a:lvl1pPr algn="ctr">
              <a:defRPr sz="1200" b="1">
                <a:solidFill>
                  <a:schemeClr val="tx1"/>
                </a:solidFill>
              </a:defRPr>
            </a:lvl1pPr>
          </a:lstStyle>
          <a:p>
            <a:pPr lvl="0"/>
            <a:r>
              <a:rPr lang="en-US"/>
              <a:t>Lorem ipsum dolor</a:t>
            </a:r>
          </a:p>
        </p:txBody>
      </p:sp>
      <p:sp>
        <p:nvSpPr>
          <p:cNvPr id="87" name="Text Placeholder 49">
            <a:extLst>
              <a:ext uri="{FF2B5EF4-FFF2-40B4-BE49-F238E27FC236}">
                <a16:creationId xmlns:a16="http://schemas.microsoft.com/office/drawing/2014/main" id="{FE60CEE2-469F-F451-2AF7-9F42CD9FF568}"/>
              </a:ext>
            </a:extLst>
          </p:cNvPr>
          <p:cNvSpPr>
            <a:spLocks noGrp="1"/>
          </p:cNvSpPr>
          <p:nvPr>
            <p:ph type="body" sz="quarter" idx="61" hasCustomPrompt="1"/>
          </p:nvPr>
        </p:nvSpPr>
        <p:spPr>
          <a:xfrm>
            <a:off x="9215351" y="3414725"/>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9" name="Text Placeholder 49">
            <a:extLst>
              <a:ext uri="{FF2B5EF4-FFF2-40B4-BE49-F238E27FC236}">
                <a16:creationId xmlns:a16="http://schemas.microsoft.com/office/drawing/2014/main" id="{F7F6DAA9-29B5-4C76-47FD-3EA9E0074824}"/>
              </a:ext>
            </a:extLst>
          </p:cNvPr>
          <p:cNvSpPr>
            <a:spLocks noGrp="1"/>
          </p:cNvSpPr>
          <p:nvPr>
            <p:ph type="body" sz="quarter" idx="62" hasCustomPrompt="1"/>
          </p:nvPr>
        </p:nvSpPr>
        <p:spPr>
          <a:xfrm>
            <a:off x="9215350" y="3203066"/>
            <a:ext cx="2178428" cy="235633"/>
          </a:xfrm>
        </p:spPr>
        <p:txBody>
          <a:bodyPr>
            <a:normAutofit/>
          </a:bodyPr>
          <a:lstStyle>
            <a:lvl1pPr algn="ctr">
              <a:defRPr sz="1200" b="1">
                <a:solidFill>
                  <a:schemeClr val="tx1"/>
                </a:solidFill>
              </a:defRPr>
            </a:lvl1pPr>
          </a:lstStyle>
          <a:p>
            <a:pPr lvl="0"/>
            <a:r>
              <a:rPr lang="en-US"/>
              <a:t>Lorem ipsum dolor</a:t>
            </a:r>
          </a:p>
        </p:txBody>
      </p:sp>
      <p:sp>
        <p:nvSpPr>
          <p:cNvPr id="90" name="Text Placeholder 49">
            <a:extLst>
              <a:ext uri="{FF2B5EF4-FFF2-40B4-BE49-F238E27FC236}">
                <a16:creationId xmlns:a16="http://schemas.microsoft.com/office/drawing/2014/main" id="{C83C4FAE-6BAA-CE7E-1E2E-F0CD770EBD6C}"/>
              </a:ext>
            </a:extLst>
          </p:cNvPr>
          <p:cNvSpPr>
            <a:spLocks noGrp="1"/>
          </p:cNvSpPr>
          <p:nvPr>
            <p:ph type="body" sz="quarter" idx="63" hasCustomPrompt="1"/>
          </p:nvPr>
        </p:nvSpPr>
        <p:spPr>
          <a:xfrm>
            <a:off x="6443523" y="3414725"/>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1" name="Text Placeholder 49">
            <a:extLst>
              <a:ext uri="{FF2B5EF4-FFF2-40B4-BE49-F238E27FC236}">
                <a16:creationId xmlns:a16="http://schemas.microsoft.com/office/drawing/2014/main" id="{927E2E32-BF70-5D4D-72B7-A8AFE11FCBCF}"/>
              </a:ext>
            </a:extLst>
          </p:cNvPr>
          <p:cNvSpPr>
            <a:spLocks noGrp="1"/>
          </p:cNvSpPr>
          <p:nvPr>
            <p:ph type="body" sz="quarter" idx="64" hasCustomPrompt="1"/>
          </p:nvPr>
        </p:nvSpPr>
        <p:spPr>
          <a:xfrm>
            <a:off x="6443522" y="3203066"/>
            <a:ext cx="2178428" cy="235633"/>
          </a:xfrm>
        </p:spPr>
        <p:txBody>
          <a:bodyPr>
            <a:normAutofit/>
          </a:bodyPr>
          <a:lstStyle>
            <a:lvl1pPr algn="ctr">
              <a:defRPr sz="1200" b="1">
                <a:solidFill>
                  <a:schemeClr val="tx1"/>
                </a:solidFill>
              </a:defRPr>
            </a:lvl1pPr>
          </a:lstStyle>
          <a:p>
            <a:pPr lvl="0"/>
            <a:r>
              <a:rPr lang="en-US"/>
              <a:t>Lorem ipsum dolor</a:t>
            </a:r>
          </a:p>
        </p:txBody>
      </p:sp>
      <p:sp>
        <p:nvSpPr>
          <p:cNvPr id="92" name="Text Placeholder 49">
            <a:extLst>
              <a:ext uri="{FF2B5EF4-FFF2-40B4-BE49-F238E27FC236}">
                <a16:creationId xmlns:a16="http://schemas.microsoft.com/office/drawing/2014/main" id="{BFC42CBC-CB1B-1332-7B0B-FFD8A87641F5}"/>
              </a:ext>
            </a:extLst>
          </p:cNvPr>
          <p:cNvSpPr>
            <a:spLocks noGrp="1"/>
          </p:cNvSpPr>
          <p:nvPr>
            <p:ph type="body" sz="quarter" idx="65" hasCustomPrompt="1"/>
          </p:nvPr>
        </p:nvSpPr>
        <p:spPr>
          <a:xfrm>
            <a:off x="9208564" y="5636420"/>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3" name="Text Placeholder 49">
            <a:extLst>
              <a:ext uri="{FF2B5EF4-FFF2-40B4-BE49-F238E27FC236}">
                <a16:creationId xmlns:a16="http://schemas.microsoft.com/office/drawing/2014/main" id="{94F2A38F-7EF9-DAB1-7802-6EE6521ED573}"/>
              </a:ext>
            </a:extLst>
          </p:cNvPr>
          <p:cNvSpPr>
            <a:spLocks noGrp="1"/>
          </p:cNvSpPr>
          <p:nvPr>
            <p:ph type="body" sz="quarter" idx="66" hasCustomPrompt="1"/>
          </p:nvPr>
        </p:nvSpPr>
        <p:spPr>
          <a:xfrm>
            <a:off x="9208563" y="5424761"/>
            <a:ext cx="2178428" cy="235633"/>
          </a:xfrm>
        </p:spPr>
        <p:txBody>
          <a:bodyPr>
            <a:normAutofit/>
          </a:bodyPr>
          <a:lstStyle>
            <a:lvl1pPr algn="ctr">
              <a:defRPr sz="1200" b="1">
                <a:solidFill>
                  <a:schemeClr val="tx1"/>
                </a:solidFill>
              </a:defRPr>
            </a:lvl1pPr>
          </a:lstStyle>
          <a:p>
            <a:pPr lvl="0"/>
            <a:r>
              <a:rPr lang="en-US"/>
              <a:t>Lorem ipsum dolor</a:t>
            </a:r>
          </a:p>
        </p:txBody>
      </p:sp>
      <p:sp>
        <p:nvSpPr>
          <p:cNvPr id="94" name="Text Placeholder 49">
            <a:extLst>
              <a:ext uri="{FF2B5EF4-FFF2-40B4-BE49-F238E27FC236}">
                <a16:creationId xmlns:a16="http://schemas.microsoft.com/office/drawing/2014/main" id="{29F674B6-531D-34CB-1B18-70AA9575D608}"/>
              </a:ext>
            </a:extLst>
          </p:cNvPr>
          <p:cNvSpPr>
            <a:spLocks noGrp="1"/>
          </p:cNvSpPr>
          <p:nvPr>
            <p:ph type="body" sz="quarter" idx="67" hasCustomPrompt="1"/>
          </p:nvPr>
        </p:nvSpPr>
        <p:spPr>
          <a:xfrm>
            <a:off x="6436736" y="5636420"/>
            <a:ext cx="2178428" cy="507049"/>
          </a:xfrm>
        </p:spPr>
        <p:txBody>
          <a:bodyPr>
            <a:normAutofit/>
          </a:bodyPr>
          <a:lstStyle>
            <a:lvl1pPr algn="ctr">
              <a:defRPr sz="10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5" name="Text Placeholder 49">
            <a:extLst>
              <a:ext uri="{FF2B5EF4-FFF2-40B4-BE49-F238E27FC236}">
                <a16:creationId xmlns:a16="http://schemas.microsoft.com/office/drawing/2014/main" id="{496B77A7-C5EB-30F2-D6FC-AE45CAED9AD9}"/>
              </a:ext>
            </a:extLst>
          </p:cNvPr>
          <p:cNvSpPr>
            <a:spLocks noGrp="1"/>
          </p:cNvSpPr>
          <p:nvPr>
            <p:ph type="body" sz="quarter" idx="68" hasCustomPrompt="1"/>
          </p:nvPr>
        </p:nvSpPr>
        <p:spPr>
          <a:xfrm>
            <a:off x="6436735" y="5424761"/>
            <a:ext cx="2178428" cy="235633"/>
          </a:xfrm>
        </p:spPr>
        <p:txBody>
          <a:bodyPr>
            <a:normAutofit/>
          </a:bodyPr>
          <a:lstStyle>
            <a:lvl1pPr algn="ctr">
              <a:defRPr sz="1200" b="1">
                <a:solidFill>
                  <a:schemeClr val="tx1"/>
                </a:solidFill>
              </a:defRPr>
            </a:lvl1pPr>
          </a:lstStyle>
          <a:p>
            <a:pPr lvl="0"/>
            <a:r>
              <a:rPr lang="en-US"/>
              <a:t>Lorem ipsum dolor</a:t>
            </a:r>
          </a:p>
        </p:txBody>
      </p:sp>
    </p:spTree>
    <p:extLst>
      <p:ext uri="{BB962C8B-B14F-4D97-AF65-F5344CB8AC3E}">
        <p14:creationId xmlns:p14="http://schemas.microsoft.com/office/powerpoint/2010/main" val="302556599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n step process - outlin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en step process - outlin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an remove from second row as needed for less steps</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6205956" y="250128"/>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07167079-DD95-863E-C5D8-6A592A462459}"/>
              </a:ext>
            </a:extLst>
          </p:cNvPr>
          <p:cNvGrpSpPr/>
          <p:nvPr userDrawn="1"/>
        </p:nvGrpSpPr>
        <p:grpSpPr>
          <a:xfrm>
            <a:off x="814558" y="1741397"/>
            <a:ext cx="10621353" cy="4534845"/>
            <a:chOff x="814558" y="1654109"/>
            <a:chExt cx="10621353" cy="4534845"/>
          </a:xfrm>
        </p:grpSpPr>
        <p:grpSp>
          <p:nvGrpSpPr>
            <p:cNvPr id="9" name="Group 8">
              <a:extLst>
                <a:ext uri="{FF2B5EF4-FFF2-40B4-BE49-F238E27FC236}">
                  <a16:creationId xmlns:a16="http://schemas.microsoft.com/office/drawing/2014/main" id="{03E21E0F-1841-2E79-DF5F-28C44ED2ACEF}"/>
                </a:ext>
              </a:extLst>
            </p:cNvPr>
            <p:cNvGrpSpPr/>
            <p:nvPr/>
          </p:nvGrpSpPr>
          <p:grpSpPr>
            <a:xfrm>
              <a:off x="814558" y="1654109"/>
              <a:ext cx="1894161" cy="2254883"/>
              <a:chOff x="729767" y="1689100"/>
              <a:chExt cx="2038236" cy="2426396"/>
            </a:xfrm>
          </p:grpSpPr>
          <p:sp>
            <p:nvSpPr>
              <p:cNvPr id="79" name="Rectangle 78">
                <a:extLst>
                  <a:ext uri="{FF2B5EF4-FFF2-40B4-BE49-F238E27FC236}">
                    <a16:creationId xmlns:a16="http://schemas.microsoft.com/office/drawing/2014/main" id="{C3C6C806-66D5-181D-8D92-5008F74866BA}"/>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80" name="Diamond 79">
                <a:extLst>
                  <a:ext uri="{FF2B5EF4-FFF2-40B4-BE49-F238E27FC236}">
                    <a16:creationId xmlns:a16="http://schemas.microsoft.com/office/drawing/2014/main" id="{4DB64DC1-4414-A691-599C-D8673B790AEE}"/>
                  </a:ext>
                </a:extLst>
              </p:cNvPr>
              <p:cNvSpPr/>
              <p:nvPr/>
            </p:nvSpPr>
            <p:spPr>
              <a:xfrm>
                <a:off x="1360724" y="1689100"/>
                <a:ext cx="776322" cy="776322"/>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1</a:t>
                </a:r>
                <a:endParaRPr lang="en-US" sz="1100" b="1">
                  <a:solidFill>
                    <a:schemeClr val="bg1"/>
                  </a:solidFill>
                </a:endParaRPr>
              </a:p>
            </p:txBody>
          </p:sp>
        </p:grpSp>
        <p:grpSp>
          <p:nvGrpSpPr>
            <p:cNvPr id="16" name="Group 15">
              <a:extLst>
                <a:ext uri="{FF2B5EF4-FFF2-40B4-BE49-F238E27FC236}">
                  <a16:creationId xmlns:a16="http://schemas.microsoft.com/office/drawing/2014/main" id="{3B7A5DBB-D8E8-CB72-593B-52D3D307F2F6}"/>
                </a:ext>
              </a:extLst>
            </p:cNvPr>
            <p:cNvGrpSpPr/>
            <p:nvPr/>
          </p:nvGrpSpPr>
          <p:grpSpPr>
            <a:xfrm>
              <a:off x="2996356" y="1654109"/>
              <a:ext cx="1894161" cy="2254883"/>
              <a:chOff x="729767" y="1689100"/>
              <a:chExt cx="2038236" cy="2426396"/>
            </a:xfrm>
          </p:grpSpPr>
          <p:sp>
            <p:nvSpPr>
              <p:cNvPr id="77" name="Rectangle 76">
                <a:extLst>
                  <a:ext uri="{FF2B5EF4-FFF2-40B4-BE49-F238E27FC236}">
                    <a16:creationId xmlns:a16="http://schemas.microsoft.com/office/drawing/2014/main" id="{8661C9E2-3DCE-DB8D-AF86-C4848DFFD47E}"/>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78" name="Diamond 77">
                <a:extLst>
                  <a:ext uri="{FF2B5EF4-FFF2-40B4-BE49-F238E27FC236}">
                    <a16:creationId xmlns:a16="http://schemas.microsoft.com/office/drawing/2014/main" id="{B6289FB7-311E-AB5D-4F43-E0C2F2805292}"/>
                  </a:ext>
                </a:extLst>
              </p:cNvPr>
              <p:cNvSpPr/>
              <p:nvPr/>
            </p:nvSpPr>
            <p:spPr>
              <a:xfrm>
                <a:off x="1360724" y="1689100"/>
                <a:ext cx="776322" cy="776322"/>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2</a:t>
                </a:r>
                <a:endParaRPr lang="en-US" sz="1100" b="1">
                  <a:solidFill>
                    <a:schemeClr val="bg1"/>
                  </a:solidFill>
                </a:endParaRPr>
              </a:p>
            </p:txBody>
          </p:sp>
        </p:grpSp>
        <p:grpSp>
          <p:nvGrpSpPr>
            <p:cNvPr id="28" name="Group 27">
              <a:extLst>
                <a:ext uri="{FF2B5EF4-FFF2-40B4-BE49-F238E27FC236}">
                  <a16:creationId xmlns:a16="http://schemas.microsoft.com/office/drawing/2014/main" id="{4263334F-349A-88DC-0DA5-895E205ADE9C}"/>
                </a:ext>
              </a:extLst>
            </p:cNvPr>
            <p:cNvGrpSpPr/>
            <p:nvPr/>
          </p:nvGrpSpPr>
          <p:grpSpPr>
            <a:xfrm>
              <a:off x="5178154" y="1654109"/>
              <a:ext cx="1894161" cy="2254883"/>
              <a:chOff x="729767" y="1689100"/>
              <a:chExt cx="2038236" cy="2426396"/>
            </a:xfrm>
          </p:grpSpPr>
          <p:sp>
            <p:nvSpPr>
              <p:cNvPr id="75" name="Rectangle 74">
                <a:extLst>
                  <a:ext uri="{FF2B5EF4-FFF2-40B4-BE49-F238E27FC236}">
                    <a16:creationId xmlns:a16="http://schemas.microsoft.com/office/drawing/2014/main" id="{1907B11A-8FFA-A1FD-0C2C-4BF97AB8D380}"/>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76" name="Diamond 75">
                <a:extLst>
                  <a:ext uri="{FF2B5EF4-FFF2-40B4-BE49-F238E27FC236}">
                    <a16:creationId xmlns:a16="http://schemas.microsoft.com/office/drawing/2014/main" id="{878A54CC-529C-6062-AB95-0BABD0D311FC}"/>
                  </a:ext>
                </a:extLst>
              </p:cNvPr>
              <p:cNvSpPr/>
              <p:nvPr/>
            </p:nvSpPr>
            <p:spPr>
              <a:xfrm>
                <a:off x="1360724" y="1689100"/>
                <a:ext cx="776322" cy="776322"/>
              </a:xfrm>
              <a:prstGeom prst="diamon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3</a:t>
                </a:r>
                <a:endParaRPr lang="en-US" sz="1100" b="1">
                  <a:solidFill>
                    <a:schemeClr val="bg1"/>
                  </a:solidFill>
                </a:endParaRPr>
              </a:p>
            </p:txBody>
          </p:sp>
        </p:grpSp>
        <p:grpSp>
          <p:nvGrpSpPr>
            <p:cNvPr id="29" name="Group 28">
              <a:extLst>
                <a:ext uri="{FF2B5EF4-FFF2-40B4-BE49-F238E27FC236}">
                  <a16:creationId xmlns:a16="http://schemas.microsoft.com/office/drawing/2014/main" id="{F16467B6-6EE0-0287-E9DB-2FE20F317738}"/>
                </a:ext>
              </a:extLst>
            </p:cNvPr>
            <p:cNvGrpSpPr/>
            <p:nvPr/>
          </p:nvGrpSpPr>
          <p:grpSpPr>
            <a:xfrm>
              <a:off x="7359952" y="1654109"/>
              <a:ext cx="1894161" cy="2254883"/>
              <a:chOff x="729767" y="1689100"/>
              <a:chExt cx="2038236" cy="2426396"/>
            </a:xfrm>
          </p:grpSpPr>
          <p:sp>
            <p:nvSpPr>
              <p:cNvPr id="73" name="Rectangle 72">
                <a:extLst>
                  <a:ext uri="{FF2B5EF4-FFF2-40B4-BE49-F238E27FC236}">
                    <a16:creationId xmlns:a16="http://schemas.microsoft.com/office/drawing/2014/main" id="{6CA07D62-14AD-62E7-CB09-E8F72D68E4CF}"/>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74" name="Diamond 73">
                <a:extLst>
                  <a:ext uri="{FF2B5EF4-FFF2-40B4-BE49-F238E27FC236}">
                    <a16:creationId xmlns:a16="http://schemas.microsoft.com/office/drawing/2014/main" id="{88A4E2AD-B8DE-E16B-39F6-E939130692AF}"/>
                  </a:ext>
                </a:extLst>
              </p:cNvPr>
              <p:cNvSpPr/>
              <p:nvPr/>
            </p:nvSpPr>
            <p:spPr>
              <a:xfrm>
                <a:off x="1360724" y="1689100"/>
                <a:ext cx="776322" cy="776322"/>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4</a:t>
                </a:r>
                <a:endParaRPr lang="en-US" sz="1100" b="1">
                  <a:solidFill>
                    <a:schemeClr val="bg1"/>
                  </a:solidFill>
                </a:endParaRPr>
              </a:p>
            </p:txBody>
          </p:sp>
        </p:grpSp>
        <p:grpSp>
          <p:nvGrpSpPr>
            <p:cNvPr id="30" name="Group 29">
              <a:extLst>
                <a:ext uri="{FF2B5EF4-FFF2-40B4-BE49-F238E27FC236}">
                  <a16:creationId xmlns:a16="http://schemas.microsoft.com/office/drawing/2014/main" id="{040BE6FE-682D-4EC8-7BF5-4EAE35DEC21E}"/>
                </a:ext>
              </a:extLst>
            </p:cNvPr>
            <p:cNvGrpSpPr/>
            <p:nvPr/>
          </p:nvGrpSpPr>
          <p:grpSpPr>
            <a:xfrm>
              <a:off x="9541750" y="1654109"/>
              <a:ext cx="1894161" cy="2254883"/>
              <a:chOff x="729767" y="1689100"/>
              <a:chExt cx="2038236" cy="2426396"/>
            </a:xfrm>
          </p:grpSpPr>
          <p:sp>
            <p:nvSpPr>
              <p:cNvPr id="69" name="Rectangle 68">
                <a:extLst>
                  <a:ext uri="{FF2B5EF4-FFF2-40B4-BE49-F238E27FC236}">
                    <a16:creationId xmlns:a16="http://schemas.microsoft.com/office/drawing/2014/main" id="{325724B6-C2F7-EFAE-0114-5E00686B8B4E}"/>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72" name="Diamond 71">
                <a:extLst>
                  <a:ext uri="{FF2B5EF4-FFF2-40B4-BE49-F238E27FC236}">
                    <a16:creationId xmlns:a16="http://schemas.microsoft.com/office/drawing/2014/main" id="{8B810B46-8F6B-60B2-2200-CE1640E3A76A}"/>
                  </a:ext>
                </a:extLst>
              </p:cNvPr>
              <p:cNvSpPr/>
              <p:nvPr/>
            </p:nvSpPr>
            <p:spPr>
              <a:xfrm>
                <a:off x="1360724" y="1689100"/>
                <a:ext cx="776322" cy="776322"/>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5</a:t>
                </a:r>
                <a:endParaRPr lang="en-US" sz="1100" b="1">
                  <a:solidFill>
                    <a:schemeClr val="bg1"/>
                  </a:solidFill>
                </a:endParaRPr>
              </a:p>
            </p:txBody>
          </p:sp>
        </p:grpSp>
        <p:grpSp>
          <p:nvGrpSpPr>
            <p:cNvPr id="31" name="Group 30">
              <a:extLst>
                <a:ext uri="{FF2B5EF4-FFF2-40B4-BE49-F238E27FC236}">
                  <a16:creationId xmlns:a16="http://schemas.microsoft.com/office/drawing/2014/main" id="{EE476A70-0729-238A-11A8-7B5C671F1B16}"/>
                </a:ext>
              </a:extLst>
            </p:cNvPr>
            <p:cNvGrpSpPr/>
            <p:nvPr/>
          </p:nvGrpSpPr>
          <p:grpSpPr>
            <a:xfrm>
              <a:off x="814558" y="3934071"/>
              <a:ext cx="1894161" cy="2254883"/>
              <a:chOff x="729767" y="1689100"/>
              <a:chExt cx="2038236" cy="2426396"/>
            </a:xfrm>
          </p:grpSpPr>
          <p:sp>
            <p:nvSpPr>
              <p:cNvPr id="63" name="Rectangle 62">
                <a:extLst>
                  <a:ext uri="{FF2B5EF4-FFF2-40B4-BE49-F238E27FC236}">
                    <a16:creationId xmlns:a16="http://schemas.microsoft.com/office/drawing/2014/main" id="{7C03E043-8B21-AF1C-E960-0EA7291D21F7}"/>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66" name="Diamond 65">
                <a:extLst>
                  <a:ext uri="{FF2B5EF4-FFF2-40B4-BE49-F238E27FC236}">
                    <a16:creationId xmlns:a16="http://schemas.microsoft.com/office/drawing/2014/main" id="{9DAB466B-F1D5-3B69-B44C-E941351CD05A}"/>
                  </a:ext>
                </a:extLst>
              </p:cNvPr>
              <p:cNvSpPr/>
              <p:nvPr/>
            </p:nvSpPr>
            <p:spPr>
              <a:xfrm>
                <a:off x="1360724" y="1689100"/>
                <a:ext cx="776322" cy="776322"/>
              </a:xfrm>
              <a:prstGeom prst="diamon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6</a:t>
                </a:r>
                <a:endParaRPr lang="en-US" sz="1100" b="1">
                  <a:solidFill>
                    <a:schemeClr val="bg1"/>
                  </a:solidFill>
                </a:endParaRPr>
              </a:p>
            </p:txBody>
          </p:sp>
        </p:grpSp>
        <p:grpSp>
          <p:nvGrpSpPr>
            <p:cNvPr id="32" name="Group 31">
              <a:extLst>
                <a:ext uri="{FF2B5EF4-FFF2-40B4-BE49-F238E27FC236}">
                  <a16:creationId xmlns:a16="http://schemas.microsoft.com/office/drawing/2014/main" id="{33B1DCDD-0DFA-E98D-F5D5-7185785BD1FC}"/>
                </a:ext>
              </a:extLst>
            </p:cNvPr>
            <p:cNvGrpSpPr/>
            <p:nvPr/>
          </p:nvGrpSpPr>
          <p:grpSpPr>
            <a:xfrm>
              <a:off x="2996356" y="3934071"/>
              <a:ext cx="1894161" cy="2254883"/>
              <a:chOff x="729767" y="1689100"/>
              <a:chExt cx="2038236" cy="2426396"/>
            </a:xfrm>
          </p:grpSpPr>
          <p:sp>
            <p:nvSpPr>
              <p:cNvPr id="57" name="Rectangle 56">
                <a:extLst>
                  <a:ext uri="{FF2B5EF4-FFF2-40B4-BE49-F238E27FC236}">
                    <a16:creationId xmlns:a16="http://schemas.microsoft.com/office/drawing/2014/main" id="{3481179D-1B7E-982B-B269-B3022F31D0DC}"/>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60" name="Diamond 59">
                <a:extLst>
                  <a:ext uri="{FF2B5EF4-FFF2-40B4-BE49-F238E27FC236}">
                    <a16:creationId xmlns:a16="http://schemas.microsoft.com/office/drawing/2014/main" id="{9FEA4D33-0019-DBC0-1A02-00643E31DEE0}"/>
                  </a:ext>
                </a:extLst>
              </p:cNvPr>
              <p:cNvSpPr/>
              <p:nvPr/>
            </p:nvSpPr>
            <p:spPr>
              <a:xfrm>
                <a:off x="1360724" y="1689100"/>
                <a:ext cx="776322" cy="776322"/>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7</a:t>
                </a:r>
                <a:endParaRPr lang="en-US" sz="1100" b="1">
                  <a:solidFill>
                    <a:schemeClr val="bg1"/>
                  </a:solidFill>
                </a:endParaRPr>
              </a:p>
            </p:txBody>
          </p:sp>
        </p:grpSp>
        <p:grpSp>
          <p:nvGrpSpPr>
            <p:cNvPr id="33" name="Group 32">
              <a:extLst>
                <a:ext uri="{FF2B5EF4-FFF2-40B4-BE49-F238E27FC236}">
                  <a16:creationId xmlns:a16="http://schemas.microsoft.com/office/drawing/2014/main" id="{EBA695F8-857F-874E-8D9E-4CC3DF20B9B7}"/>
                </a:ext>
              </a:extLst>
            </p:cNvPr>
            <p:cNvGrpSpPr/>
            <p:nvPr/>
          </p:nvGrpSpPr>
          <p:grpSpPr>
            <a:xfrm>
              <a:off x="5178154" y="3934071"/>
              <a:ext cx="1894161" cy="2254883"/>
              <a:chOff x="729767" y="1689100"/>
              <a:chExt cx="2038236" cy="2426396"/>
            </a:xfrm>
          </p:grpSpPr>
          <p:sp>
            <p:nvSpPr>
              <p:cNvPr id="51" name="Rectangle 50">
                <a:extLst>
                  <a:ext uri="{FF2B5EF4-FFF2-40B4-BE49-F238E27FC236}">
                    <a16:creationId xmlns:a16="http://schemas.microsoft.com/office/drawing/2014/main" id="{DC729DD0-6B05-9F24-0B17-A847C657887D}"/>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54" name="Diamond 53">
                <a:extLst>
                  <a:ext uri="{FF2B5EF4-FFF2-40B4-BE49-F238E27FC236}">
                    <a16:creationId xmlns:a16="http://schemas.microsoft.com/office/drawing/2014/main" id="{80FECEEC-541C-A695-079D-72D528133FE1}"/>
                  </a:ext>
                </a:extLst>
              </p:cNvPr>
              <p:cNvSpPr/>
              <p:nvPr/>
            </p:nvSpPr>
            <p:spPr>
              <a:xfrm>
                <a:off x="1360724" y="1689100"/>
                <a:ext cx="776322" cy="776322"/>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8</a:t>
                </a:r>
                <a:endParaRPr lang="en-US" sz="1100" b="1">
                  <a:solidFill>
                    <a:schemeClr val="bg1"/>
                  </a:solidFill>
                </a:endParaRPr>
              </a:p>
            </p:txBody>
          </p:sp>
        </p:grpSp>
        <p:grpSp>
          <p:nvGrpSpPr>
            <p:cNvPr id="34" name="Group 33">
              <a:extLst>
                <a:ext uri="{FF2B5EF4-FFF2-40B4-BE49-F238E27FC236}">
                  <a16:creationId xmlns:a16="http://schemas.microsoft.com/office/drawing/2014/main" id="{79FD35D6-B3B3-C14C-0492-515737A0A51E}"/>
                </a:ext>
              </a:extLst>
            </p:cNvPr>
            <p:cNvGrpSpPr/>
            <p:nvPr/>
          </p:nvGrpSpPr>
          <p:grpSpPr>
            <a:xfrm>
              <a:off x="7359952" y="3934071"/>
              <a:ext cx="1894161" cy="2254883"/>
              <a:chOff x="729767" y="1689100"/>
              <a:chExt cx="2038236" cy="2426396"/>
            </a:xfrm>
          </p:grpSpPr>
          <p:sp>
            <p:nvSpPr>
              <p:cNvPr id="40" name="Rectangle 39">
                <a:extLst>
                  <a:ext uri="{FF2B5EF4-FFF2-40B4-BE49-F238E27FC236}">
                    <a16:creationId xmlns:a16="http://schemas.microsoft.com/office/drawing/2014/main" id="{2DB62F3D-203E-CB14-7664-A88C0DC6EF84}"/>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41" name="Diamond 40">
                <a:extLst>
                  <a:ext uri="{FF2B5EF4-FFF2-40B4-BE49-F238E27FC236}">
                    <a16:creationId xmlns:a16="http://schemas.microsoft.com/office/drawing/2014/main" id="{078F3317-15AF-6F40-070C-5A5B3961922D}"/>
                  </a:ext>
                </a:extLst>
              </p:cNvPr>
              <p:cNvSpPr/>
              <p:nvPr/>
            </p:nvSpPr>
            <p:spPr>
              <a:xfrm>
                <a:off x="1360724" y="1689100"/>
                <a:ext cx="776322" cy="776322"/>
              </a:xfrm>
              <a:prstGeom prst="diamon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09</a:t>
                </a:r>
                <a:endParaRPr lang="en-US" sz="1100" b="1">
                  <a:solidFill>
                    <a:schemeClr val="bg1"/>
                  </a:solidFill>
                </a:endParaRPr>
              </a:p>
            </p:txBody>
          </p:sp>
        </p:grpSp>
        <p:grpSp>
          <p:nvGrpSpPr>
            <p:cNvPr id="35" name="Group 34">
              <a:extLst>
                <a:ext uri="{FF2B5EF4-FFF2-40B4-BE49-F238E27FC236}">
                  <a16:creationId xmlns:a16="http://schemas.microsoft.com/office/drawing/2014/main" id="{926A5EB7-8F87-53B2-8447-C06ED7B52FD8}"/>
                </a:ext>
              </a:extLst>
            </p:cNvPr>
            <p:cNvGrpSpPr/>
            <p:nvPr/>
          </p:nvGrpSpPr>
          <p:grpSpPr>
            <a:xfrm>
              <a:off x="9541750" y="3934071"/>
              <a:ext cx="1894161" cy="2254883"/>
              <a:chOff x="729767" y="1689100"/>
              <a:chExt cx="2038236" cy="2426396"/>
            </a:xfrm>
          </p:grpSpPr>
          <p:sp>
            <p:nvSpPr>
              <p:cNvPr id="37" name="Rectangle 36">
                <a:extLst>
                  <a:ext uri="{FF2B5EF4-FFF2-40B4-BE49-F238E27FC236}">
                    <a16:creationId xmlns:a16="http://schemas.microsoft.com/office/drawing/2014/main" id="{BF69D327-441D-B557-19AC-BECCC8F746B9}"/>
                  </a:ext>
                </a:extLst>
              </p:cNvPr>
              <p:cNvSpPr/>
              <p:nvPr/>
            </p:nvSpPr>
            <p:spPr>
              <a:xfrm>
                <a:off x="729767" y="2077260"/>
                <a:ext cx="2038236" cy="203823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108000" rtlCol="0" anchor="ctr">
                <a:normAutofit/>
              </a:bodyPr>
              <a:lstStyle/>
              <a:p>
                <a:pPr algn="ctr">
                  <a:spcBef>
                    <a:spcPts val="600"/>
                  </a:spcBef>
                </a:pPr>
                <a:endParaRPr lang="en-GB" sz="1200">
                  <a:solidFill>
                    <a:schemeClr val="bg2"/>
                  </a:solidFill>
                </a:endParaRPr>
              </a:p>
            </p:txBody>
          </p:sp>
          <p:sp>
            <p:nvSpPr>
              <p:cNvPr id="38" name="Diamond 37">
                <a:extLst>
                  <a:ext uri="{FF2B5EF4-FFF2-40B4-BE49-F238E27FC236}">
                    <a16:creationId xmlns:a16="http://schemas.microsoft.com/office/drawing/2014/main" id="{5259861C-2413-40FF-B3C0-976F24383FDD}"/>
                  </a:ext>
                </a:extLst>
              </p:cNvPr>
              <p:cNvSpPr/>
              <p:nvPr/>
            </p:nvSpPr>
            <p:spPr>
              <a:xfrm>
                <a:off x="1360724" y="1689100"/>
                <a:ext cx="776322" cy="776322"/>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spcBef>
                    <a:spcPts val="600"/>
                  </a:spcBef>
                </a:pPr>
                <a:r>
                  <a:rPr lang="en-US" sz="1600" b="1">
                    <a:solidFill>
                      <a:schemeClr val="bg1"/>
                    </a:solidFill>
                  </a:rPr>
                  <a:t>10</a:t>
                </a:r>
                <a:endParaRPr lang="en-US" sz="1100" b="1">
                  <a:solidFill>
                    <a:schemeClr val="bg1"/>
                  </a:solidFill>
                </a:endParaRPr>
              </a:p>
            </p:txBody>
          </p:sp>
        </p:grpSp>
      </p:grpSp>
      <p:sp>
        <p:nvSpPr>
          <p:cNvPr id="81" name="Text Placeholder 49">
            <a:extLst>
              <a:ext uri="{FF2B5EF4-FFF2-40B4-BE49-F238E27FC236}">
                <a16:creationId xmlns:a16="http://schemas.microsoft.com/office/drawing/2014/main" id="{C5420EF2-F5E9-87C2-4B7C-942AD829A9FE}"/>
              </a:ext>
            </a:extLst>
          </p:cNvPr>
          <p:cNvSpPr>
            <a:spLocks noGrp="1"/>
          </p:cNvSpPr>
          <p:nvPr>
            <p:ph type="body" sz="quarter" idx="38" hasCustomPrompt="1"/>
          </p:nvPr>
        </p:nvSpPr>
        <p:spPr>
          <a:xfrm>
            <a:off x="971129" y="2821313"/>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82" name="Text Placeholder 49">
            <a:extLst>
              <a:ext uri="{FF2B5EF4-FFF2-40B4-BE49-F238E27FC236}">
                <a16:creationId xmlns:a16="http://schemas.microsoft.com/office/drawing/2014/main" id="{D95FD663-79AC-842D-112F-4E307173EE74}"/>
              </a:ext>
            </a:extLst>
          </p:cNvPr>
          <p:cNvSpPr>
            <a:spLocks noGrp="1"/>
          </p:cNvSpPr>
          <p:nvPr>
            <p:ph type="body" sz="quarter" idx="39" hasCustomPrompt="1"/>
          </p:nvPr>
        </p:nvSpPr>
        <p:spPr>
          <a:xfrm>
            <a:off x="971129" y="2532464"/>
            <a:ext cx="1609569" cy="288849"/>
          </a:xfrm>
        </p:spPr>
        <p:txBody>
          <a:bodyPr>
            <a:normAutofit/>
          </a:bodyPr>
          <a:lstStyle>
            <a:lvl1pPr algn="ctr">
              <a:defRPr sz="1200" b="1">
                <a:solidFill>
                  <a:schemeClr val="bg2"/>
                </a:solidFill>
              </a:defRPr>
            </a:lvl1pPr>
          </a:lstStyle>
          <a:p>
            <a:pPr lvl="0"/>
            <a:r>
              <a:rPr lang="en-US"/>
              <a:t>Lorem ipsum dolor</a:t>
            </a:r>
          </a:p>
        </p:txBody>
      </p:sp>
      <p:sp>
        <p:nvSpPr>
          <p:cNvPr id="83" name="Text Placeholder 49">
            <a:extLst>
              <a:ext uri="{FF2B5EF4-FFF2-40B4-BE49-F238E27FC236}">
                <a16:creationId xmlns:a16="http://schemas.microsoft.com/office/drawing/2014/main" id="{D37E55B9-F8DE-2061-BBF5-29E1D0F4B1B3}"/>
              </a:ext>
            </a:extLst>
          </p:cNvPr>
          <p:cNvSpPr>
            <a:spLocks noGrp="1"/>
          </p:cNvSpPr>
          <p:nvPr>
            <p:ph type="body" sz="quarter" idx="49" hasCustomPrompt="1"/>
          </p:nvPr>
        </p:nvSpPr>
        <p:spPr>
          <a:xfrm>
            <a:off x="3124200" y="2821313"/>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84" name="Text Placeholder 49">
            <a:extLst>
              <a:ext uri="{FF2B5EF4-FFF2-40B4-BE49-F238E27FC236}">
                <a16:creationId xmlns:a16="http://schemas.microsoft.com/office/drawing/2014/main" id="{143EEFCC-5038-24C1-5C04-DA409861F2E5}"/>
              </a:ext>
            </a:extLst>
          </p:cNvPr>
          <p:cNvSpPr>
            <a:spLocks noGrp="1"/>
          </p:cNvSpPr>
          <p:nvPr>
            <p:ph type="body" sz="quarter" idx="50" hasCustomPrompt="1"/>
          </p:nvPr>
        </p:nvSpPr>
        <p:spPr>
          <a:xfrm>
            <a:off x="3124200" y="2532464"/>
            <a:ext cx="1609569" cy="288849"/>
          </a:xfrm>
        </p:spPr>
        <p:txBody>
          <a:bodyPr>
            <a:normAutofit/>
          </a:bodyPr>
          <a:lstStyle>
            <a:lvl1pPr algn="ctr">
              <a:defRPr sz="1200" b="1">
                <a:solidFill>
                  <a:schemeClr val="bg2"/>
                </a:solidFill>
              </a:defRPr>
            </a:lvl1pPr>
          </a:lstStyle>
          <a:p>
            <a:pPr lvl="0"/>
            <a:r>
              <a:rPr lang="en-US"/>
              <a:t>Lorem ipsum dolor</a:t>
            </a:r>
          </a:p>
        </p:txBody>
      </p:sp>
      <p:sp>
        <p:nvSpPr>
          <p:cNvPr id="85" name="Text Placeholder 49">
            <a:extLst>
              <a:ext uri="{FF2B5EF4-FFF2-40B4-BE49-F238E27FC236}">
                <a16:creationId xmlns:a16="http://schemas.microsoft.com/office/drawing/2014/main" id="{79D822D2-91EF-6798-11FA-5B59027AD19C}"/>
              </a:ext>
            </a:extLst>
          </p:cNvPr>
          <p:cNvSpPr>
            <a:spLocks noGrp="1"/>
          </p:cNvSpPr>
          <p:nvPr>
            <p:ph type="body" sz="quarter" idx="51" hasCustomPrompt="1"/>
          </p:nvPr>
        </p:nvSpPr>
        <p:spPr>
          <a:xfrm>
            <a:off x="5291215" y="2821313"/>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86" name="Text Placeholder 49">
            <a:extLst>
              <a:ext uri="{FF2B5EF4-FFF2-40B4-BE49-F238E27FC236}">
                <a16:creationId xmlns:a16="http://schemas.microsoft.com/office/drawing/2014/main" id="{D9C370C4-1D94-CFAE-7EE0-C84B1E32055C}"/>
              </a:ext>
            </a:extLst>
          </p:cNvPr>
          <p:cNvSpPr>
            <a:spLocks noGrp="1"/>
          </p:cNvSpPr>
          <p:nvPr>
            <p:ph type="body" sz="quarter" idx="52" hasCustomPrompt="1"/>
          </p:nvPr>
        </p:nvSpPr>
        <p:spPr>
          <a:xfrm>
            <a:off x="5291215" y="2532464"/>
            <a:ext cx="1609569" cy="288849"/>
          </a:xfrm>
        </p:spPr>
        <p:txBody>
          <a:bodyPr>
            <a:normAutofit/>
          </a:bodyPr>
          <a:lstStyle>
            <a:lvl1pPr algn="ctr">
              <a:defRPr sz="1200" b="1">
                <a:solidFill>
                  <a:schemeClr val="bg2"/>
                </a:solidFill>
              </a:defRPr>
            </a:lvl1pPr>
          </a:lstStyle>
          <a:p>
            <a:pPr lvl="0"/>
            <a:r>
              <a:rPr lang="en-US"/>
              <a:t>Lorem ipsum dolor</a:t>
            </a:r>
          </a:p>
        </p:txBody>
      </p:sp>
      <p:sp>
        <p:nvSpPr>
          <p:cNvPr id="87" name="Text Placeholder 49">
            <a:extLst>
              <a:ext uri="{FF2B5EF4-FFF2-40B4-BE49-F238E27FC236}">
                <a16:creationId xmlns:a16="http://schemas.microsoft.com/office/drawing/2014/main" id="{C83370C8-3BB8-ABD1-35E1-76A799C9000B}"/>
              </a:ext>
            </a:extLst>
          </p:cNvPr>
          <p:cNvSpPr>
            <a:spLocks noGrp="1"/>
          </p:cNvSpPr>
          <p:nvPr>
            <p:ph type="body" sz="quarter" idx="53" hasCustomPrompt="1"/>
          </p:nvPr>
        </p:nvSpPr>
        <p:spPr>
          <a:xfrm>
            <a:off x="7467600" y="2821313"/>
            <a:ext cx="1728044"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89" name="Text Placeholder 49">
            <a:extLst>
              <a:ext uri="{FF2B5EF4-FFF2-40B4-BE49-F238E27FC236}">
                <a16:creationId xmlns:a16="http://schemas.microsoft.com/office/drawing/2014/main" id="{781BCA92-7E19-5AED-FDA6-D17882D42562}"/>
              </a:ext>
            </a:extLst>
          </p:cNvPr>
          <p:cNvSpPr>
            <a:spLocks noGrp="1"/>
          </p:cNvSpPr>
          <p:nvPr>
            <p:ph type="body" sz="quarter" idx="54" hasCustomPrompt="1"/>
          </p:nvPr>
        </p:nvSpPr>
        <p:spPr>
          <a:xfrm>
            <a:off x="7467600" y="2532464"/>
            <a:ext cx="1717266" cy="288849"/>
          </a:xfrm>
        </p:spPr>
        <p:txBody>
          <a:bodyPr>
            <a:normAutofit/>
          </a:bodyPr>
          <a:lstStyle>
            <a:lvl1pPr algn="ctr">
              <a:defRPr sz="1200" b="1">
                <a:solidFill>
                  <a:schemeClr val="bg2"/>
                </a:solidFill>
              </a:defRPr>
            </a:lvl1pPr>
          </a:lstStyle>
          <a:p>
            <a:pPr lvl="0"/>
            <a:r>
              <a:rPr lang="en-US"/>
              <a:t>Lorem ipsum dolor</a:t>
            </a:r>
          </a:p>
        </p:txBody>
      </p:sp>
      <p:sp>
        <p:nvSpPr>
          <p:cNvPr id="90" name="Text Placeholder 49">
            <a:extLst>
              <a:ext uri="{FF2B5EF4-FFF2-40B4-BE49-F238E27FC236}">
                <a16:creationId xmlns:a16="http://schemas.microsoft.com/office/drawing/2014/main" id="{4FC811AA-8DE9-3ED9-7548-D8B7ECFA355D}"/>
              </a:ext>
            </a:extLst>
          </p:cNvPr>
          <p:cNvSpPr>
            <a:spLocks noGrp="1"/>
          </p:cNvSpPr>
          <p:nvPr>
            <p:ph type="body" sz="quarter" idx="55" hasCustomPrompt="1"/>
          </p:nvPr>
        </p:nvSpPr>
        <p:spPr>
          <a:xfrm>
            <a:off x="9657929" y="2826303"/>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91" name="Text Placeholder 49">
            <a:extLst>
              <a:ext uri="{FF2B5EF4-FFF2-40B4-BE49-F238E27FC236}">
                <a16:creationId xmlns:a16="http://schemas.microsoft.com/office/drawing/2014/main" id="{FA9C83E5-7537-A8D9-2589-5099B844A1E8}"/>
              </a:ext>
            </a:extLst>
          </p:cNvPr>
          <p:cNvSpPr>
            <a:spLocks noGrp="1"/>
          </p:cNvSpPr>
          <p:nvPr>
            <p:ph type="body" sz="quarter" idx="56" hasCustomPrompt="1"/>
          </p:nvPr>
        </p:nvSpPr>
        <p:spPr>
          <a:xfrm>
            <a:off x="9657929" y="2537454"/>
            <a:ext cx="1609569" cy="288849"/>
          </a:xfrm>
        </p:spPr>
        <p:txBody>
          <a:bodyPr>
            <a:normAutofit/>
          </a:bodyPr>
          <a:lstStyle>
            <a:lvl1pPr algn="ctr">
              <a:defRPr sz="1200" b="1">
                <a:solidFill>
                  <a:schemeClr val="bg2"/>
                </a:solidFill>
              </a:defRPr>
            </a:lvl1pPr>
          </a:lstStyle>
          <a:p>
            <a:pPr lvl="0"/>
            <a:r>
              <a:rPr lang="en-US"/>
              <a:t>Lorem ipsum dolor</a:t>
            </a:r>
          </a:p>
        </p:txBody>
      </p:sp>
      <p:sp>
        <p:nvSpPr>
          <p:cNvPr id="92" name="Text Placeholder 49">
            <a:extLst>
              <a:ext uri="{FF2B5EF4-FFF2-40B4-BE49-F238E27FC236}">
                <a16:creationId xmlns:a16="http://schemas.microsoft.com/office/drawing/2014/main" id="{80E97775-A546-C91C-D00F-F102E7151BB6}"/>
              </a:ext>
            </a:extLst>
          </p:cNvPr>
          <p:cNvSpPr>
            <a:spLocks noGrp="1"/>
          </p:cNvSpPr>
          <p:nvPr>
            <p:ph type="body" sz="quarter" idx="57" hasCustomPrompt="1"/>
          </p:nvPr>
        </p:nvSpPr>
        <p:spPr>
          <a:xfrm>
            <a:off x="971129" y="5083176"/>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93" name="Text Placeholder 49">
            <a:extLst>
              <a:ext uri="{FF2B5EF4-FFF2-40B4-BE49-F238E27FC236}">
                <a16:creationId xmlns:a16="http://schemas.microsoft.com/office/drawing/2014/main" id="{4B55C981-EB9F-D349-6F63-42D8D7ADCF2F}"/>
              </a:ext>
            </a:extLst>
          </p:cNvPr>
          <p:cNvSpPr>
            <a:spLocks noGrp="1"/>
          </p:cNvSpPr>
          <p:nvPr>
            <p:ph type="body" sz="quarter" idx="58" hasCustomPrompt="1"/>
          </p:nvPr>
        </p:nvSpPr>
        <p:spPr>
          <a:xfrm>
            <a:off x="971129" y="4794327"/>
            <a:ext cx="1609569" cy="288849"/>
          </a:xfrm>
        </p:spPr>
        <p:txBody>
          <a:bodyPr>
            <a:normAutofit/>
          </a:bodyPr>
          <a:lstStyle>
            <a:lvl1pPr algn="ctr">
              <a:defRPr sz="1200" b="1">
                <a:solidFill>
                  <a:schemeClr val="bg2"/>
                </a:solidFill>
              </a:defRPr>
            </a:lvl1pPr>
          </a:lstStyle>
          <a:p>
            <a:pPr lvl="0"/>
            <a:r>
              <a:rPr lang="en-US"/>
              <a:t>Lorem ipsum dolor</a:t>
            </a:r>
          </a:p>
        </p:txBody>
      </p:sp>
      <p:sp>
        <p:nvSpPr>
          <p:cNvPr id="94" name="Text Placeholder 49">
            <a:extLst>
              <a:ext uri="{FF2B5EF4-FFF2-40B4-BE49-F238E27FC236}">
                <a16:creationId xmlns:a16="http://schemas.microsoft.com/office/drawing/2014/main" id="{FEA895E3-4816-EF66-4CD3-47775F1327AD}"/>
              </a:ext>
            </a:extLst>
          </p:cNvPr>
          <p:cNvSpPr>
            <a:spLocks noGrp="1"/>
          </p:cNvSpPr>
          <p:nvPr>
            <p:ph type="body" sz="quarter" idx="59" hasCustomPrompt="1"/>
          </p:nvPr>
        </p:nvSpPr>
        <p:spPr>
          <a:xfrm>
            <a:off x="3124200" y="5083176"/>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95" name="Text Placeholder 49">
            <a:extLst>
              <a:ext uri="{FF2B5EF4-FFF2-40B4-BE49-F238E27FC236}">
                <a16:creationId xmlns:a16="http://schemas.microsoft.com/office/drawing/2014/main" id="{946F3A64-7928-DAB5-E43E-AFF7142F64D8}"/>
              </a:ext>
            </a:extLst>
          </p:cNvPr>
          <p:cNvSpPr>
            <a:spLocks noGrp="1"/>
          </p:cNvSpPr>
          <p:nvPr>
            <p:ph type="body" sz="quarter" idx="60" hasCustomPrompt="1"/>
          </p:nvPr>
        </p:nvSpPr>
        <p:spPr>
          <a:xfrm>
            <a:off x="3124200" y="4794327"/>
            <a:ext cx="1609569" cy="288849"/>
          </a:xfrm>
        </p:spPr>
        <p:txBody>
          <a:bodyPr>
            <a:normAutofit/>
          </a:bodyPr>
          <a:lstStyle>
            <a:lvl1pPr algn="ctr">
              <a:defRPr sz="1200" b="1">
                <a:solidFill>
                  <a:schemeClr val="bg2"/>
                </a:solidFill>
              </a:defRPr>
            </a:lvl1pPr>
          </a:lstStyle>
          <a:p>
            <a:pPr lvl="0"/>
            <a:r>
              <a:rPr lang="en-US"/>
              <a:t>Lorem ipsum dolor</a:t>
            </a:r>
          </a:p>
        </p:txBody>
      </p:sp>
      <p:sp>
        <p:nvSpPr>
          <p:cNvPr id="96" name="Text Placeholder 49">
            <a:extLst>
              <a:ext uri="{FF2B5EF4-FFF2-40B4-BE49-F238E27FC236}">
                <a16:creationId xmlns:a16="http://schemas.microsoft.com/office/drawing/2014/main" id="{E75FEA9F-9CB0-EDBC-7E30-93C6379D9713}"/>
              </a:ext>
            </a:extLst>
          </p:cNvPr>
          <p:cNvSpPr>
            <a:spLocks noGrp="1"/>
          </p:cNvSpPr>
          <p:nvPr>
            <p:ph type="body" sz="quarter" idx="61" hasCustomPrompt="1"/>
          </p:nvPr>
        </p:nvSpPr>
        <p:spPr>
          <a:xfrm>
            <a:off x="5291215" y="5083176"/>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97" name="Text Placeholder 49">
            <a:extLst>
              <a:ext uri="{FF2B5EF4-FFF2-40B4-BE49-F238E27FC236}">
                <a16:creationId xmlns:a16="http://schemas.microsoft.com/office/drawing/2014/main" id="{3DC9D6E2-89AF-DD1C-AE11-80DC1E935A2A}"/>
              </a:ext>
            </a:extLst>
          </p:cNvPr>
          <p:cNvSpPr>
            <a:spLocks noGrp="1"/>
          </p:cNvSpPr>
          <p:nvPr>
            <p:ph type="body" sz="quarter" idx="62" hasCustomPrompt="1"/>
          </p:nvPr>
        </p:nvSpPr>
        <p:spPr>
          <a:xfrm>
            <a:off x="5291215" y="4794327"/>
            <a:ext cx="1609569" cy="288849"/>
          </a:xfrm>
        </p:spPr>
        <p:txBody>
          <a:bodyPr>
            <a:normAutofit/>
          </a:bodyPr>
          <a:lstStyle>
            <a:lvl1pPr algn="ctr">
              <a:defRPr sz="1200" b="1">
                <a:solidFill>
                  <a:schemeClr val="bg2"/>
                </a:solidFill>
              </a:defRPr>
            </a:lvl1pPr>
          </a:lstStyle>
          <a:p>
            <a:pPr lvl="0"/>
            <a:r>
              <a:rPr lang="en-US"/>
              <a:t>Lorem ipsum dolor</a:t>
            </a:r>
          </a:p>
        </p:txBody>
      </p:sp>
      <p:sp>
        <p:nvSpPr>
          <p:cNvPr id="98" name="Text Placeholder 49">
            <a:extLst>
              <a:ext uri="{FF2B5EF4-FFF2-40B4-BE49-F238E27FC236}">
                <a16:creationId xmlns:a16="http://schemas.microsoft.com/office/drawing/2014/main" id="{5C54C9DF-3E2B-781A-F728-B2CE7CE9C884}"/>
              </a:ext>
            </a:extLst>
          </p:cNvPr>
          <p:cNvSpPr>
            <a:spLocks noGrp="1"/>
          </p:cNvSpPr>
          <p:nvPr>
            <p:ph type="body" sz="quarter" idx="63" hasCustomPrompt="1"/>
          </p:nvPr>
        </p:nvSpPr>
        <p:spPr>
          <a:xfrm>
            <a:off x="7467600" y="5083176"/>
            <a:ext cx="1728044"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99" name="Text Placeholder 49">
            <a:extLst>
              <a:ext uri="{FF2B5EF4-FFF2-40B4-BE49-F238E27FC236}">
                <a16:creationId xmlns:a16="http://schemas.microsoft.com/office/drawing/2014/main" id="{088DFFBB-B45B-79DC-3D5E-5A4958852134}"/>
              </a:ext>
            </a:extLst>
          </p:cNvPr>
          <p:cNvSpPr>
            <a:spLocks noGrp="1"/>
          </p:cNvSpPr>
          <p:nvPr>
            <p:ph type="body" sz="quarter" idx="64" hasCustomPrompt="1"/>
          </p:nvPr>
        </p:nvSpPr>
        <p:spPr>
          <a:xfrm>
            <a:off x="7467600" y="4794327"/>
            <a:ext cx="1717266" cy="288849"/>
          </a:xfrm>
        </p:spPr>
        <p:txBody>
          <a:bodyPr>
            <a:normAutofit/>
          </a:bodyPr>
          <a:lstStyle>
            <a:lvl1pPr algn="ctr">
              <a:defRPr sz="1200" b="1">
                <a:solidFill>
                  <a:schemeClr val="bg2"/>
                </a:solidFill>
              </a:defRPr>
            </a:lvl1pPr>
          </a:lstStyle>
          <a:p>
            <a:pPr lvl="0"/>
            <a:r>
              <a:rPr lang="en-US"/>
              <a:t>Lorem ipsum dolor</a:t>
            </a:r>
          </a:p>
        </p:txBody>
      </p:sp>
      <p:sp>
        <p:nvSpPr>
          <p:cNvPr id="100" name="Text Placeholder 49">
            <a:extLst>
              <a:ext uri="{FF2B5EF4-FFF2-40B4-BE49-F238E27FC236}">
                <a16:creationId xmlns:a16="http://schemas.microsoft.com/office/drawing/2014/main" id="{509A00C6-CE9A-383F-890C-2951A89CA7AA}"/>
              </a:ext>
            </a:extLst>
          </p:cNvPr>
          <p:cNvSpPr>
            <a:spLocks noGrp="1"/>
          </p:cNvSpPr>
          <p:nvPr>
            <p:ph type="body" sz="quarter" idx="65" hasCustomPrompt="1"/>
          </p:nvPr>
        </p:nvSpPr>
        <p:spPr>
          <a:xfrm>
            <a:off x="9657929" y="5088166"/>
            <a:ext cx="1619671" cy="1064887"/>
          </a:xfrm>
        </p:spPr>
        <p:txBody>
          <a:bodyPr>
            <a:normAutofit/>
          </a:bodyPr>
          <a:lstStyle>
            <a:lvl1pPr algn="ctr">
              <a:defRPr sz="11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a:t>
            </a:r>
          </a:p>
        </p:txBody>
      </p:sp>
      <p:sp>
        <p:nvSpPr>
          <p:cNvPr id="101" name="Text Placeholder 49">
            <a:extLst>
              <a:ext uri="{FF2B5EF4-FFF2-40B4-BE49-F238E27FC236}">
                <a16:creationId xmlns:a16="http://schemas.microsoft.com/office/drawing/2014/main" id="{417DC428-C4EC-FA71-DA24-75B398646E38}"/>
              </a:ext>
            </a:extLst>
          </p:cNvPr>
          <p:cNvSpPr>
            <a:spLocks noGrp="1"/>
          </p:cNvSpPr>
          <p:nvPr>
            <p:ph type="body" sz="quarter" idx="66" hasCustomPrompt="1"/>
          </p:nvPr>
        </p:nvSpPr>
        <p:spPr>
          <a:xfrm>
            <a:off x="9657929" y="4799317"/>
            <a:ext cx="1609569" cy="288849"/>
          </a:xfrm>
        </p:spPr>
        <p:txBody>
          <a:bodyPr>
            <a:normAutofit/>
          </a:bodyPr>
          <a:lstStyle>
            <a:lvl1pPr algn="ctr">
              <a:defRPr sz="1200" b="1">
                <a:solidFill>
                  <a:schemeClr val="bg2"/>
                </a:solidFill>
              </a:defRPr>
            </a:lvl1pPr>
          </a:lstStyle>
          <a:p>
            <a:pPr lvl="0"/>
            <a:r>
              <a:rPr lang="en-US"/>
              <a:t>Lorem ipsum dolor</a:t>
            </a:r>
          </a:p>
        </p:txBody>
      </p:sp>
    </p:spTree>
    <p:extLst>
      <p:ext uri="{BB962C8B-B14F-4D97-AF65-F5344CB8AC3E}">
        <p14:creationId xmlns:p14="http://schemas.microsoft.com/office/powerpoint/2010/main" val="150701183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elve point list - outlin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welve points - list</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CF9646C0-3602-46E1-2765-83AFA453D325}"/>
              </a:ext>
            </a:extLst>
          </p:cNvPr>
          <p:cNvGrpSpPr/>
          <p:nvPr userDrawn="1"/>
        </p:nvGrpSpPr>
        <p:grpSpPr>
          <a:xfrm>
            <a:off x="814558" y="1915811"/>
            <a:ext cx="10625042" cy="4055703"/>
            <a:chOff x="814558" y="1915811"/>
            <a:chExt cx="10625042" cy="4055703"/>
          </a:xfrm>
        </p:grpSpPr>
        <p:grpSp>
          <p:nvGrpSpPr>
            <p:cNvPr id="9" name="Group 8">
              <a:extLst>
                <a:ext uri="{FF2B5EF4-FFF2-40B4-BE49-F238E27FC236}">
                  <a16:creationId xmlns:a16="http://schemas.microsoft.com/office/drawing/2014/main" id="{BE6E5C0A-5F32-D0E0-C9BB-755E787D07C6}"/>
                </a:ext>
              </a:extLst>
            </p:cNvPr>
            <p:cNvGrpSpPr/>
            <p:nvPr/>
          </p:nvGrpSpPr>
          <p:grpSpPr>
            <a:xfrm>
              <a:off x="814558" y="1915811"/>
              <a:ext cx="3495848" cy="4055703"/>
              <a:chOff x="4348076" y="1802462"/>
              <a:chExt cx="3495848" cy="4055703"/>
            </a:xfrm>
          </p:grpSpPr>
          <p:grpSp>
            <p:nvGrpSpPr>
              <p:cNvPr id="113" name="Graphic 4">
                <a:extLst>
                  <a:ext uri="{FF2B5EF4-FFF2-40B4-BE49-F238E27FC236}">
                    <a16:creationId xmlns:a16="http://schemas.microsoft.com/office/drawing/2014/main" id="{9B64837F-7403-52DD-6FD3-EEBE8D358B5B}"/>
                  </a:ext>
                </a:extLst>
              </p:cNvPr>
              <p:cNvGrpSpPr/>
              <p:nvPr/>
            </p:nvGrpSpPr>
            <p:grpSpPr>
              <a:xfrm>
                <a:off x="4348076" y="1802462"/>
                <a:ext cx="3495848" cy="921671"/>
                <a:chOff x="4348075" y="2969962"/>
                <a:chExt cx="3495848" cy="921671"/>
              </a:xfrm>
              <a:solidFill>
                <a:srgbClr val="FFA62B"/>
              </a:solidFill>
            </p:grpSpPr>
            <p:sp>
              <p:nvSpPr>
                <p:cNvPr id="115" name="Freeform 114">
                  <a:extLst>
                    <a:ext uri="{FF2B5EF4-FFF2-40B4-BE49-F238E27FC236}">
                      <a16:creationId xmlns:a16="http://schemas.microsoft.com/office/drawing/2014/main" id="{73C5A4B9-B62A-9AFF-F985-86AC585A1E91}"/>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solidFill>
                  <a:schemeClr val="tx1"/>
                </a:solidFill>
                <a:ln w="3909"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4409E76D-80C5-58FD-E4F8-49CBA887E798}"/>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bg2"/>
                </a:solidFill>
                <a:ln w="3909" cap="flat">
                  <a:noFill/>
                  <a:prstDash val="solid"/>
                  <a:miter/>
                </a:ln>
              </p:spPr>
              <p:txBody>
                <a:bodyPr rtlCol="0" anchor="ctr"/>
                <a:lstStyle/>
                <a:p>
                  <a:pPr algn="ctr"/>
                  <a:r>
                    <a:rPr lang="en-US" b="1">
                      <a:solidFill>
                        <a:schemeClr val="bg1"/>
                      </a:solidFill>
                    </a:rPr>
                    <a:t>01</a:t>
                  </a:r>
                </a:p>
              </p:txBody>
            </p:sp>
          </p:grpSp>
          <p:grpSp>
            <p:nvGrpSpPr>
              <p:cNvPr id="109" name="Graphic 4">
                <a:extLst>
                  <a:ext uri="{FF2B5EF4-FFF2-40B4-BE49-F238E27FC236}">
                    <a16:creationId xmlns:a16="http://schemas.microsoft.com/office/drawing/2014/main" id="{95FD6FD0-7601-3BC4-171B-AA9218EA0327}"/>
                  </a:ext>
                </a:extLst>
              </p:cNvPr>
              <p:cNvGrpSpPr/>
              <p:nvPr/>
            </p:nvGrpSpPr>
            <p:grpSpPr>
              <a:xfrm>
                <a:off x="4348076" y="2817336"/>
                <a:ext cx="3495848" cy="921671"/>
                <a:chOff x="4348075" y="2969962"/>
                <a:chExt cx="3495848" cy="921671"/>
              </a:xfrm>
              <a:solidFill>
                <a:srgbClr val="FFA62B"/>
              </a:solidFill>
            </p:grpSpPr>
            <p:sp>
              <p:nvSpPr>
                <p:cNvPr id="111" name="Freeform 110">
                  <a:extLst>
                    <a:ext uri="{FF2B5EF4-FFF2-40B4-BE49-F238E27FC236}">
                      <a16:creationId xmlns:a16="http://schemas.microsoft.com/office/drawing/2014/main" id="{3EC6290C-8F90-3B0E-9C49-81C5F428463D}"/>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solidFill>
                  <a:schemeClr val="tx1"/>
                </a:solidFill>
                <a:ln w="3909" cap="flat">
                  <a:no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A4EBC319-8533-29F4-0002-7DA27D1A4F04}"/>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tx2"/>
                </a:solidFill>
                <a:ln w="3909" cap="flat">
                  <a:noFill/>
                  <a:prstDash val="solid"/>
                  <a:miter/>
                </a:ln>
              </p:spPr>
              <p:txBody>
                <a:bodyPr rtlCol="0" anchor="ctr"/>
                <a:lstStyle/>
                <a:p>
                  <a:pPr algn="ctr"/>
                  <a:r>
                    <a:rPr lang="en-US" b="1">
                      <a:solidFill>
                        <a:schemeClr val="bg1"/>
                      </a:solidFill>
                    </a:rPr>
                    <a:t>02</a:t>
                  </a:r>
                </a:p>
              </p:txBody>
            </p:sp>
          </p:grpSp>
          <p:grpSp>
            <p:nvGrpSpPr>
              <p:cNvPr id="105" name="Graphic 4">
                <a:extLst>
                  <a:ext uri="{FF2B5EF4-FFF2-40B4-BE49-F238E27FC236}">
                    <a16:creationId xmlns:a16="http://schemas.microsoft.com/office/drawing/2014/main" id="{79F2FD3D-8EE7-045F-AB86-9C9DCD529730}"/>
                  </a:ext>
                </a:extLst>
              </p:cNvPr>
              <p:cNvGrpSpPr/>
              <p:nvPr/>
            </p:nvGrpSpPr>
            <p:grpSpPr>
              <a:xfrm>
                <a:off x="4348076" y="3865564"/>
                <a:ext cx="3495848" cy="921671"/>
                <a:chOff x="4348075" y="2969962"/>
                <a:chExt cx="3495848" cy="921671"/>
              </a:xfrm>
              <a:solidFill>
                <a:srgbClr val="FFA62B"/>
              </a:solidFill>
            </p:grpSpPr>
            <p:sp>
              <p:nvSpPr>
                <p:cNvPr id="107" name="Freeform 106">
                  <a:extLst>
                    <a:ext uri="{FF2B5EF4-FFF2-40B4-BE49-F238E27FC236}">
                      <a16:creationId xmlns:a16="http://schemas.microsoft.com/office/drawing/2014/main" id="{FFDC72DF-4BE9-4525-6E5D-B43708CB1670}"/>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solidFill>
                  <a:schemeClr val="tx1"/>
                </a:solidFill>
                <a:ln w="3909" cap="flat">
                  <a:noFill/>
                  <a:prstDash val="solid"/>
                  <a:miter/>
                </a:ln>
              </p:spPr>
              <p:txBody>
                <a:bodyPr rtlCol="0" anchor="ctr"/>
                <a:lstStyle/>
                <a:p>
                  <a:endParaRPr lang="en-US"/>
                </a:p>
              </p:txBody>
            </p:sp>
            <p:sp>
              <p:nvSpPr>
                <p:cNvPr id="108" name="Freeform 107">
                  <a:extLst>
                    <a:ext uri="{FF2B5EF4-FFF2-40B4-BE49-F238E27FC236}">
                      <a16:creationId xmlns:a16="http://schemas.microsoft.com/office/drawing/2014/main" id="{DFBAD041-64AE-C5F0-D6B2-2EC77C39AF16}"/>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accent1"/>
                </a:solidFill>
                <a:ln w="3909" cap="flat">
                  <a:noFill/>
                  <a:prstDash val="solid"/>
                  <a:miter/>
                </a:ln>
              </p:spPr>
              <p:txBody>
                <a:bodyPr rtlCol="0" anchor="ctr"/>
                <a:lstStyle/>
                <a:p>
                  <a:pPr algn="ctr"/>
                  <a:r>
                    <a:rPr lang="en-US" b="1">
                      <a:solidFill>
                        <a:schemeClr val="bg1"/>
                      </a:solidFill>
                    </a:rPr>
                    <a:t>03</a:t>
                  </a:r>
                </a:p>
              </p:txBody>
            </p:sp>
          </p:grpSp>
          <p:grpSp>
            <p:nvGrpSpPr>
              <p:cNvPr id="85" name="Graphic 4">
                <a:extLst>
                  <a:ext uri="{FF2B5EF4-FFF2-40B4-BE49-F238E27FC236}">
                    <a16:creationId xmlns:a16="http://schemas.microsoft.com/office/drawing/2014/main" id="{66C09110-9E91-06EB-E0A8-81BDD2B305D4}"/>
                  </a:ext>
                </a:extLst>
              </p:cNvPr>
              <p:cNvGrpSpPr/>
              <p:nvPr/>
            </p:nvGrpSpPr>
            <p:grpSpPr>
              <a:xfrm>
                <a:off x="4348076" y="4936494"/>
                <a:ext cx="3495848" cy="921671"/>
                <a:chOff x="4348075" y="2969962"/>
                <a:chExt cx="3495848" cy="921671"/>
              </a:xfrm>
              <a:solidFill>
                <a:srgbClr val="FFA62B"/>
              </a:solidFill>
            </p:grpSpPr>
            <p:sp>
              <p:nvSpPr>
                <p:cNvPr id="87" name="Freeform 86">
                  <a:extLst>
                    <a:ext uri="{FF2B5EF4-FFF2-40B4-BE49-F238E27FC236}">
                      <a16:creationId xmlns:a16="http://schemas.microsoft.com/office/drawing/2014/main" id="{E1BDA07A-0379-7E95-457D-08DDD8AD516C}"/>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solidFill>
                  <a:schemeClr val="tx1"/>
                </a:solidFill>
                <a:ln w="3909" cap="flat">
                  <a:noFill/>
                  <a:prstDash val="solid"/>
                  <a:miter/>
                </a:ln>
              </p:spPr>
              <p:txBody>
                <a:bodyPr rtlCol="0" anchor="ctr"/>
                <a:lstStyle/>
                <a:p>
                  <a:endParaRPr lang="en-US"/>
                </a:p>
              </p:txBody>
            </p:sp>
            <p:sp>
              <p:nvSpPr>
                <p:cNvPr id="104" name="Freeform 103">
                  <a:extLst>
                    <a:ext uri="{FF2B5EF4-FFF2-40B4-BE49-F238E27FC236}">
                      <a16:creationId xmlns:a16="http://schemas.microsoft.com/office/drawing/2014/main" id="{679037C8-5B45-64C9-CE2A-25EE3AC46D81}"/>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bg2"/>
                </a:solidFill>
                <a:ln w="3909" cap="flat">
                  <a:noFill/>
                  <a:prstDash val="solid"/>
                  <a:miter/>
                </a:ln>
              </p:spPr>
              <p:txBody>
                <a:bodyPr rtlCol="0" anchor="ctr"/>
                <a:lstStyle/>
                <a:p>
                  <a:pPr algn="ctr"/>
                  <a:r>
                    <a:rPr lang="en-US" b="1">
                      <a:solidFill>
                        <a:schemeClr val="bg1"/>
                      </a:solidFill>
                    </a:rPr>
                    <a:t>04</a:t>
                  </a:r>
                </a:p>
              </p:txBody>
            </p:sp>
          </p:grpSp>
        </p:grpSp>
        <p:grpSp>
          <p:nvGrpSpPr>
            <p:cNvPr id="20" name="Group 19">
              <a:extLst>
                <a:ext uri="{FF2B5EF4-FFF2-40B4-BE49-F238E27FC236}">
                  <a16:creationId xmlns:a16="http://schemas.microsoft.com/office/drawing/2014/main" id="{5AF06262-39CC-4449-09FE-6900A4C12EE7}"/>
                </a:ext>
              </a:extLst>
            </p:cNvPr>
            <p:cNvGrpSpPr/>
            <p:nvPr/>
          </p:nvGrpSpPr>
          <p:grpSpPr>
            <a:xfrm>
              <a:off x="4348076" y="1915811"/>
              <a:ext cx="3495848" cy="4055703"/>
              <a:chOff x="4348076" y="1802462"/>
              <a:chExt cx="3495848" cy="4055703"/>
            </a:xfrm>
            <a:solidFill>
              <a:schemeClr val="tx1"/>
            </a:solidFill>
          </p:grpSpPr>
          <p:grpSp>
            <p:nvGrpSpPr>
              <p:cNvPr id="74" name="Graphic 4">
                <a:extLst>
                  <a:ext uri="{FF2B5EF4-FFF2-40B4-BE49-F238E27FC236}">
                    <a16:creationId xmlns:a16="http://schemas.microsoft.com/office/drawing/2014/main" id="{27A68F01-E6D0-F851-2CF5-21B21EE66DCA}"/>
                  </a:ext>
                </a:extLst>
              </p:cNvPr>
              <p:cNvGrpSpPr/>
              <p:nvPr/>
            </p:nvGrpSpPr>
            <p:grpSpPr>
              <a:xfrm>
                <a:off x="4348076" y="1802462"/>
                <a:ext cx="3495848" cy="921671"/>
                <a:chOff x="4348075" y="2969962"/>
                <a:chExt cx="3495848" cy="921671"/>
              </a:xfrm>
              <a:grpFill/>
            </p:grpSpPr>
            <p:sp>
              <p:nvSpPr>
                <p:cNvPr id="76" name="Freeform 75">
                  <a:extLst>
                    <a:ext uri="{FF2B5EF4-FFF2-40B4-BE49-F238E27FC236}">
                      <a16:creationId xmlns:a16="http://schemas.microsoft.com/office/drawing/2014/main" id="{E60F0B80-18E8-A965-FA0E-B1001D5000AE}"/>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37FEE1AB-9EEC-F1A0-CD0F-38DBB7DDDAB4}"/>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tx2"/>
                </a:solidFill>
                <a:ln w="3909" cap="flat">
                  <a:noFill/>
                  <a:prstDash val="solid"/>
                  <a:miter/>
                </a:ln>
              </p:spPr>
              <p:txBody>
                <a:bodyPr rtlCol="0" anchor="ctr"/>
                <a:lstStyle/>
                <a:p>
                  <a:pPr algn="ctr"/>
                  <a:r>
                    <a:rPr lang="en-US" b="1">
                      <a:solidFill>
                        <a:schemeClr val="bg1"/>
                      </a:solidFill>
                    </a:rPr>
                    <a:t>05</a:t>
                  </a:r>
                </a:p>
              </p:txBody>
            </p:sp>
          </p:grpSp>
          <p:grpSp>
            <p:nvGrpSpPr>
              <p:cNvPr id="70" name="Graphic 4">
                <a:extLst>
                  <a:ext uri="{FF2B5EF4-FFF2-40B4-BE49-F238E27FC236}">
                    <a16:creationId xmlns:a16="http://schemas.microsoft.com/office/drawing/2014/main" id="{A8E27F96-9F99-92B7-6B49-44D736C2C388}"/>
                  </a:ext>
                </a:extLst>
              </p:cNvPr>
              <p:cNvGrpSpPr/>
              <p:nvPr/>
            </p:nvGrpSpPr>
            <p:grpSpPr>
              <a:xfrm>
                <a:off x="4348076" y="2817336"/>
                <a:ext cx="3495848" cy="921671"/>
                <a:chOff x="4348075" y="2969962"/>
                <a:chExt cx="3495848" cy="921671"/>
              </a:xfrm>
              <a:grpFill/>
            </p:grpSpPr>
            <p:sp>
              <p:nvSpPr>
                <p:cNvPr id="72" name="Freeform 71">
                  <a:extLst>
                    <a:ext uri="{FF2B5EF4-FFF2-40B4-BE49-F238E27FC236}">
                      <a16:creationId xmlns:a16="http://schemas.microsoft.com/office/drawing/2014/main" id="{7B64805A-9B6A-3258-4AA0-8EDD07724293}"/>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E3B64F5-AD5F-081D-C4A5-2C721A0F131B}"/>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accent1"/>
                </a:solidFill>
                <a:ln w="3909" cap="flat">
                  <a:noFill/>
                  <a:prstDash val="solid"/>
                  <a:miter/>
                </a:ln>
              </p:spPr>
              <p:txBody>
                <a:bodyPr rtlCol="0" anchor="ctr"/>
                <a:lstStyle/>
                <a:p>
                  <a:pPr algn="ctr"/>
                  <a:r>
                    <a:rPr lang="en-US" b="1">
                      <a:solidFill>
                        <a:schemeClr val="bg1"/>
                      </a:solidFill>
                    </a:rPr>
                    <a:t>06</a:t>
                  </a:r>
                </a:p>
              </p:txBody>
            </p:sp>
          </p:grpSp>
          <p:grpSp>
            <p:nvGrpSpPr>
              <p:cNvPr id="60" name="Graphic 4">
                <a:extLst>
                  <a:ext uri="{FF2B5EF4-FFF2-40B4-BE49-F238E27FC236}">
                    <a16:creationId xmlns:a16="http://schemas.microsoft.com/office/drawing/2014/main" id="{32469D5C-33DE-2554-51D1-D18017EBD643}"/>
                  </a:ext>
                </a:extLst>
              </p:cNvPr>
              <p:cNvGrpSpPr/>
              <p:nvPr/>
            </p:nvGrpSpPr>
            <p:grpSpPr>
              <a:xfrm>
                <a:off x="4348076" y="3865564"/>
                <a:ext cx="3495848" cy="921671"/>
                <a:chOff x="4348075" y="2969962"/>
                <a:chExt cx="3495848" cy="921671"/>
              </a:xfrm>
              <a:grpFill/>
            </p:grpSpPr>
            <p:sp>
              <p:nvSpPr>
                <p:cNvPr id="66" name="Freeform 65">
                  <a:extLst>
                    <a:ext uri="{FF2B5EF4-FFF2-40B4-BE49-F238E27FC236}">
                      <a16:creationId xmlns:a16="http://schemas.microsoft.com/office/drawing/2014/main" id="{0545D458-3AF7-3463-D10F-197D5923C9F7}"/>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F287DBB0-8F96-13E1-3BA2-3D781B5FA2B9}"/>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bg2"/>
                </a:solidFill>
                <a:ln w="3909" cap="flat">
                  <a:noFill/>
                  <a:prstDash val="solid"/>
                  <a:miter/>
                </a:ln>
              </p:spPr>
              <p:txBody>
                <a:bodyPr rtlCol="0" anchor="ctr"/>
                <a:lstStyle/>
                <a:p>
                  <a:pPr algn="ctr"/>
                  <a:r>
                    <a:rPr lang="en-US" b="1">
                      <a:solidFill>
                        <a:schemeClr val="bg1"/>
                      </a:solidFill>
                    </a:rPr>
                    <a:t>07</a:t>
                  </a:r>
                </a:p>
              </p:txBody>
            </p:sp>
          </p:grpSp>
          <p:grpSp>
            <p:nvGrpSpPr>
              <p:cNvPr id="55" name="Graphic 4">
                <a:extLst>
                  <a:ext uri="{FF2B5EF4-FFF2-40B4-BE49-F238E27FC236}">
                    <a16:creationId xmlns:a16="http://schemas.microsoft.com/office/drawing/2014/main" id="{9BDAA2B7-6FDC-5A5D-504C-216730117A34}"/>
                  </a:ext>
                </a:extLst>
              </p:cNvPr>
              <p:cNvGrpSpPr/>
              <p:nvPr/>
            </p:nvGrpSpPr>
            <p:grpSpPr>
              <a:xfrm>
                <a:off x="4348076" y="4936494"/>
                <a:ext cx="3495848" cy="921671"/>
                <a:chOff x="4348075" y="2969962"/>
                <a:chExt cx="3495848" cy="921671"/>
              </a:xfrm>
              <a:grpFill/>
            </p:grpSpPr>
            <p:sp>
              <p:nvSpPr>
                <p:cNvPr id="57" name="Freeform 56">
                  <a:extLst>
                    <a:ext uri="{FF2B5EF4-FFF2-40B4-BE49-F238E27FC236}">
                      <a16:creationId xmlns:a16="http://schemas.microsoft.com/office/drawing/2014/main" id="{2B1ADDA7-3A8A-2962-0884-8ED4C2E7B210}"/>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D2057403-C6D1-C5C5-D5FF-708E634B7719}"/>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tx2"/>
                </a:solidFill>
                <a:ln w="3909" cap="flat">
                  <a:noFill/>
                  <a:prstDash val="solid"/>
                  <a:miter/>
                </a:ln>
              </p:spPr>
              <p:txBody>
                <a:bodyPr rtlCol="0" anchor="ctr"/>
                <a:lstStyle/>
                <a:p>
                  <a:pPr algn="ctr"/>
                  <a:r>
                    <a:rPr lang="en-US" b="1">
                      <a:solidFill>
                        <a:schemeClr val="bg1"/>
                      </a:solidFill>
                    </a:rPr>
                    <a:t>048</a:t>
                  </a:r>
                </a:p>
              </p:txBody>
            </p:sp>
          </p:grpSp>
        </p:grpSp>
        <p:grpSp>
          <p:nvGrpSpPr>
            <p:cNvPr id="26" name="Group 25">
              <a:extLst>
                <a:ext uri="{FF2B5EF4-FFF2-40B4-BE49-F238E27FC236}">
                  <a16:creationId xmlns:a16="http://schemas.microsoft.com/office/drawing/2014/main" id="{B53B3AFA-6702-78A6-1EA2-173625520BC3}"/>
                </a:ext>
              </a:extLst>
            </p:cNvPr>
            <p:cNvGrpSpPr/>
            <p:nvPr/>
          </p:nvGrpSpPr>
          <p:grpSpPr>
            <a:xfrm>
              <a:off x="7943752" y="1915811"/>
              <a:ext cx="3495848" cy="4055703"/>
              <a:chOff x="4348076" y="1802462"/>
              <a:chExt cx="3495848" cy="4055703"/>
            </a:xfrm>
            <a:solidFill>
              <a:schemeClr val="tx1"/>
            </a:solidFill>
          </p:grpSpPr>
          <p:grpSp>
            <p:nvGrpSpPr>
              <p:cNvPr id="47" name="Graphic 4">
                <a:extLst>
                  <a:ext uri="{FF2B5EF4-FFF2-40B4-BE49-F238E27FC236}">
                    <a16:creationId xmlns:a16="http://schemas.microsoft.com/office/drawing/2014/main" id="{6DDF3521-B659-2092-D647-B2D534A9FEE7}"/>
                  </a:ext>
                </a:extLst>
              </p:cNvPr>
              <p:cNvGrpSpPr/>
              <p:nvPr/>
            </p:nvGrpSpPr>
            <p:grpSpPr>
              <a:xfrm>
                <a:off x="4348076" y="1802462"/>
                <a:ext cx="3495848" cy="921671"/>
                <a:chOff x="4348075" y="2969962"/>
                <a:chExt cx="3495848" cy="921671"/>
              </a:xfrm>
              <a:grpFill/>
            </p:grpSpPr>
            <p:sp>
              <p:nvSpPr>
                <p:cNvPr id="49" name="Freeform 48">
                  <a:extLst>
                    <a:ext uri="{FF2B5EF4-FFF2-40B4-BE49-F238E27FC236}">
                      <a16:creationId xmlns:a16="http://schemas.microsoft.com/office/drawing/2014/main" id="{FF1D27DB-F59F-F23C-8F8D-25493D213F71}"/>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5491B46D-BBC0-A26F-53C7-E2580AEE7877}"/>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accent1"/>
                </a:solidFill>
                <a:ln w="3909" cap="flat">
                  <a:noFill/>
                  <a:prstDash val="solid"/>
                  <a:miter/>
                </a:ln>
              </p:spPr>
              <p:txBody>
                <a:bodyPr rtlCol="0" anchor="ctr"/>
                <a:lstStyle/>
                <a:p>
                  <a:pPr algn="ctr"/>
                  <a:r>
                    <a:rPr lang="en-US" b="1">
                      <a:solidFill>
                        <a:schemeClr val="bg1"/>
                      </a:solidFill>
                    </a:rPr>
                    <a:t>09</a:t>
                  </a:r>
                </a:p>
              </p:txBody>
            </p:sp>
          </p:grpSp>
          <p:grpSp>
            <p:nvGrpSpPr>
              <p:cNvPr id="43" name="Graphic 4">
                <a:extLst>
                  <a:ext uri="{FF2B5EF4-FFF2-40B4-BE49-F238E27FC236}">
                    <a16:creationId xmlns:a16="http://schemas.microsoft.com/office/drawing/2014/main" id="{63BA0543-7696-3F0F-957D-C1564FFF1EF1}"/>
                  </a:ext>
                </a:extLst>
              </p:cNvPr>
              <p:cNvGrpSpPr/>
              <p:nvPr/>
            </p:nvGrpSpPr>
            <p:grpSpPr>
              <a:xfrm>
                <a:off x="4348076" y="2817336"/>
                <a:ext cx="3495848" cy="921671"/>
                <a:chOff x="4348075" y="2969962"/>
                <a:chExt cx="3495848" cy="921671"/>
              </a:xfrm>
              <a:grpFill/>
            </p:grpSpPr>
            <p:sp>
              <p:nvSpPr>
                <p:cNvPr id="45" name="Freeform 44">
                  <a:extLst>
                    <a:ext uri="{FF2B5EF4-FFF2-40B4-BE49-F238E27FC236}">
                      <a16:creationId xmlns:a16="http://schemas.microsoft.com/office/drawing/2014/main" id="{B1B2B79D-CED2-69C3-FDA8-FBEDC9775F01}"/>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60AAFD83-7FE1-C6E1-2B33-63BE80C3EA39}"/>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bg2"/>
                </a:solidFill>
                <a:ln w="3909" cap="flat">
                  <a:noFill/>
                  <a:prstDash val="solid"/>
                  <a:miter/>
                </a:ln>
              </p:spPr>
              <p:txBody>
                <a:bodyPr rtlCol="0" anchor="ctr"/>
                <a:lstStyle/>
                <a:p>
                  <a:pPr algn="ctr"/>
                  <a:r>
                    <a:rPr lang="en-US" b="1">
                      <a:solidFill>
                        <a:schemeClr val="bg1"/>
                      </a:solidFill>
                    </a:rPr>
                    <a:t>10</a:t>
                  </a:r>
                </a:p>
              </p:txBody>
            </p:sp>
          </p:grpSp>
          <p:grpSp>
            <p:nvGrpSpPr>
              <p:cNvPr id="39" name="Graphic 4">
                <a:extLst>
                  <a:ext uri="{FF2B5EF4-FFF2-40B4-BE49-F238E27FC236}">
                    <a16:creationId xmlns:a16="http://schemas.microsoft.com/office/drawing/2014/main" id="{291DC17D-9AEC-BD5E-AD37-51ABD2ACAF1B}"/>
                  </a:ext>
                </a:extLst>
              </p:cNvPr>
              <p:cNvGrpSpPr/>
              <p:nvPr/>
            </p:nvGrpSpPr>
            <p:grpSpPr>
              <a:xfrm>
                <a:off x="4348076" y="3865564"/>
                <a:ext cx="3495848" cy="921671"/>
                <a:chOff x="4348075" y="2969962"/>
                <a:chExt cx="3495848" cy="921671"/>
              </a:xfrm>
              <a:grpFill/>
            </p:grpSpPr>
            <p:sp>
              <p:nvSpPr>
                <p:cNvPr id="41" name="Freeform 40">
                  <a:extLst>
                    <a:ext uri="{FF2B5EF4-FFF2-40B4-BE49-F238E27FC236}">
                      <a16:creationId xmlns:a16="http://schemas.microsoft.com/office/drawing/2014/main" id="{69767A64-B2EA-E165-9D0F-CC50B19CFAB2}"/>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1A539BA4-34BD-4483-0BE6-7D1AE74DA7F0}"/>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tx2"/>
                </a:solidFill>
                <a:ln w="3909" cap="flat">
                  <a:noFill/>
                  <a:prstDash val="solid"/>
                  <a:miter/>
                </a:ln>
              </p:spPr>
              <p:txBody>
                <a:bodyPr rtlCol="0" anchor="ctr"/>
                <a:lstStyle/>
                <a:p>
                  <a:pPr algn="ctr"/>
                  <a:r>
                    <a:rPr lang="en-US" b="1">
                      <a:solidFill>
                        <a:schemeClr val="bg1"/>
                      </a:solidFill>
                    </a:rPr>
                    <a:t>11</a:t>
                  </a:r>
                </a:p>
              </p:txBody>
            </p:sp>
          </p:grpSp>
          <p:grpSp>
            <p:nvGrpSpPr>
              <p:cNvPr id="35" name="Graphic 4">
                <a:extLst>
                  <a:ext uri="{FF2B5EF4-FFF2-40B4-BE49-F238E27FC236}">
                    <a16:creationId xmlns:a16="http://schemas.microsoft.com/office/drawing/2014/main" id="{4B673896-A2FE-72F6-ACF2-C9540CD542D6}"/>
                  </a:ext>
                </a:extLst>
              </p:cNvPr>
              <p:cNvGrpSpPr/>
              <p:nvPr/>
            </p:nvGrpSpPr>
            <p:grpSpPr>
              <a:xfrm>
                <a:off x="4348076" y="4936494"/>
                <a:ext cx="3495848" cy="921671"/>
                <a:chOff x="4348075" y="2969962"/>
                <a:chExt cx="3495848" cy="921671"/>
              </a:xfrm>
              <a:grpFill/>
            </p:grpSpPr>
            <p:sp>
              <p:nvSpPr>
                <p:cNvPr id="37" name="Freeform 36">
                  <a:extLst>
                    <a:ext uri="{FF2B5EF4-FFF2-40B4-BE49-F238E27FC236}">
                      <a16:creationId xmlns:a16="http://schemas.microsoft.com/office/drawing/2014/main" id="{5107B750-38E6-F433-6C9A-B103136AE821}"/>
                    </a:ext>
                  </a:extLst>
                </p:cNvPr>
                <p:cNvSpPr/>
                <p:nvPr/>
              </p:nvSpPr>
              <p:spPr>
                <a:xfrm>
                  <a:off x="4348075" y="2969962"/>
                  <a:ext cx="3495848" cy="921671"/>
                </a:xfrm>
                <a:custGeom>
                  <a:avLst/>
                  <a:gdLst>
                    <a:gd name="connsiteX0" fmla="*/ 3495848 w 3495848"/>
                    <a:gd name="connsiteY0" fmla="*/ 921672 h 921671"/>
                    <a:gd name="connsiteX1" fmla="*/ 1039623 w 3495848"/>
                    <a:gd name="connsiteY1" fmla="*/ 921672 h 921671"/>
                    <a:gd name="connsiteX2" fmla="*/ 1039623 w 3495848"/>
                    <a:gd name="connsiteY2" fmla="*/ 889771 h 921671"/>
                    <a:gd name="connsiteX3" fmla="*/ 3463990 w 3495848"/>
                    <a:gd name="connsiteY3" fmla="*/ 889771 h 921671"/>
                    <a:gd name="connsiteX4" fmla="*/ 3463990 w 3495848"/>
                    <a:gd name="connsiteY4" fmla="*/ 31861 h 921671"/>
                    <a:gd name="connsiteX5" fmla="*/ 31897 w 3495848"/>
                    <a:gd name="connsiteY5" fmla="*/ 31861 h 921671"/>
                    <a:gd name="connsiteX6" fmla="*/ 31897 w 3495848"/>
                    <a:gd name="connsiteY6" fmla="*/ 889771 h 921671"/>
                    <a:gd name="connsiteX7" fmla="*/ 889754 w 3495848"/>
                    <a:gd name="connsiteY7" fmla="*/ 889771 h 921671"/>
                    <a:gd name="connsiteX8" fmla="*/ 889754 w 3495848"/>
                    <a:gd name="connsiteY8" fmla="*/ 146015 h 921671"/>
                    <a:gd name="connsiteX9" fmla="*/ 921612 w 3495848"/>
                    <a:gd name="connsiteY9" fmla="*/ 146015 h 921671"/>
                    <a:gd name="connsiteX10" fmla="*/ 921612 w 3495848"/>
                    <a:gd name="connsiteY10" fmla="*/ 921672 h 921671"/>
                    <a:gd name="connsiteX11" fmla="*/ 0 w 3495848"/>
                    <a:gd name="connsiteY11" fmla="*/ 921672 h 921671"/>
                    <a:gd name="connsiteX12" fmla="*/ 0 w 3495848"/>
                    <a:gd name="connsiteY12" fmla="*/ 0 h 921671"/>
                    <a:gd name="connsiteX13" fmla="*/ 3495848 w 3495848"/>
                    <a:gd name="connsiteY13" fmla="*/ 0 h 921671"/>
                    <a:gd name="connsiteX14" fmla="*/ 3495848 w 3495848"/>
                    <a:gd name="connsiteY14" fmla="*/ 921672 h 92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5848" h="921671">
                      <a:moveTo>
                        <a:pt x="3495848" y="921672"/>
                      </a:moveTo>
                      <a:lnTo>
                        <a:pt x="1039623" y="921672"/>
                      </a:lnTo>
                      <a:lnTo>
                        <a:pt x="1039623" y="889771"/>
                      </a:lnTo>
                      <a:lnTo>
                        <a:pt x="3463990" y="889771"/>
                      </a:lnTo>
                      <a:lnTo>
                        <a:pt x="3463990" y="31861"/>
                      </a:lnTo>
                      <a:lnTo>
                        <a:pt x="31897" y="31861"/>
                      </a:lnTo>
                      <a:lnTo>
                        <a:pt x="31897" y="889771"/>
                      </a:lnTo>
                      <a:lnTo>
                        <a:pt x="889754" y="889771"/>
                      </a:lnTo>
                      <a:lnTo>
                        <a:pt x="889754" y="146015"/>
                      </a:lnTo>
                      <a:lnTo>
                        <a:pt x="921612" y="146015"/>
                      </a:lnTo>
                      <a:lnTo>
                        <a:pt x="921612" y="921672"/>
                      </a:lnTo>
                      <a:lnTo>
                        <a:pt x="0" y="921672"/>
                      </a:lnTo>
                      <a:lnTo>
                        <a:pt x="0" y="0"/>
                      </a:lnTo>
                      <a:lnTo>
                        <a:pt x="3495848" y="0"/>
                      </a:lnTo>
                      <a:lnTo>
                        <a:pt x="3495848" y="921672"/>
                      </a:lnTo>
                      <a:close/>
                    </a:path>
                  </a:pathLst>
                </a:custGeom>
                <a:grpFill/>
                <a:ln w="3909"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76D0E5DE-EBDC-AEB0-5C9A-359CB55B9F45}"/>
                    </a:ext>
                  </a:extLst>
                </p:cNvPr>
                <p:cNvSpPr/>
                <p:nvPr/>
              </p:nvSpPr>
              <p:spPr>
                <a:xfrm>
                  <a:off x="4497397" y="3119221"/>
                  <a:ext cx="623007" cy="623074"/>
                </a:xfrm>
                <a:custGeom>
                  <a:avLst/>
                  <a:gdLst>
                    <a:gd name="connsiteX0" fmla="*/ 0 w 623007"/>
                    <a:gd name="connsiteY0" fmla="*/ 0 h 623074"/>
                    <a:gd name="connsiteX1" fmla="*/ 623008 w 623007"/>
                    <a:gd name="connsiteY1" fmla="*/ 0 h 623074"/>
                    <a:gd name="connsiteX2" fmla="*/ 623008 w 623007"/>
                    <a:gd name="connsiteY2" fmla="*/ 623075 h 623074"/>
                    <a:gd name="connsiteX3" fmla="*/ 0 w 623007"/>
                    <a:gd name="connsiteY3" fmla="*/ 623075 h 623074"/>
                  </a:gdLst>
                  <a:ahLst/>
                  <a:cxnLst>
                    <a:cxn ang="0">
                      <a:pos x="connsiteX0" y="connsiteY0"/>
                    </a:cxn>
                    <a:cxn ang="0">
                      <a:pos x="connsiteX1" y="connsiteY1"/>
                    </a:cxn>
                    <a:cxn ang="0">
                      <a:pos x="connsiteX2" y="connsiteY2"/>
                    </a:cxn>
                    <a:cxn ang="0">
                      <a:pos x="connsiteX3" y="connsiteY3"/>
                    </a:cxn>
                  </a:cxnLst>
                  <a:rect l="l" t="t" r="r" b="b"/>
                  <a:pathLst>
                    <a:path w="623007" h="623074">
                      <a:moveTo>
                        <a:pt x="0" y="0"/>
                      </a:moveTo>
                      <a:lnTo>
                        <a:pt x="623008" y="0"/>
                      </a:lnTo>
                      <a:lnTo>
                        <a:pt x="623008" y="623075"/>
                      </a:lnTo>
                      <a:lnTo>
                        <a:pt x="0" y="623075"/>
                      </a:lnTo>
                      <a:close/>
                    </a:path>
                  </a:pathLst>
                </a:custGeom>
                <a:solidFill>
                  <a:schemeClr val="accent1"/>
                </a:solidFill>
                <a:ln w="3909" cap="flat">
                  <a:noFill/>
                  <a:prstDash val="solid"/>
                  <a:miter/>
                </a:ln>
              </p:spPr>
              <p:txBody>
                <a:bodyPr rtlCol="0" anchor="ctr"/>
                <a:lstStyle/>
                <a:p>
                  <a:pPr algn="ctr"/>
                  <a:r>
                    <a:rPr lang="en-US" b="1">
                      <a:solidFill>
                        <a:schemeClr val="bg1"/>
                      </a:solidFill>
                    </a:rPr>
                    <a:t>12</a:t>
                  </a:r>
                </a:p>
              </p:txBody>
            </p:sp>
          </p:grpSp>
        </p:grpSp>
      </p:grpSp>
      <p:sp>
        <p:nvSpPr>
          <p:cNvPr id="117" name="Text Placeholder 49">
            <a:extLst>
              <a:ext uri="{FF2B5EF4-FFF2-40B4-BE49-F238E27FC236}">
                <a16:creationId xmlns:a16="http://schemas.microsoft.com/office/drawing/2014/main" id="{C057BBC4-1EE1-0C25-9353-3DCC875D5911}"/>
              </a:ext>
            </a:extLst>
          </p:cNvPr>
          <p:cNvSpPr>
            <a:spLocks noGrp="1"/>
          </p:cNvSpPr>
          <p:nvPr>
            <p:ph type="body" sz="quarter" idx="63" hasCustomPrompt="1"/>
          </p:nvPr>
        </p:nvSpPr>
        <p:spPr>
          <a:xfrm>
            <a:off x="1858011" y="2078544"/>
            <a:ext cx="2240916" cy="609600"/>
          </a:xfrm>
        </p:spPr>
        <p:txBody>
          <a:bodyPr>
            <a:normAutofit/>
          </a:bodyPr>
          <a:lstStyle>
            <a:lvl1pPr algn="l">
              <a:defRPr sz="1000" b="0">
                <a:solidFill>
                  <a:schemeClr val="bg2"/>
                </a:solidFill>
              </a:defRPr>
            </a:lvl1pPr>
          </a:lstStyle>
          <a:p>
            <a:pPr lvl="0"/>
            <a:r>
              <a:rPr lang="en-US"/>
              <a:t>Lorem ipsum dolor</a:t>
            </a:r>
          </a:p>
        </p:txBody>
      </p:sp>
      <p:sp>
        <p:nvSpPr>
          <p:cNvPr id="118" name="Text Placeholder 49">
            <a:extLst>
              <a:ext uri="{FF2B5EF4-FFF2-40B4-BE49-F238E27FC236}">
                <a16:creationId xmlns:a16="http://schemas.microsoft.com/office/drawing/2014/main" id="{F9B98209-FC74-1F2A-2593-C48697BCAF96}"/>
              </a:ext>
            </a:extLst>
          </p:cNvPr>
          <p:cNvSpPr>
            <a:spLocks noGrp="1"/>
          </p:cNvSpPr>
          <p:nvPr>
            <p:ph type="body" sz="quarter" idx="64" hasCustomPrompt="1"/>
          </p:nvPr>
        </p:nvSpPr>
        <p:spPr>
          <a:xfrm>
            <a:off x="1858011" y="3087485"/>
            <a:ext cx="2221176" cy="689056"/>
          </a:xfrm>
        </p:spPr>
        <p:txBody>
          <a:bodyPr>
            <a:normAutofit/>
          </a:bodyPr>
          <a:lstStyle>
            <a:lvl1pPr algn="l">
              <a:defRPr sz="1000" b="0">
                <a:solidFill>
                  <a:schemeClr val="bg2"/>
                </a:solidFill>
              </a:defRPr>
            </a:lvl1pPr>
          </a:lstStyle>
          <a:p>
            <a:pPr lvl="0"/>
            <a:r>
              <a:rPr lang="en-US"/>
              <a:t>Lorem ipsum dolor</a:t>
            </a:r>
          </a:p>
        </p:txBody>
      </p:sp>
      <p:sp>
        <p:nvSpPr>
          <p:cNvPr id="119" name="Text Placeholder 49">
            <a:extLst>
              <a:ext uri="{FF2B5EF4-FFF2-40B4-BE49-F238E27FC236}">
                <a16:creationId xmlns:a16="http://schemas.microsoft.com/office/drawing/2014/main" id="{E1FAEAC5-AD11-51A3-73AA-A286BCA59B17}"/>
              </a:ext>
            </a:extLst>
          </p:cNvPr>
          <p:cNvSpPr>
            <a:spLocks noGrp="1"/>
          </p:cNvSpPr>
          <p:nvPr>
            <p:ph type="body" sz="quarter" idx="67" hasCustomPrompt="1"/>
          </p:nvPr>
        </p:nvSpPr>
        <p:spPr>
          <a:xfrm>
            <a:off x="1858011" y="4128172"/>
            <a:ext cx="2240916" cy="671976"/>
          </a:xfrm>
        </p:spPr>
        <p:txBody>
          <a:bodyPr>
            <a:normAutofit/>
          </a:bodyPr>
          <a:lstStyle>
            <a:lvl1pPr algn="l">
              <a:defRPr sz="1000" b="0">
                <a:solidFill>
                  <a:schemeClr val="bg2"/>
                </a:solidFill>
              </a:defRPr>
            </a:lvl1pPr>
          </a:lstStyle>
          <a:p>
            <a:pPr lvl="0"/>
            <a:r>
              <a:rPr lang="en-US"/>
              <a:t>Lorem ipsum dolor</a:t>
            </a:r>
          </a:p>
        </p:txBody>
      </p:sp>
      <p:sp>
        <p:nvSpPr>
          <p:cNvPr id="120" name="Text Placeholder 49">
            <a:extLst>
              <a:ext uri="{FF2B5EF4-FFF2-40B4-BE49-F238E27FC236}">
                <a16:creationId xmlns:a16="http://schemas.microsoft.com/office/drawing/2014/main" id="{5D206129-0206-0D54-F4D0-404BF8D838F1}"/>
              </a:ext>
            </a:extLst>
          </p:cNvPr>
          <p:cNvSpPr>
            <a:spLocks noGrp="1"/>
          </p:cNvSpPr>
          <p:nvPr>
            <p:ph type="body" sz="quarter" idx="68" hasCustomPrompt="1"/>
          </p:nvPr>
        </p:nvSpPr>
        <p:spPr>
          <a:xfrm>
            <a:off x="1858011" y="5199103"/>
            <a:ext cx="2221176" cy="689442"/>
          </a:xfrm>
        </p:spPr>
        <p:txBody>
          <a:bodyPr>
            <a:normAutofit/>
          </a:bodyPr>
          <a:lstStyle>
            <a:lvl1pPr algn="l">
              <a:defRPr sz="1000" b="0">
                <a:solidFill>
                  <a:schemeClr val="bg2"/>
                </a:solidFill>
              </a:defRPr>
            </a:lvl1pPr>
          </a:lstStyle>
          <a:p>
            <a:pPr lvl="0"/>
            <a:r>
              <a:rPr lang="en-US"/>
              <a:t>Lorem ipsum dolor</a:t>
            </a:r>
          </a:p>
        </p:txBody>
      </p:sp>
      <p:sp>
        <p:nvSpPr>
          <p:cNvPr id="121" name="Text Placeholder 49">
            <a:extLst>
              <a:ext uri="{FF2B5EF4-FFF2-40B4-BE49-F238E27FC236}">
                <a16:creationId xmlns:a16="http://schemas.microsoft.com/office/drawing/2014/main" id="{0AFF3613-00D8-F704-E0AA-E7A0317AAEDF}"/>
              </a:ext>
            </a:extLst>
          </p:cNvPr>
          <p:cNvSpPr>
            <a:spLocks noGrp="1"/>
          </p:cNvSpPr>
          <p:nvPr>
            <p:ph type="body" sz="quarter" idx="71" hasCustomPrompt="1"/>
          </p:nvPr>
        </p:nvSpPr>
        <p:spPr>
          <a:xfrm>
            <a:off x="5410200" y="2065070"/>
            <a:ext cx="2240916" cy="638444"/>
          </a:xfrm>
        </p:spPr>
        <p:txBody>
          <a:bodyPr>
            <a:normAutofit/>
          </a:bodyPr>
          <a:lstStyle>
            <a:lvl1pPr algn="l">
              <a:defRPr sz="1000" b="0">
                <a:solidFill>
                  <a:schemeClr val="bg2"/>
                </a:solidFill>
              </a:defRPr>
            </a:lvl1pPr>
          </a:lstStyle>
          <a:p>
            <a:pPr lvl="0"/>
            <a:r>
              <a:rPr lang="en-US"/>
              <a:t>Lorem ipsum dolor</a:t>
            </a:r>
          </a:p>
        </p:txBody>
      </p:sp>
      <p:sp>
        <p:nvSpPr>
          <p:cNvPr id="122" name="Text Placeholder 49">
            <a:extLst>
              <a:ext uri="{FF2B5EF4-FFF2-40B4-BE49-F238E27FC236}">
                <a16:creationId xmlns:a16="http://schemas.microsoft.com/office/drawing/2014/main" id="{3ED8BC31-C671-A7C4-D47D-D984CC90D7A4}"/>
              </a:ext>
            </a:extLst>
          </p:cNvPr>
          <p:cNvSpPr>
            <a:spLocks noGrp="1"/>
          </p:cNvSpPr>
          <p:nvPr>
            <p:ph type="body" sz="quarter" idx="72" hasCustomPrompt="1"/>
          </p:nvPr>
        </p:nvSpPr>
        <p:spPr>
          <a:xfrm>
            <a:off x="5420070" y="3087484"/>
            <a:ext cx="2221176" cy="689057"/>
          </a:xfrm>
        </p:spPr>
        <p:txBody>
          <a:bodyPr>
            <a:normAutofit/>
          </a:bodyPr>
          <a:lstStyle>
            <a:lvl1pPr algn="l">
              <a:defRPr sz="1000" b="0">
                <a:solidFill>
                  <a:schemeClr val="bg2"/>
                </a:solidFill>
              </a:defRPr>
            </a:lvl1pPr>
          </a:lstStyle>
          <a:p>
            <a:pPr lvl="0"/>
            <a:r>
              <a:rPr lang="en-US"/>
              <a:t>Lorem ipsum dolor</a:t>
            </a:r>
          </a:p>
        </p:txBody>
      </p:sp>
      <p:sp>
        <p:nvSpPr>
          <p:cNvPr id="123" name="Text Placeholder 49">
            <a:extLst>
              <a:ext uri="{FF2B5EF4-FFF2-40B4-BE49-F238E27FC236}">
                <a16:creationId xmlns:a16="http://schemas.microsoft.com/office/drawing/2014/main" id="{A91944CA-BD47-5C47-6295-ED70E74F2CD8}"/>
              </a:ext>
            </a:extLst>
          </p:cNvPr>
          <p:cNvSpPr>
            <a:spLocks noGrp="1"/>
          </p:cNvSpPr>
          <p:nvPr>
            <p:ph type="body" sz="quarter" idx="75" hasCustomPrompt="1"/>
          </p:nvPr>
        </p:nvSpPr>
        <p:spPr>
          <a:xfrm>
            <a:off x="5410200" y="4128172"/>
            <a:ext cx="2240916" cy="687346"/>
          </a:xfrm>
        </p:spPr>
        <p:txBody>
          <a:bodyPr>
            <a:normAutofit/>
          </a:bodyPr>
          <a:lstStyle>
            <a:lvl1pPr algn="l">
              <a:defRPr sz="1000" b="0">
                <a:solidFill>
                  <a:schemeClr val="bg2"/>
                </a:solidFill>
              </a:defRPr>
            </a:lvl1pPr>
          </a:lstStyle>
          <a:p>
            <a:pPr lvl="0"/>
            <a:r>
              <a:rPr lang="en-US"/>
              <a:t>Lorem ipsum dolor</a:t>
            </a:r>
          </a:p>
        </p:txBody>
      </p:sp>
      <p:sp>
        <p:nvSpPr>
          <p:cNvPr id="124" name="Text Placeholder 49">
            <a:extLst>
              <a:ext uri="{FF2B5EF4-FFF2-40B4-BE49-F238E27FC236}">
                <a16:creationId xmlns:a16="http://schemas.microsoft.com/office/drawing/2014/main" id="{BFEFE215-55D7-CC87-B1B2-0A9CFB5AC54F}"/>
              </a:ext>
            </a:extLst>
          </p:cNvPr>
          <p:cNvSpPr>
            <a:spLocks noGrp="1"/>
          </p:cNvSpPr>
          <p:nvPr>
            <p:ph type="body" sz="quarter" idx="76" hasCustomPrompt="1"/>
          </p:nvPr>
        </p:nvSpPr>
        <p:spPr>
          <a:xfrm>
            <a:off x="5410200" y="5199103"/>
            <a:ext cx="2221176" cy="689442"/>
          </a:xfrm>
        </p:spPr>
        <p:txBody>
          <a:bodyPr>
            <a:normAutofit/>
          </a:bodyPr>
          <a:lstStyle>
            <a:lvl1pPr algn="l">
              <a:defRPr sz="1000" b="0">
                <a:solidFill>
                  <a:schemeClr val="bg2"/>
                </a:solidFill>
              </a:defRPr>
            </a:lvl1pPr>
          </a:lstStyle>
          <a:p>
            <a:pPr lvl="0"/>
            <a:r>
              <a:rPr lang="en-US"/>
              <a:t>Lorem ipsum dolor</a:t>
            </a:r>
          </a:p>
        </p:txBody>
      </p:sp>
      <p:sp>
        <p:nvSpPr>
          <p:cNvPr id="125" name="Text Placeholder 49">
            <a:extLst>
              <a:ext uri="{FF2B5EF4-FFF2-40B4-BE49-F238E27FC236}">
                <a16:creationId xmlns:a16="http://schemas.microsoft.com/office/drawing/2014/main" id="{CC488BFD-C934-F774-1A44-302BA6DFE5D2}"/>
              </a:ext>
            </a:extLst>
          </p:cNvPr>
          <p:cNvSpPr>
            <a:spLocks noGrp="1"/>
          </p:cNvSpPr>
          <p:nvPr>
            <p:ph type="body" sz="quarter" idx="79" hasCustomPrompt="1"/>
          </p:nvPr>
        </p:nvSpPr>
        <p:spPr>
          <a:xfrm>
            <a:off x="8991600" y="2081644"/>
            <a:ext cx="2240916" cy="609600"/>
          </a:xfrm>
        </p:spPr>
        <p:txBody>
          <a:bodyPr>
            <a:normAutofit/>
          </a:bodyPr>
          <a:lstStyle>
            <a:lvl1pPr algn="l">
              <a:defRPr sz="1000" b="0">
                <a:solidFill>
                  <a:schemeClr val="bg2"/>
                </a:solidFill>
              </a:defRPr>
            </a:lvl1pPr>
          </a:lstStyle>
          <a:p>
            <a:pPr lvl="0"/>
            <a:r>
              <a:rPr lang="en-US"/>
              <a:t>Lorem ipsum dolor</a:t>
            </a:r>
          </a:p>
        </p:txBody>
      </p:sp>
      <p:sp>
        <p:nvSpPr>
          <p:cNvPr id="126" name="Text Placeholder 49">
            <a:extLst>
              <a:ext uri="{FF2B5EF4-FFF2-40B4-BE49-F238E27FC236}">
                <a16:creationId xmlns:a16="http://schemas.microsoft.com/office/drawing/2014/main" id="{1A02924F-F396-DB49-D3CA-34221473DD5C}"/>
              </a:ext>
            </a:extLst>
          </p:cNvPr>
          <p:cNvSpPr>
            <a:spLocks noGrp="1"/>
          </p:cNvSpPr>
          <p:nvPr>
            <p:ph type="body" sz="quarter" idx="80" hasCustomPrompt="1"/>
          </p:nvPr>
        </p:nvSpPr>
        <p:spPr>
          <a:xfrm>
            <a:off x="8991600" y="3087485"/>
            <a:ext cx="2221176" cy="692156"/>
          </a:xfrm>
        </p:spPr>
        <p:txBody>
          <a:bodyPr>
            <a:normAutofit/>
          </a:bodyPr>
          <a:lstStyle>
            <a:lvl1pPr algn="l">
              <a:defRPr sz="1000" b="0">
                <a:solidFill>
                  <a:schemeClr val="bg2"/>
                </a:solidFill>
              </a:defRPr>
            </a:lvl1pPr>
          </a:lstStyle>
          <a:p>
            <a:pPr lvl="0"/>
            <a:r>
              <a:rPr lang="en-US"/>
              <a:t>Lorem ipsum dolor</a:t>
            </a:r>
          </a:p>
        </p:txBody>
      </p:sp>
      <p:sp>
        <p:nvSpPr>
          <p:cNvPr id="127" name="Text Placeholder 49">
            <a:extLst>
              <a:ext uri="{FF2B5EF4-FFF2-40B4-BE49-F238E27FC236}">
                <a16:creationId xmlns:a16="http://schemas.microsoft.com/office/drawing/2014/main" id="{0A2F71EC-0175-29A6-E66F-D0D85B06DC68}"/>
              </a:ext>
            </a:extLst>
          </p:cNvPr>
          <p:cNvSpPr>
            <a:spLocks noGrp="1"/>
          </p:cNvSpPr>
          <p:nvPr>
            <p:ph type="body" sz="quarter" idx="83" hasCustomPrompt="1"/>
          </p:nvPr>
        </p:nvSpPr>
        <p:spPr>
          <a:xfrm>
            <a:off x="8991600" y="4128172"/>
            <a:ext cx="2240916" cy="675076"/>
          </a:xfrm>
        </p:spPr>
        <p:txBody>
          <a:bodyPr>
            <a:normAutofit/>
          </a:bodyPr>
          <a:lstStyle>
            <a:lvl1pPr algn="l">
              <a:defRPr sz="1000" b="0">
                <a:solidFill>
                  <a:schemeClr val="bg2"/>
                </a:solidFill>
              </a:defRPr>
            </a:lvl1pPr>
          </a:lstStyle>
          <a:p>
            <a:pPr lvl="0"/>
            <a:r>
              <a:rPr lang="en-US"/>
              <a:t>Lorem ipsum dolor</a:t>
            </a:r>
          </a:p>
        </p:txBody>
      </p:sp>
      <p:sp>
        <p:nvSpPr>
          <p:cNvPr id="128" name="Text Placeholder 49">
            <a:extLst>
              <a:ext uri="{FF2B5EF4-FFF2-40B4-BE49-F238E27FC236}">
                <a16:creationId xmlns:a16="http://schemas.microsoft.com/office/drawing/2014/main" id="{B31A6296-9F57-C9F7-3AA4-539CA1C09AB7}"/>
              </a:ext>
            </a:extLst>
          </p:cNvPr>
          <p:cNvSpPr>
            <a:spLocks noGrp="1"/>
          </p:cNvSpPr>
          <p:nvPr>
            <p:ph type="body" sz="quarter" idx="84" hasCustomPrompt="1"/>
          </p:nvPr>
        </p:nvSpPr>
        <p:spPr>
          <a:xfrm>
            <a:off x="8991600" y="5199103"/>
            <a:ext cx="2221176" cy="692542"/>
          </a:xfrm>
        </p:spPr>
        <p:txBody>
          <a:bodyPr>
            <a:normAutofit/>
          </a:bodyPr>
          <a:lstStyle>
            <a:lvl1pPr algn="l">
              <a:defRPr sz="1000" b="0">
                <a:solidFill>
                  <a:schemeClr val="bg2"/>
                </a:solidFill>
              </a:defRPr>
            </a:lvl1pPr>
          </a:lstStyle>
          <a:p>
            <a:pPr lvl="0"/>
            <a:r>
              <a:rPr lang="en-US"/>
              <a:t>Lorem ipsum dolor</a:t>
            </a:r>
          </a:p>
        </p:txBody>
      </p:sp>
    </p:spTree>
    <p:extLst>
      <p:ext uri="{BB962C8B-B14F-4D97-AF65-F5344CB8AC3E}">
        <p14:creationId xmlns:p14="http://schemas.microsoft.com/office/powerpoint/2010/main" val="332645476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elve point lis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grpSp>
        <p:nvGrpSpPr>
          <p:cNvPr id="28" name="Group 27">
            <a:extLst>
              <a:ext uri="{FF2B5EF4-FFF2-40B4-BE49-F238E27FC236}">
                <a16:creationId xmlns:a16="http://schemas.microsoft.com/office/drawing/2014/main" id="{76D6F666-A467-A7AE-18CA-F40CB03077F3}"/>
              </a:ext>
            </a:extLst>
          </p:cNvPr>
          <p:cNvGrpSpPr/>
          <p:nvPr/>
        </p:nvGrpSpPr>
        <p:grpSpPr>
          <a:xfrm>
            <a:off x="8057122" y="1981200"/>
            <a:ext cx="3402177" cy="987865"/>
            <a:chOff x="550863" y="1700213"/>
            <a:chExt cx="3534249" cy="1026214"/>
          </a:xfrm>
        </p:grpSpPr>
        <p:sp>
          <p:nvSpPr>
            <p:cNvPr id="89" name="Rectangle 88">
              <a:extLst>
                <a:ext uri="{FF2B5EF4-FFF2-40B4-BE49-F238E27FC236}">
                  <a16:creationId xmlns:a16="http://schemas.microsoft.com/office/drawing/2014/main" id="{8D03DB27-C85E-7D54-D16F-8ED53B569CA8}"/>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44000" rIns="144000" bIns="144000" rtlCol="0" anchor="t" anchorCtr="0">
              <a:normAutofit/>
            </a:bodyPr>
            <a:lstStyle/>
            <a:p>
              <a:endParaRPr lang="en-GB" sz="1400">
                <a:solidFill>
                  <a:schemeClr val="bg1"/>
                </a:solidFill>
              </a:endParaRPr>
            </a:p>
          </p:txBody>
        </p:sp>
        <p:sp>
          <p:nvSpPr>
            <p:cNvPr id="90" name="Card 89">
              <a:extLst>
                <a:ext uri="{FF2B5EF4-FFF2-40B4-BE49-F238E27FC236}">
                  <a16:creationId xmlns:a16="http://schemas.microsoft.com/office/drawing/2014/main" id="{BCDD9DA7-D9A1-F288-FC26-91D2A6D0F9D3}"/>
                </a:ext>
              </a:extLst>
            </p:cNvPr>
            <p:cNvSpPr/>
            <p:nvPr/>
          </p:nvSpPr>
          <p:spPr>
            <a:xfrm flipH="1">
              <a:off x="550863" y="1700213"/>
              <a:ext cx="1029892" cy="1026214"/>
            </a:xfrm>
            <a:prstGeom prst="flowChartPunchedCar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3</a:t>
              </a:r>
            </a:p>
          </p:txBody>
        </p:sp>
      </p:grpSp>
      <p:grpSp>
        <p:nvGrpSpPr>
          <p:cNvPr id="29" name="Group 28">
            <a:extLst>
              <a:ext uri="{FF2B5EF4-FFF2-40B4-BE49-F238E27FC236}">
                <a16:creationId xmlns:a16="http://schemas.microsoft.com/office/drawing/2014/main" id="{AC743589-AEC9-8AEF-D1EB-BE5C926E399F}"/>
              </a:ext>
            </a:extLst>
          </p:cNvPr>
          <p:cNvGrpSpPr/>
          <p:nvPr/>
        </p:nvGrpSpPr>
        <p:grpSpPr>
          <a:xfrm>
            <a:off x="4457182" y="1981200"/>
            <a:ext cx="3402177" cy="987865"/>
            <a:chOff x="550863" y="1700213"/>
            <a:chExt cx="3534249" cy="1026214"/>
          </a:xfrm>
        </p:grpSpPr>
        <p:sp>
          <p:nvSpPr>
            <p:cNvPr id="84" name="Rectangle 83">
              <a:extLst>
                <a:ext uri="{FF2B5EF4-FFF2-40B4-BE49-F238E27FC236}">
                  <a16:creationId xmlns:a16="http://schemas.microsoft.com/office/drawing/2014/main" id="{042C7B8A-963F-8D70-BC0C-03DB17EB045C}"/>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86" name="Card 85">
              <a:extLst>
                <a:ext uri="{FF2B5EF4-FFF2-40B4-BE49-F238E27FC236}">
                  <a16:creationId xmlns:a16="http://schemas.microsoft.com/office/drawing/2014/main" id="{5E40E996-431E-5461-AF75-B143A177383A}"/>
                </a:ext>
              </a:extLst>
            </p:cNvPr>
            <p:cNvSpPr/>
            <p:nvPr/>
          </p:nvSpPr>
          <p:spPr>
            <a:xfrm flipH="1">
              <a:off x="550863" y="1700213"/>
              <a:ext cx="1029892" cy="1026214"/>
            </a:xfrm>
            <a:prstGeom prst="flowChartPunchedCar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2</a:t>
              </a:r>
            </a:p>
          </p:txBody>
        </p:sp>
      </p:grpSp>
      <p:grpSp>
        <p:nvGrpSpPr>
          <p:cNvPr id="30" name="Group 29">
            <a:extLst>
              <a:ext uri="{FF2B5EF4-FFF2-40B4-BE49-F238E27FC236}">
                <a16:creationId xmlns:a16="http://schemas.microsoft.com/office/drawing/2014/main" id="{5F38F6A0-9DA5-3DF4-FFA0-A405D9A26BA3}"/>
              </a:ext>
            </a:extLst>
          </p:cNvPr>
          <p:cNvGrpSpPr/>
          <p:nvPr/>
        </p:nvGrpSpPr>
        <p:grpSpPr>
          <a:xfrm>
            <a:off x="857130" y="1981200"/>
            <a:ext cx="3402177" cy="987865"/>
            <a:chOff x="550863" y="1700213"/>
            <a:chExt cx="3534249" cy="1026214"/>
          </a:xfrm>
        </p:grpSpPr>
        <p:sp>
          <p:nvSpPr>
            <p:cNvPr id="82" name="Rectangle 81">
              <a:extLst>
                <a:ext uri="{FF2B5EF4-FFF2-40B4-BE49-F238E27FC236}">
                  <a16:creationId xmlns:a16="http://schemas.microsoft.com/office/drawing/2014/main" id="{654222EC-625C-53D8-5E8A-8D9DE605C1A8}"/>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83" name="Card 82">
              <a:extLst>
                <a:ext uri="{FF2B5EF4-FFF2-40B4-BE49-F238E27FC236}">
                  <a16:creationId xmlns:a16="http://schemas.microsoft.com/office/drawing/2014/main" id="{BF4F0515-2CDD-3C65-09E6-744948EF1D17}"/>
                </a:ext>
              </a:extLst>
            </p:cNvPr>
            <p:cNvSpPr/>
            <p:nvPr/>
          </p:nvSpPr>
          <p:spPr>
            <a:xfrm flipH="1">
              <a:off x="550863" y="1700213"/>
              <a:ext cx="1029892" cy="1026214"/>
            </a:xfrm>
            <a:prstGeom prst="flowChartPunchedCar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1</a:t>
              </a:r>
            </a:p>
          </p:txBody>
        </p:sp>
      </p:grpSp>
      <p:grpSp>
        <p:nvGrpSpPr>
          <p:cNvPr id="31" name="Group 30">
            <a:extLst>
              <a:ext uri="{FF2B5EF4-FFF2-40B4-BE49-F238E27FC236}">
                <a16:creationId xmlns:a16="http://schemas.microsoft.com/office/drawing/2014/main" id="{F6E43DCE-4D07-46EC-EA2F-750B5FE1B7B8}"/>
              </a:ext>
            </a:extLst>
          </p:cNvPr>
          <p:cNvGrpSpPr/>
          <p:nvPr/>
        </p:nvGrpSpPr>
        <p:grpSpPr>
          <a:xfrm>
            <a:off x="8057122" y="3054804"/>
            <a:ext cx="3402177" cy="987865"/>
            <a:chOff x="550863" y="1700213"/>
            <a:chExt cx="3534249" cy="1026214"/>
          </a:xfrm>
        </p:grpSpPr>
        <p:sp>
          <p:nvSpPr>
            <p:cNvPr id="80" name="Rectangle 79">
              <a:extLst>
                <a:ext uri="{FF2B5EF4-FFF2-40B4-BE49-F238E27FC236}">
                  <a16:creationId xmlns:a16="http://schemas.microsoft.com/office/drawing/2014/main" id="{A634121B-E3C9-4C70-13A1-C81808A6998B}"/>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44000" rIns="144000" bIns="144000" rtlCol="0" anchor="t" anchorCtr="0">
              <a:normAutofit/>
            </a:bodyPr>
            <a:lstStyle/>
            <a:p>
              <a:endParaRPr lang="en-GB" sz="1400">
                <a:solidFill>
                  <a:schemeClr val="bg1"/>
                </a:solidFill>
              </a:endParaRPr>
            </a:p>
          </p:txBody>
        </p:sp>
        <p:sp>
          <p:nvSpPr>
            <p:cNvPr id="81" name="Card 80">
              <a:extLst>
                <a:ext uri="{FF2B5EF4-FFF2-40B4-BE49-F238E27FC236}">
                  <a16:creationId xmlns:a16="http://schemas.microsoft.com/office/drawing/2014/main" id="{BC875F70-423F-5DB1-0354-F84D0596D64E}"/>
                </a:ext>
              </a:extLst>
            </p:cNvPr>
            <p:cNvSpPr/>
            <p:nvPr/>
          </p:nvSpPr>
          <p:spPr>
            <a:xfrm flipH="1">
              <a:off x="550863" y="1700213"/>
              <a:ext cx="1029892" cy="1026214"/>
            </a:xfrm>
            <a:prstGeom prst="flowChartPunchedCar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6</a:t>
              </a:r>
            </a:p>
          </p:txBody>
        </p:sp>
      </p:grpSp>
      <p:grpSp>
        <p:nvGrpSpPr>
          <p:cNvPr id="32" name="Group 31">
            <a:extLst>
              <a:ext uri="{FF2B5EF4-FFF2-40B4-BE49-F238E27FC236}">
                <a16:creationId xmlns:a16="http://schemas.microsoft.com/office/drawing/2014/main" id="{A64E5C0B-E9BC-FD4E-D982-A568C08618F8}"/>
              </a:ext>
            </a:extLst>
          </p:cNvPr>
          <p:cNvGrpSpPr/>
          <p:nvPr/>
        </p:nvGrpSpPr>
        <p:grpSpPr>
          <a:xfrm>
            <a:off x="4457182" y="3054804"/>
            <a:ext cx="3402177" cy="987865"/>
            <a:chOff x="550863" y="1700213"/>
            <a:chExt cx="3534249" cy="1026214"/>
          </a:xfrm>
        </p:grpSpPr>
        <p:sp>
          <p:nvSpPr>
            <p:cNvPr id="78" name="Rectangle 77">
              <a:extLst>
                <a:ext uri="{FF2B5EF4-FFF2-40B4-BE49-F238E27FC236}">
                  <a16:creationId xmlns:a16="http://schemas.microsoft.com/office/drawing/2014/main" id="{36BA59A9-0A4C-28F2-1302-FF751EF393F7}"/>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79" name="Card 78">
              <a:extLst>
                <a:ext uri="{FF2B5EF4-FFF2-40B4-BE49-F238E27FC236}">
                  <a16:creationId xmlns:a16="http://schemas.microsoft.com/office/drawing/2014/main" id="{B365C231-BFE2-4BD8-5E04-58A087F637AC}"/>
                </a:ext>
              </a:extLst>
            </p:cNvPr>
            <p:cNvSpPr/>
            <p:nvPr/>
          </p:nvSpPr>
          <p:spPr>
            <a:xfrm flipH="1">
              <a:off x="550863" y="1700213"/>
              <a:ext cx="1029892" cy="1026214"/>
            </a:xfrm>
            <a:prstGeom prst="flowChartPunchedCar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5</a:t>
              </a:r>
            </a:p>
          </p:txBody>
        </p:sp>
      </p:grpSp>
      <p:grpSp>
        <p:nvGrpSpPr>
          <p:cNvPr id="33" name="Group 32">
            <a:extLst>
              <a:ext uri="{FF2B5EF4-FFF2-40B4-BE49-F238E27FC236}">
                <a16:creationId xmlns:a16="http://schemas.microsoft.com/office/drawing/2014/main" id="{87615C5B-9DAE-510E-F38F-DF1C92FC0B20}"/>
              </a:ext>
            </a:extLst>
          </p:cNvPr>
          <p:cNvGrpSpPr/>
          <p:nvPr/>
        </p:nvGrpSpPr>
        <p:grpSpPr>
          <a:xfrm>
            <a:off x="857130" y="3054804"/>
            <a:ext cx="3402177" cy="987865"/>
            <a:chOff x="550863" y="1700213"/>
            <a:chExt cx="3534249" cy="1026214"/>
          </a:xfrm>
        </p:grpSpPr>
        <p:sp>
          <p:nvSpPr>
            <p:cNvPr id="71" name="Rectangle 70">
              <a:extLst>
                <a:ext uri="{FF2B5EF4-FFF2-40B4-BE49-F238E27FC236}">
                  <a16:creationId xmlns:a16="http://schemas.microsoft.com/office/drawing/2014/main" id="{E4BF8696-E682-16A7-2D46-0FE1D1C0197E}"/>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75" name="Card 74">
              <a:extLst>
                <a:ext uri="{FF2B5EF4-FFF2-40B4-BE49-F238E27FC236}">
                  <a16:creationId xmlns:a16="http://schemas.microsoft.com/office/drawing/2014/main" id="{98F5CBCA-AAD6-C5A3-E14D-CF792C8F80E6}"/>
                </a:ext>
              </a:extLst>
            </p:cNvPr>
            <p:cNvSpPr/>
            <p:nvPr/>
          </p:nvSpPr>
          <p:spPr>
            <a:xfrm flipH="1">
              <a:off x="550863" y="1700213"/>
              <a:ext cx="1029892" cy="1026214"/>
            </a:xfrm>
            <a:prstGeom prst="flowChartPunchedCar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4</a:t>
              </a:r>
            </a:p>
          </p:txBody>
        </p:sp>
      </p:grpSp>
      <p:grpSp>
        <p:nvGrpSpPr>
          <p:cNvPr id="34" name="Group 33">
            <a:extLst>
              <a:ext uri="{FF2B5EF4-FFF2-40B4-BE49-F238E27FC236}">
                <a16:creationId xmlns:a16="http://schemas.microsoft.com/office/drawing/2014/main" id="{D034E8A1-3CD0-B0AF-12BE-2C4422D1F53D}"/>
              </a:ext>
            </a:extLst>
          </p:cNvPr>
          <p:cNvGrpSpPr/>
          <p:nvPr/>
        </p:nvGrpSpPr>
        <p:grpSpPr>
          <a:xfrm>
            <a:off x="8057122" y="4128408"/>
            <a:ext cx="3402177" cy="987865"/>
            <a:chOff x="550863" y="1700213"/>
            <a:chExt cx="3534249" cy="1026214"/>
          </a:xfrm>
        </p:grpSpPr>
        <p:sp>
          <p:nvSpPr>
            <p:cNvPr id="68" name="Rectangle 67">
              <a:extLst>
                <a:ext uri="{FF2B5EF4-FFF2-40B4-BE49-F238E27FC236}">
                  <a16:creationId xmlns:a16="http://schemas.microsoft.com/office/drawing/2014/main" id="{01BC83C9-6737-80E9-0B98-1CF5D8C18146}"/>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44000" rIns="144000" bIns="144000" rtlCol="0" anchor="t" anchorCtr="0">
              <a:normAutofit/>
            </a:bodyPr>
            <a:lstStyle/>
            <a:p>
              <a:endParaRPr lang="en-GB" sz="1400">
                <a:solidFill>
                  <a:schemeClr val="bg1"/>
                </a:solidFill>
              </a:endParaRPr>
            </a:p>
          </p:txBody>
        </p:sp>
        <p:sp>
          <p:nvSpPr>
            <p:cNvPr id="69" name="Card 68">
              <a:extLst>
                <a:ext uri="{FF2B5EF4-FFF2-40B4-BE49-F238E27FC236}">
                  <a16:creationId xmlns:a16="http://schemas.microsoft.com/office/drawing/2014/main" id="{F39AB39C-A135-367D-1619-99C47BF9CB2D}"/>
                </a:ext>
              </a:extLst>
            </p:cNvPr>
            <p:cNvSpPr/>
            <p:nvPr/>
          </p:nvSpPr>
          <p:spPr>
            <a:xfrm flipH="1">
              <a:off x="550863" y="1700213"/>
              <a:ext cx="1029892" cy="1026214"/>
            </a:xfrm>
            <a:prstGeom prst="flowChartPunchedCar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9</a:t>
              </a:r>
            </a:p>
          </p:txBody>
        </p:sp>
      </p:grpSp>
      <p:grpSp>
        <p:nvGrpSpPr>
          <p:cNvPr id="36" name="Group 35">
            <a:extLst>
              <a:ext uri="{FF2B5EF4-FFF2-40B4-BE49-F238E27FC236}">
                <a16:creationId xmlns:a16="http://schemas.microsoft.com/office/drawing/2014/main" id="{78A1A5C5-0CCA-12DD-9E45-75B3058A7233}"/>
              </a:ext>
            </a:extLst>
          </p:cNvPr>
          <p:cNvGrpSpPr/>
          <p:nvPr/>
        </p:nvGrpSpPr>
        <p:grpSpPr>
          <a:xfrm>
            <a:off x="4457182" y="4128408"/>
            <a:ext cx="3402177" cy="987865"/>
            <a:chOff x="550863" y="1700213"/>
            <a:chExt cx="3534249" cy="1026214"/>
          </a:xfrm>
        </p:grpSpPr>
        <p:sp>
          <p:nvSpPr>
            <p:cNvPr id="64" name="Rectangle 63">
              <a:extLst>
                <a:ext uri="{FF2B5EF4-FFF2-40B4-BE49-F238E27FC236}">
                  <a16:creationId xmlns:a16="http://schemas.microsoft.com/office/drawing/2014/main" id="{E94825F4-7AF9-0621-7524-4B7A4EEC0B1F}"/>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65" name="Card 64">
              <a:extLst>
                <a:ext uri="{FF2B5EF4-FFF2-40B4-BE49-F238E27FC236}">
                  <a16:creationId xmlns:a16="http://schemas.microsoft.com/office/drawing/2014/main" id="{71F5E690-1BEE-0337-E55F-E2CE69F13998}"/>
                </a:ext>
              </a:extLst>
            </p:cNvPr>
            <p:cNvSpPr/>
            <p:nvPr/>
          </p:nvSpPr>
          <p:spPr>
            <a:xfrm flipH="1">
              <a:off x="550863" y="1700213"/>
              <a:ext cx="1029892" cy="1026214"/>
            </a:xfrm>
            <a:prstGeom prst="flowChartPunchedCar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8</a:t>
              </a:r>
            </a:p>
          </p:txBody>
        </p:sp>
      </p:grpSp>
      <p:grpSp>
        <p:nvGrpSpPr>
          <p:cNvPr id="40" name="Group 39">
            <a:extLst>
              <a:ext uri="{FF2B5EF4-FFF2-40B4-BE49-F238E27FC236}">
                <a16:creationId xmlns:a16="http://schemas.microsoft.com/office/drawing/2014/main" id="{3051805C-FE4E-A448-4D56-88B3B2AE46AF}"/>
              </a:ext>
            </a:extLst>
          </p:cNvPr>
          <p:cNvGrpSpPr/>
          <p:nvPr/>
        </p:nvGrpSpPr>
        <p:grpSpPr>
          <a:xfrm>
            <a:off x="857130" y="4128408"/>
            <a:ext cx="3402177" cy="987865"/>
            <a:chOff x="550863" y="1700213"/>
            <a:chExt cx="3534249" cy="1026214"/>
          </a:xfrm>
        </p:grpSpPr>
        <p:sp>
          <p:nvSpPr>
            <p:cNvPr id="62" name="Rectangle 61">
              <a:extLst>
                <a:ext uri="{FF2B5EF4-FFF2-40B4-BE49-F238E27FC236}">
                  <a16:creationId xmlns:a16="http://schemas.microsoft.com/office/drawing/2014/main" id="{7886F8A3-2FFA-D0A2-4627-4C2A52463D14}"/>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63" name="Card 62">
              <a:extLst>
                <a:ext uri="{FF2B5EF4-FFF2-40B4-BE49-F238E27FC236}">
                  <a16:creationId xmlns:a16="http://schemas.microsoft.com/office/drawing/2014/main" id="{8D24B4B5-2408-B082-2C45-8EEFC03EB9A7}"/>
                </a:ext>
              </a:extLst>
            </p:cNvPr>
            <p:cNvSpPr/>
            <p:nvPr/>
          </p:nvSpPr>
          <p:spPr>
            <a:xfrm flipH="1">
              <a:off x="550863" y="1700213"/>
              <a:ext cx="1029892" cy="1026214"/>
            </a:xfrm>
            <a:prstGeom prst="flowChartPunchedCard">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07</a:t>
              </a:r>
            </a:p>
          </p:txBody>
        </p:sp>
      </p:grpSp>
      <p:grpSp>
        <p:nvGrpSpPr>
          <p:cNvPr id="44" name="Group 43">
            <a:extLst>
              <a:ext uri="{FF2B5EF4-FFF2-40B4-BE49-F238E27FC236}">
                <a16:creationId xmlns:a16="http://schemas.microsoft.com/office/drawing/2014/main" id="{ECA135B4-E018-1238-E900-83B0CCCEC3D6}"/>
              </a:ext>
            </a:extLst>
          </p:cNvPr>
          <p:cNvGrpSpPr/>
          <p:nvPr/>
        </p:nvGrpSpPr>
        <p:grpSpPr>
          <a:xfrm>
            <a:off x="8057122" y="5202011"/>
            <a:ext cx="3402177" cy="987865"/>
            <a:chOff x="550863" y="1700213"/>
            <a:chExt cx="3534249" cy="1026214"/>
          </a:xfrm>
        </p:grpSpPr>
        <p:sp>
          <p:nvSpPr>
            <p:cNvPr id="59" name="Rectangle 58">
              <a:extLst>
                <a:ext uri="{FF2B5EF4-FFF2-40B4-BE49-F238E27FC236}">
                  <a16:creationId xmlns:a16="http://schemas.microsoft.com/office/drawing/2014/main" id="{3B755E42-2712-CC52-7267-02677AF4D90E}"/>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44000" rIns="144000" bIns="144000" rtlCol="0" anchor="t" anchorCtr="0">
              <a:normAutofit/>
            </a:bodyPr>
            <a:lstStyle/>
            <a:p>
              <a:endParaRPr lang="en-GB" sz="1400">
                <a:solidFill>
                  <a:schemeClr val="bg1"/>
                </a:solidFill>
              </a:endParaRPr>
            </a:p>
          </p:txBody>
        </p:sp>
        <p:sp>
          <p:nvSpPr>
            <p:cNvPr id="61" name="Card 60">
              <a:extLst>
                <a:ext uri="{FF2B5EF4-FFF2-40B4-BE49-F238E27FC236}">
                  <a16:creationId xmlns:a16="http://schemas.microsoft.com/office/drawing/2014/main" id="{3ACB43F5-ED9A-31A8-1560-C3FA39FA4A05}"/>
                </a:ext>
              </a:extLst>
            </p:cNvPr>
            <p:cNvSpPr/>
            <p:nvPr/>
          </p:nvSpPr>
          <p:spPr>
            <a:xfrm flipH="1">
              <a:off x="550863" y="1700213"/>
              <a:ext cx="1029892" cy="1026214"/>
            </a:xfrm>
            <a:prstGeom prst="flowChartPunchedCard">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12</a:t>
              </a:r>
            </a:p>
          </p:txBody>
        </p:sp>
      </p:grpSp>
      <p:grpSp>
        <p:nvGrpSpPr>
          <p:cNvPr id="48" name="Group 47">
            <a:extLst>
              <a:ext uri="{FF2B5EF4-FFF2-40B4-BE49-F238E27FC236}">
                <a16:creationId xmlns:a16="http://schemas.microsoft.com/office/drawing/2014/main" id="{CF63F93C-6333-E8CA-383F-45D16A25562D}"/>
              </a:ext>
            </a:extLst>
          </p:cNvPr>
          <p:cNvGrpSpPr/>
          <p:nvPr/>
        </p:nvGrpSpPr>
        <p:grpSpPr>
          <a:xfrm>
            <a:off x="4457182" y="5202011"/>
            <a:ext cx="3402177" cy="987865"/>
            <a:chOff x="550863" y="1700213"/>
            <a:chExt cx="3534249" cy="1026214"/>
          </a:xfrm>
        </p:grpSpPr>
        <p:sp>
          <p:nvSpPr>
            <p:cNvPr id="54" name="Rectangle 53">
              <a:extLst>
                <a:ext uri="{FF2B5EF4-FFF2-40B4-BE49-F238E27FC236}">
                  <a16:creationId xmlns:a16="http://schemas.microsoft.com/office/drawing/2014/main" id="{2AC40071-6C7C-8C12-745C-43BDDAE55256}"/>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56" name="Card 55">
              <a:extLst>
                <a:ext uri="{FF2B5EF4-FFF2-40B4-BE49-F238E27FC236}">
                  <a16:creationId xmlns:a16="http://schemas.microsoft.com/office/drawing/2014/main" id="{005EC7FD-7467-1974-8B02-98A21B4DAFFC}"/>
                </a:ext>
              </a:extLst>
            </p:cNvPr>
            <p:cNvSpPr/>
            <p:nvPr/>
          </p:nvSpPr>
          <p:spPr>
            <a:xfrm flipH="1">
              <a:off x="550863" y="1700213"/>
              <a:ext cx="1029892" cy="1026214"/>
            </a:xfrm>
            <a:prstGeom prst="flowChartPunchedCar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11</a:t>
              </a:r>
            </a:p>
          </p:txBody>
        </p:sp>
      </p:grpSp>
      <p:grpSp>
        <p:nvGrpSpPr>
          <p:cNvPr id="51" name="Group 50">
            <a:extLst>
              <a:ext uri="{FF2B5EF4-FFF2-40B4-BE49-F238E27FC236}">
                <a16:creationId xmlns:a16="http://schemas.microsoft.com/office/drawing/2014/main" id="{F45D6C95-449B-B313-70D1-5B4D7CAE1B5A}"/>
              </a:ext>
            </a:extLst>
          </p:cNvPr>
          <p:cNvGrpSpPr/>
          <p:nvPr/>
        </p:nvGrpSpPr>
        <p:grpSpPr>
          <a:xfrm>
            <a:off x="857130" y="5202011"/>
            <a:ext cx="3402177" cy="987865"/>
            <a:chOff x="550863" y="1700213"/>
            <a:chExt cx="3534249" cy="1026214"/>
          </a:xfrm>
        </p:grpSpPr>
        <p:sp>
          <p:nvSpPr>
            <p:cNvPr id="52" name="Rectangle 51">
              <a:extLst>
                <a:ext uri="{FF2B5EF4-FFF2-40B4-BE49-F238E27FC236}">
                  <a16:creationId xmlns:a16="http://schemas.microsoft.com/office/drawing/2014/main" id="{AFC6381A-4AF9-445D-654D-4B42A9260E9A}"/>
                </a:ext>
              </a:extLst>
            </p:cNvPr>
            <p:cNvSpPr/>
            <p:nvPr/>
          </p:nvSpPr>
          <p:spPr>
            <a:xfrm>
              <a:off x="577365" y="1700213"/>
              <a:ext cx="3507747" cy="1020418"/>
            </a:xfrm>
            <a:prstGeom prst="rect">
              <a:avLst/>
            </a:prstGeom>
            <a:solidFill>
              <a:schemeClr val="tx1"/>
            </a:solidFill>
            <a:ln w="60325">
              <a:noFill/>
            </a:ln>
          </p:spPr>
          <p:style>
            <a:lnRef idx="2">
              <a:schemeClr val="accent1">
                <a:shade val="50000"/>
              </a:schemeClr>
            </a:lnRef>
            <a:fillRef idx="1">
              <a:schemeClr val="accent1"/>
            </a:fillRef>
            <a:effectRef idx="0">
              <a:schemeClr val="accent1"/>
            </a:effectRef>
            <a:fontRef idx="minor">
              <a:schemeClr val="lt1"/>
            </a:fontRef>
          </p:style>
          <p:txBody>
            <a:bodyPr lIns="1260000" tIns="108000" rIns="108000" bIns="108000" rtlCol="0" anchor="t" anchorCtr="0">
              <a:normAutofit/>
            </a:bodyPr>
            <a:lstStyle/>
            <a:p>
              <a:endParaRPr lang="en-GB" sz="1400">
                <a:solidFill>
                  <a:schemeClr val="bg1"/>
                </a:solidFill>
              </a:endParaRPr>
            </a:p>
          </p:txBody>
        </p:sp>
        <p:sp>
          <p:nvSpPr>
            <p:cNvPr id="53" name="Card 52">
              <a:extLst>
                <a:ext uri="{FF2B5EF4-FFF2-40B4-BE49-F238E27FC236}">
                  <a16:creationId xmlns:a16="http://schemas.microsoft.com/office/drawing/2014/main" id="{4118F3E4-D832-A0E7-AB1A-180A824508B7}"/>
                </a:ext>
              </a:extLst>
            </p:cNvPr>
            <p:cNvSpPr/>
            <p:nvPr/>
          </p:nvSpPr>
          <p:spPr>
            <a:xfrm flipH="1">
              <a:off x="550863" y="1700213"/>
              <a:ext cx="1029892" cy="1026214"/>
            </a:xfrm>
            <a:prstGeom prst="flowChartPunchedCar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251999" rtlCol="0" anchor="ctr">
              <a:noAutofit/>
            </a:bodyPr>
            <a:lstStyle/>
            <a:p>
              <a:pPr algn="ctr"/>
              <a:r>
                <a:rPr lang="en-US" sz="4000"/>
                <a:t>10</a:t>
              </a:r>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userDrawn="1">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welve points - list</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userDrawn="1">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userDrawn="1">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97" name="Text Placeholder 49">
            <a:extLst>
              <a:ext uri="{FF2B5EF4-FFF2-40B4-BE49-F238E27FC236}">
                <a16:creationId xmlns:a16="http://schemas.microsoft.com/office/drawing/2014/main" id="{A0846D4A-734A-D940-AE2D-D99E97C1495C}"/>
              </a:ext>
            </a:extLst>
          </p:cNvPr>
          <p:cNvSpPr>
            <a:spLocks noGrp="1"/>
          </p:cNvSpPr>
          <p:nvPr userDrawn="1">
            <p:ph type="body" sz="quarter" idx="61" hasCustomPrompt="1"/>
          </p:nvPr>
        </p:nvSpPr>
        <p:spPr>
          <a:xfrm>
            <a:off x="1968394" y="3194117"/>
            <a:ext cx="2221176" cy="228600"/>
          </a:xfrm>
        </p:spPr>
        <p:txBody>
          <a:bodyPr>
            <a:normAutofit/>
          </a:bodyPr>
          <a:lstStyle>
            <a:lvl1pPr algn="l">
              <a:defRPr sz="1200" b="1">
                <a:solidFill>
                  <a:schemeClr val="bg1"/>
                </a:solidFill>
              </a:defRPr>
            </a:lvl1pPr>
          </a:lstStyle>
          <a:p>
            <a:pPr lvl="0"/>
            <a:r>
              <a:rPr lang="en-US"/>
              <a:t>Lorem ipsum dolor</a:t>
            </a:r>
          </a:p>
        </p:txBody>
      </p:sp>
      <p:sp>
        <p:nvSpPr>
          <p:cNvPr id="98" name="Text Placeholder 49">
            <a:extLst>
              <a:ext uri="{FF2B5EF4-FFF2-40B4-BE49-F238E27FC236}">
                <a16:creationId xmlns:a16="http://schemas.microsoft.com/office/drawing/2014/main" id="{9BC44CB8-D6AE-AAAA-B95A-33E6DDFB900C}"/>
              </a:ext>
            </a:extLst>
          </p:cNvPr>
          <p:cNvSpPr>
            <a:spLocks noGrp="1"/>
          </p:cNvSpPr>
          <p:nvPr userDrawn="1">
            <p:ph type="body" sz="quarter" idx="62" hasCustomPrompt="1"/>
          </p:nvPr>
        </p:nvSpPr>
        <p:spPr>
          <a:xfrm>
            <a:off x="1968394" y="2102357"/>
            <a:ext cx="2240916" cy="183643"/>
          </a:xfrm>
        </p:spPr>
        <p:txBody>
          <a:bodyPr>
            <a:normAutofit/>
          </a:bodyPr>
          <a:lstStyle>
            <a:lvl1pPr algn="l">
              <a:defRPr sz="1200" b="1">
                <a:solidFill>
                  <a:schemeClr val="bg1"/>
                </a:solidFill>
              </a:defRPr>
            </a:lvl1pPr>
          </a:lstStyle>
          <a:p>
            <a:pPr lvl="0"/>
            <a:r>
              <a:rPr lang="en-US"/>
              <a:t>Lorem ipsum dolor</a:t>
            </a:r>
          </a:p>
        </p:txBody>
      </p:sp>
      <p:sp>
        <p:nvSpPr>
          <p:cNvPr id="100" name="Text Placeholder 49">
            <a:extLst>
              <a:ext uri="{FF2B5EF4-FFF2-40B4-BE49-F238E27FC236}">
                <a16:creationId xmlns:a16="http://schemas.microsoft.com/office/drawing/2014/main" id="{1AF969BF-D5AB-E723-C77E-039D9510A1CE}"/>
              </a:ext>
            </a:extLst>
          </p:cNvPr>
          <p:cNvSpPr>
            <a:spLocks noGrp="1"/>
          </p:cNvSpPr>
          <p:nvPr userDrawn="1">
            <p:ph type="body" sz="quarter" idx="63" hasCustomPrompt="1"/>
          </p:nvPr>
        </p:nvSpPr>
        <p:spPr>
          <a:xfrm>
            <a:off x="1968394" y="2286000"/>
            <a:ext cx="2240916" cy="609600"/>
          </a:xfrm>
        </p:spPr>
        <p:txBody>
          <a:bodyPr>
            <a:normAutofit/>
          </a:bodyPr>
          <a:lstStyle>
            <a:lvl1pPr algn="l">
              <a:defRPr sz="1000" b="0">
                <a:solidFill>
                  <a:schemeClr val="bg1"/>
                </a:solidFill>
              </a:defRPr>
            </a:lvl1pPr>
          </a:lstStyle>
          <a:p>
            <a:pPr lvl="0"/>
            <a:r>
              <a:rPr lang="en-US"/>
              <a:t>Lorem ipsum dolor</a:t>
            </a:r>
          </a:p>
        </p:txBody>
      </p:sp>
      <p:sp>
        <p:nvSpPr>
          <p:cNvPr id="101" name="Text Placeholder 49">
            <a:extLst>
              <a:ext uri="{FF2B5EF4-FFF2-40B4-BE49-F238E27FC236}">
                <a16:creationId xmlns:a16="http://schemas.microsoft.com/office/drawing/2014/main" id="{DCA7D340-9E33-47C7-8E5A-B7C43F8C6241}"/>
              </a:ext>
            </a:extLst>
          </p:cNvPr>
          <p:cNvSpPr>
            <a:spLocks noGrp="1"/>
          </p:cNvSpPr>
          <p:nvPr userDrawn="1">
            <p:ph type="body" sz="quarter" idx="64" hasCustomPrompt="1"/>
          </p:nvPr>
        </p:nvSpPr>
        <p:spPr>
          <a:xfrm>
            <a:off x="1968394" y="3443433"/>
            <a:ext cx="2221176" cy="540563"/>
          </a:xfrm>
        </p:spPr>
        <p:txBody>
          <a:bodyPr>
            <a:normAutofit/>
          </a:bodyPr>
          <a:lstStyle>
            <a:lvl1pPr algn="l">
              <a:defRPr sz="1000" b="0">
                <a:solidFill>
                  <a:schemeClr val="bg1"/>
                </a:solidFill>
              </a:defRPr>
            </a:lvl1pPr>
          </a:lstStyle>
          <a:p>
            <a:pPr lvl="0"/>
            <a:r>
              <a:rPr lang="en-US"/>
              <a:t>Lorem ipsum dolor</a:t>
            </a:r>
          </a:p>
        </p:txBody>
      </p:sp>
      <p:sp>
        <p:nvSpPr>
          <p:cNvPr id="106" name="Text Placeholder 49">
            <a:extLst>
              <a:ext uri="{FF2B5EF4-FFF2-40B4-BE49-F238E27FC236}">
                <a16:creationId xmlns:a16="http://schemas.microsoft.com/office/drawing/2014/main" id="{6D9D88DC-3006-E78E-FF98-8C9F6A963160}"/>
              </a:ext>
            </a:extLst>
          </p:cNvPr>
          <p:cNvSpPr>
            <a:spLocks noGrp="1"/>
          </p:cNvSpPr>
          <p:nvPr>
            <p:ph type="body" sz="quarter" idx="65" hasCustomPrompt="1"/>
          </p:nvPr>
        </p:nvSpPr>
        <p:spPr>
          <a:xfrm>
            <a:off x="1968394" y="5306121"/>
            <a:ext cx="2221176" cy="228600"/>
          </a:xfrm>
        </p:spPr>
        <p:txBody>
          <a:bodyPr>
            <a:normAutofit/>
          </a:bodyPr>
          <a:lstStyle>
            <a:lvl1pPr algn="l">
              <a:defRPr sz="1200" b="1">
                <a:solidFill>
                  <a:schemeClr val="bg1"/>
                </a:solidFill>
              </a:defRPr>
            </a:lvl1pPr>
          </a:lstStyle>
          <a:p>
            <a:pPr lvl="0"/>
            <a:r>
              <a:rPr lang="en-US"/>
              <a:t>Lorem ipsum dolor</a:t>
            </a:r>
          </a:p>
        </p:txBody>
      </p:sp>
      <p:sp>
        <p:nvSpPr>
          <p:cNvPr id="110" name="Text Placeholder 49">
            <a:extLst>
              <a:ext uri="{FF2B5EF4-FFF2-40B4-BE49-F238E27FC236}">
                <a16:creationId xmlns:a16="http://schemas.microsoft.com/office/drawing/2014/main" id="{6A6947C5-88FE-B0CA-BF96-051CB465EBF8}"/>
              </a:ext>
            </a:extLst>
          </p:cNvPr>
          <p:cNvSpPr>
            <a:spLocks noGrp="1"/>
          </p:cNvSpPr>
          <p:nvPr>
            <p:ph type="body" sz="quarter" idx="66" hasCustomPrompt="1"/>
          </p:nvPr>
        </p:nvSpPr>
        <p:spPr>
          <a:xfrm>
            <a:off x="1968394" y="4214361"/>
            <a:ext cx="2240916" cy="183643"/>
          </a:xfrm>
        </p:spPr>
        <p:txBody>
          <a:bodyPr>
            <a:normAutofit/>
          </a:bodyPr>
          <a:lstStyle>
            <a:lvl1pPr algn="l">
              <a:defRPr sz="1200" b="1">
                <a:solidFill>
                  <a:schemeClr val="bg1"/>
                </a:solidFill>
              </a:defRPr>
            </a:lvl1pPr>
          </a:lstStyle>
          <a:p>
            <a:pPr lvl="0"/>
            <a:r>
              <a:rPr lang="en-US"/>
              <a:t>Lorem ipsum dolor</a:t>
            </a:r>
          </a:p>
        </p:txBody>
      </p:sp>
      <p:sp>
        <p:nvSpPr>
          <p:cNvPr id="114" name="Text Placeholder 49">
            <a:extLst>
              <a:ext uri="{FF2B5EF4-FFF2-40B4-BE49-F238E27FC236}">
                <a16:creationId xmlns:a16="http://schemas.microsoft.com/office/drawing/2014/main" id="{36614019-C7E5-6767-ECB4-1B212FCC1B0E}"/>
              </a:ext>
            </a:extLst>
          </p:cNvPr>
          <p:cNvSpPr>
            <a:spLocks noGrp="1"/>
          </p:cNvSpPr>
          <p:nvPr>
            <p:ph type="body" sz="quarter" idx="67" hasCustomPrompt="1"/>
          </p:nvPr>
        </p:nvSpPr>
        <p:spPr>
          <a:xfrm>
            <a:off x="1968394" y="4398004"/>
            <a:ext cx="2240916" cy="609600"/>
          </a:xfrm>
        </p:spPr>
        <p:txBody>
          <a:bodyPr>
            <a:normAutofit/>
          </a:bodyPr>
          <a:lstStyle>
            <a:lvl1pPr algn="l">
              <a:defRPr sz="1000" b="0">
                <a:solidFill>
                  <a:schemeClr val="bg1"/>
                </a:solidFill>
              </a:defRPr>
            </a:lvl1pPr>
          </a:lstStyle>
          <a:p>
            <a:pPr lvl="0"/>
            <a:r>
              <a:rPr lang="en-US"/>
              <a:t>Lorem ipsum dolor</a:t>
            </a:r>
          </a:p>
        </p:txBody>
      </p:sp>
      <p:sp>
        <p:nvSpPr>
          <p:cNvPr id="117" name="Text Placeholder 49">
            <a:extLst>
              <a:ext uri="{FF2B5EF4-FFF2-40B4-BE49-F238E27FC236}">
                <a16:creationId xmlns:a16="http://schemas.microsoft.com/office/drawing/2014/main" id="{5DAF73CE-F7B8-E129-2F7F-ED8C0ECA96EF}"/>
              </a:ext>
            </a:extLst>
          </p:cNvPr>
          <p:cNvSpPr>
            <a:spLocks noGrp="1"/>
          </p:cNvSpPr>
          <p:nvPr>
            <p:ph type="body" sz="quarter" idx="68" hasCustomPrompt="1"/>
          </p:nvPr>
        </p:nvSpPr>
        <p:spPr>
          <a:xfrm>
            <a:off x="1968394" y="5555437"/>
            <a:ext cx="2221176" cy="540563"/>
          </a:xfrm>
        </p:spPr>
        <p:txBody>
          <a:bodyPr>
            <a:normAutofit/>
          </a:bodyPr>
          <a:lstStyle>
            <a:lvl1pPr algn="l">
              <a:defRPr sz="1000" b="0">
                <a:solidFill>
                  <a:schemeClr val="bg1"/>
                </a:solidFill>
              </a:defRPr>
            </a:lvl1pPr>
          </a:lstStyle>
          <a:p>
            <a:pPr lvl="0"/>
            <a:r>
              <a:rPr lang="en-US"/>
              <a:t>Lorem ipsum dolor</a:t>
            </a:r>
          </a:p>
        </p:txBody>
      </p:sp>
      <p:sp>
        <p:nvSpPr>
          <p:cNvPr id="118" name="Text Placeholder 49">
            <a:extLst>
              <a:ext uri="{FF2B5EF4-FFF2-40B4-BE49-F238E27FC236}">
                <a16:creationId xmlns:a16="http://schemas.microsoft.com/office/drawing/2014/main" id="{8502D42A-629A-3DDB-20E3-6EAD5E658D14}"/>
              </a:ext>
            </a:extLst>
          </p:cNvPr>
          <p:cNvSpPr>
            <a:spLocks noGrp="1"/>
          </p:cNvSpPr>
          <p:nvPr>
            <p:ph type="body" sz="quarter" idx="69" hasCustomPrompt="1"/>
          </p:nvPr>
        </p:nvSpPr>
        <p:spPr>
          <a:xfrm>
            <a:off x="5610810" y="3209487"/>
            <a:ext cx="2221176" cy="228600"/>
          </a:xfrm>
        </p:spPr>
        <p:txBody>
          <a:bodyPr>
            <a:normAutofit/>
          </a:bodyPr>
          <a:lstStyle>
            <a:lvl1pPr algn="l">
              <a:defRPr sz="1200" b="1">
                <a:solidFill>
                  <a:schemeClr val="bg1"/>
                </a:solidFill>
              </a:defRPr>
            </a:lvl1pPr>
          </a:lstStyle>
          <a:p>
            <a:pPr lvl="0"/>
            <a:r>
              <a:rPr lang="en-US"/>
              <a:t>Lorem ipsum dolor</a:t>
            </a:r>
          </a:p>
        </p:txBody>
      </p:sp>
      <p:sp>
        <p:nvSpPr>
          <p:cNvPr id="119" name="Text Placeholder 49">
            <a:extLst>
              <a:ext uri="{FF2B5EF4-FFF2-40B4-BE49-F238E27FC236}">
                <a16:creationId xmlns:a16="http://schemas.microsoft.com/office/drawing/2014/main" id="{29582379-C36A-9FC5-FE82-C8271F82FEE6}"/>
              </a:ext>
            </a:extLst>
          </p:cNvPr>
          <p:cNvSpPr>
            <a:spLocks noGrp="1"/>
          </p:cNvSpPr>
          <p:nvPr>
            <p:ph type="body" sz="quarter" idx="70" hasCustomPrompt="1"/>
          </p:nvPr>
        </p:nvSpPr>
        <p:spPr>
          <a:xfrm>
            <a:off x="5610810" y="2117727"/>
            <a:ext cx="2240916" cy="183643"/>
          </a:xfrm>
        </p:spPr>
        <p:txBody>
          <a:bodyPr>
            <a:normAutofit/>
          </a:bodyPr>
          <a:lstStyle>
            <a:lvl1pPr algn="l">
              <a:defRPr sz="1200" b="1">
                <a:solidFill>
                  <a:schemeClr val="bg1"/>
                </a:solidFill>
              </a:defRPr>
            </a:lvl1pPr>
          </a:lstStyle>
          <a:p>
            <a:pPr lvl="0"/>
            <a:r>
              <a:rPr lang="en-US"/>
              <a:t>Lorem ipsum dolor</a:t>
            </a:r>
          </a:p>
        </p:txBody>
      </p:sp>
      <p:sp>
        <p:nvSpPr>
          <p:cNvPr id="120" name="Text Placeholder 49">
            <a:extLst>
              <a:ext uri="{FF2B5EF4-FFF2-40B4-BE49-F238E27FC236}">
                <a16:creationId xmlns:a16="http://schemas.microsoft.com/office/drawing/2014/main" id="{C55F56F7-5B47-20BE-EA46-5C7C99444F2E}"/>
              </a:ext>
            </a:extLst>
          </p:cNvPr>
          <p:cNvSpPr>
            <a:spLocks noGrp="1"/>
          </p:cNvSpPr>
          <p:nvPr>
            <p:ph type="body" sz="quarter" idx="71" hasCustomPrompt="1"/>
          </p:nvPr>
        </p:nvSpPr>
        <p:spPr>
          <a:xfrm>
            <a:off x="5610810" y="2301370"/>
            <a:ext cx="2240916" cy="609600"/>
          </a:xfrm>
        </p:spPr>
        <p:txBody>
          <a:bodyPr>
            <a:normAutofit/>
          </a:bodyPr>
          <a:lstStyle>
            <a:lvl1pPr algn="l">
              <a:defRPr sz="1000" b="0">
                <a:solidFill>
                  <a:schemeClr val="bg1"/>
                </a:solidFill>
              </a:defRPr>
            </a:lvl1pPr>
          </a:lstStyle>
          <a:p>
            <a:pPr lvl="0"/>
            <a:r>
              <a:rPr lang="en-US"/>
              <a:t>Lorem ipsum dolor</a:t>
            </a:r>
          </a:p>
        </p:txBody>
      </p:sp>
      <p:sp>
        <p:nvSpPr>
          <p:cNvPr id="121" name="Text Placeholder 49">
            <a:extLst>
              <a:ext uri="{FF2B5EF4-FFF2-40B4-BE49-F238E27FC236}">
                <a16:creationId xmlns:a16="http://schemas.microsoft.com/office/drawing/2014/main" id="{09B653C1-F6A6-A6EC-6F8D-4EED05A76ECD}"/>
              </a:ext>
            </a:extLst>
          </p:cNvPr>
          <p:cNvSpPr>
            <a:spLocks noGrp="1"/>
          </p:cNvSpPr>
          <p:nvPr>
            <p:ph type="body" sz="quarter" idx="72" hasCustomPrompt="1"/>
          </p:nvPr>
        </p:nvSpPr>
        <p:spPr>
          <a:xfrm>
            <a:off x="5610810" y="3458803"/>
            <a:ext cx="2221176" cy="540563"/>
          </a:xfrm>
        </p:spPr>
        <p:txBody>
          <a:bodyPr>
            <a:normAutofit/>
          </a:bodyPr>
          <a:lstStyle>
            <a:lvl1pPr algn="l">
              <a:defRPr sz="1000" b="0">
                <a:solidFill>
                  <a:schemeClr val="bg1"/>
                </a:solidFill>
              </a:defRPr>
            </a:lvl1pPr>
          </a:lstStyle>
          <a:p>
            <a:pPr lvl="0"/>
            <a:r>
              <a:rPr lang="en-US"/>
              <a:t>Lorem ipsum dolor</a:t>
            </a:r>
          </a:p>
        </p:txBody>
      </p:sp>
      <p:sp>
        <p:nvSpPr>
          <p:cNvPr id="122" name="Text Placeholder 49">
            <a:extLst>
              <a:ext uri="{FF2B5EF4-FFF2-40B4-BE49-F238E27FC236}">
                <a16:creationId xmlns:a16="http://schemas.microsoft.com/office/drawing/2014/main" id="{ED72D208-4BED-732A-AB00-A614585CA533}"/>
              </a:ext>
            </a:extLst>
          </p:cNvPr>
          <p:cNvSpPr>
            <a:spLocks noGrp="1"/>
          </p:cNvSpPr>
          <p:nvPr>
            <p:ph type="body" sz="quarter" idx="73" hasCustomPrompt="1"/>
          </p:nvPr>
        </p:nvSpPr>
        <p:spPr>
          <a:xfrm>
            <a:off x="5610810" y="5321491"/>
            <a:ext cx="2221176" cy="228600"/>
          </a:xfrm>
        </p:spPr>
        <p:txBody>
          <a:bodyPr>
            <a:normAutofit/>
          </a:bodyPr>
          <a:lstStyle>
            <a:lvl1pPr algn="l">
              <a:defRPr sz="1200" b="1">
                <a:solidFill>
                  <a:schemeClr val="bg1"/>
                </a:solidFill>
              </a:defRPr>
            </a:lvl1pPr>
          </a:lstStyle>
          <a:p>
            <a:pPr lvl="0"/>
            <a:r>
              <a:rPr lang="en-US"/>
              <a:t>Lorem ipsum dolor</a:t>
            </a:r>
          </a:p>
        </p:txBody>
      </p:sp>
      <p:sp>
        <p:nvSpPr>
          <p:cNvPr id="123" name="Text Placeholder 49">
            <a:extLst>
              <a:ext uri="{FF2B5EF4-FFF2-40B4-BE49-F238E27FC236}">
                <a16:creationId xmlns:a16="http://schemas.microsoft.com/office/drawing/2014/main" id="{6EE829C5-A7CD-20B8-78D6-07C66D2BB8CA}"/>
              </a:ext>
            </a:extLst>
          </p:cNvPr>
          <p:cNvSpPr>
            <a:spLocks noGrp="1"/>
          </p:cNvSpPr>
          <p:nvPr>
            <p:ph type="body" sz="quarter" idx="74" hasCustomPrompt="1"/>
          </p:nvPr>
        </p:nvSpPr>
        <p:spPr>
          <a:xfrm>
            <a:off x="5610810" y="4229731"/>
            <a:ext cx="2240916" cy="183643"/>
          </a:xfrm>
        </p:spPr>
        <p:txBody>
          <a:bodyPr>
            <a:normAutofit/>
          </a:bodyPr>
          <a:lstStyle>
            <a:lvl1pPr algn="l">
              <a:defRPr sz="1200" b="1">
                <a:solidFill>
                  <a:schemeClr val="bg1"/>
                </a:solidFill>
              </a:defRPr>
            </a:lvl1pPr>
          </a:lstStyle>
          <a:p>
            <a:pPr lvl="0"/>
            <a:r>
              <a:rPr lang="en-US"/>
              <a:t>Lorem ipsum dolor</a:t>
            </a:r>
          </a:p>
        </p:txBody>
      </p:sp>
      <p:sp>
        <p:nvSpPr>
          <p:cNvPr id="124" name="Text Placeholder 49">
            <a:extLst>
              <a:ext uri="{FF2B5EF4-FFF2-40B4-BE49-F238E27FC236}">
                <a16:creationId xmlns:a16="http://schemas.microsoft.com/office/drawing/2014/main" id="{094D516A-9E9A-4BB6-E0D7-648EEAD38047}"/>
              </a:ext>
            </a:extLst>
          </p:cNvPr>
          <p:cNvSpPr>
            <a:spLocks noGrp="1"/>
          </p:cNvSpPr>
          <p:nvPr>
            <p:ph type="body" sz="quarter" idx="75" hasCustomPrompt="1"/>
          </p:nvPr>
        </p:nvSpPr>
        <p:spPr>
          <a:xfrm>
            <a:off x="5610810" y="4413374"/>
            <a:ext cx="2240916" cy="609600"/>
          </a:xfrm>
        </p:spPr>
        <p:txBody>
          <a:bodyPr>
            <a:normAutofit/>
          </a:bodyPr>
          <a:lstStyle>
            <a:lvl1pPr algn="l">
              <a:defRPr sz="1000" b="0">
                <a:solidFill>
                  <a:schemeClr val="bg1"/>
                </a:solidFill>
              </a:defRPr>
            </a:lvl1pPr>
          </a:lstStyle>
          <a:p>
            <a:pPr lvl="0"/>
            <a:r>
              <a:rPr lang="en-US"/>
              <a:t>Lorem ipsum dolor</a:t>
            </a:r>
          </a:p>
        </p:txBody>
      </p:sp>
      <p:sp>
        <p:nvSpPr>
          <p:cNvPr id="125" name="Text Placeholder 49">
            <a:extLst>
              <a:ext uri="{FF2B5EF4-FFF2-40B4-BE49-F238E27FC236}">
                <a16:creationId xmlns:a16="http://schemas.microsoft.com/office/drawing/2014/main" id="{899DD986-B509-4E3C-A750-7C3E30777F86}"/>
              </a:ext>
            </a:extLst>
          </p:cNvPr>
          <p:cNvSpPr>
            <a:spLocks noGrp="1"/>
          </p:cNvSpPr>
          <p:nvPr>
            <p:ph type="body" sz="quarter" idx="76" hasCustomPrompt="1"/>
          </p:nvPr>
        </p:nvSpPr>
        <p:spPr>
          <a:xfrm>
            <a:off x="5610810" y="5570807"/>
            <a:ext cx="2221176" cy="540563"/>
          </a:xfrm>
        </p:spPr>
        <p:txBody>
          <a:bodyPr>
            <a:normAutofit/>
          </a:bodyPr>
          <a:lstStyle>
            <a:lvl1pPr algn="l">
              <a:defRPr sz="1000" b="0">
                <a:solidFill>
                  <a:schemeClr val="bg1"/>
                </a:solidFill>
              </a:defRPr>
            </a:lvl1pPr>
          </a:lstStyle>
          <a:p>
            <a:pPr lvl="0"/>
            <a:r>
              <a:rPr lang="en-US"/>
              <a:t>Lorem ipsum dolor</a:t>
            </a:r>
          </a:p>
        </p:txBody>
      </p:sp>
      <p:sp>
        <p:nvSpPr>
          <p:cNvPr id="126" name="Text Placeholder 49">
            <a:extLst>
              <a:ext uri="{FF2B5EF4-FFF2-40B4-BE49-F238E27FC236}">
                <a16:creationId xmlns:a16="http://schemas.microsoft.com/office/drawing/2014/main" id="{AD06DE4D-F4D2-477E-FC2D-BB1C968874B5}"/>
              </a:ext>
            </a:extLst>
          </p:cNvPr>
          <p:cNvSpPr>
            <a:spLocks noGrp="1"/>
          </p:cNvSpPr>
          <p:nvPr>
            <p:ph type="body" sz="quarter" idx="77" hasCustomPrompt="1"/>
          </p:nvPr>
        </p:nvSpPr>
        <p:spPr>
          <a:xfrm>
            <a:off x="9190573" y="3197217"/>
            <a:ext cx="2221176" cy="228600"/>
          </a:xfrm>
        </p:spPr>
        <p:txBody>
          <a:bodyPr>
            <a:normAutofit/>
          </a:bodyPr>
          <a:lstStyle>
            <a:lvl1pPr algn="l">
              <a:defRPr sz="1200" b="1">
                <a:solidFill>
                  <a:schemeClr val="bg1"/>
                </a:solidFill>
              </a:defRPr>
            </a:lvl1pPr>
          </a:lstStyle>
          <a:p>
            <a:pPr lvl="0"/>
            <a:r>
              <a:rPr lang="en-US"/>
              <a:t>Lorem ipsum dolor</a:t>
            </a:r>
          </a:p>
        </p:txBody>
      </p:sp>
      <p:sp>
        <p:nvSpPr>
          <p:cNvPr id="127" name="Text Placeholder 49">
            <a:extLst>
              <a:ext uri="{FF2B5EF4-FFF2-40B4-BE49-F238E27FC236}">
                <a16:creationId xmlns:a16="http://schemas.microsoft.com/office/drawing/2014/main" id="{23F73482-968E-5EAB-C0A1-876FDE7D638D}"/>
              </a:ext>
            </a:extLst>
          </p:cNvPr>
          <p:cNvSpPr>
            <a:spLocks noGrp="1"/>
          </p:cNvSpPr>
          <p:nvPr>
            <p:ph type="body" sz="quarter" idx="78" hasCustomPrompt="1"/>
          </p:nvPr>
        </p:nvSpPr>
        <p:spPr>
          <a:xfrm>
            <a:off x="9190573" y="2105457"/>
            <a:ext cx="2240916" cy="183643"/>
          </a:xfrm>
        </p:spPr>
        <p:txBody>
          <a:bodyPr>
            <a:normAutofit/>
          </a:bodyPr>
          <a:lstStyle>
            <a:lvl1pPr algn="l">
              <a:defRPr sz="1200" b="1">
                <a:solidFill>
                  <a:schemeClr val="bg1"/>
                </a:solidFill>
              </a:defRPr>
            </a:lvl1pPr>
          </a:lstStyle>
          <a:p>
            <a:pPr lvl="0"/>
            <a:r>
              <a:rPr lang="en-US"/>
              <a:t>Lorem ipsum dolor</a:t>
            </a:r>
          </a:p>
        </p:txBody>
      </p:sp>
      <p:sp>
        <p:nvSpPr>
          <p:cNvPr id="128" name="Text Placeholder 49">
            <a:extLst>
              <a:ext uri="{FF2B5EF4-FFF2-40B4-BE49-F238E27FC236}">
                <a16:creationId xmlns:a16="http://schemas.microsoft.com/office/drawing/2014/main" id="{142F0405-AC0D-66A0-8266-1EB3E03BD019}"/>
              </a:ext>
            </a:extLst>
          </p:cNvPr>
          <p:cNvSpPr>
            <a:spLocks noGrp="1"/>
          </p:cNvSpPr>
          <p:nvPr>
            <p:ph type="body" sz="quarter" idx="79" hasCustomPrompt="1"/>
          </p:nvPr>
        </p:nvSpPr>
        <p:spPr>
          <a:xfrm>
            <a:off x="9190573" y="2289100"/>
            <a:ext cx="2240916" cy="609600"/>
          </a:xfrm>
        </p:spPr>
        <p:txBody>
          <a:bodyPr>
            <a:normAutofit/>
          </a:bodyPr>
          <a:lstStyle>
            <a:lvl1pPr algn="l">
              <a:defRPr sz="1000" b="0">
                <a:solidFill>
                  <a:schemeClr val="bg1"/>
                </a:solidFill>
              </a:defRPr>
            </a:lvl1pPr>
          </a:lstStyle>
          <a:p>
            <a:pPr lvl="0"/>
            <a:r>
              <a:rPr lang="en-US"/>
              <a:t>Lorem ipsum dolor</a:t>
            </a:r>
          </a:p>
        </p:txBody>
      </p:sp>
      <p:sp>
        <p:nvSpPr>
          <p:cNvPr id="129" name="Text Placeholder 49">
            <a:extLst>
              <a:ext uri="{FF2B5EF4-FFF2-40B4-BE49-F238E27FC236}">
                <a16:creationId xmlns:a16="http://schemas.microsoft.com/office/drawing/2014/main" id="{28799265-8F40-7A5F-A81C-0B75F30AD819}"/>
              </a:ext>
            </a:extLst>
          </p:cNvPr>
          <p:cNvSpPr>
            <a:spLocks noGrp="1"/>
          </p:cNvSpPr>
          <p:nvPr>
            <p:ph type="body" sz="quarter" idx="80" hasCustomPrompt="1"/>
          </p:nvPr>
        </p:nvSpPr>
        <p:spPr>
          <a:xfrm>
            <a:off x="9190573" y="3446533"/>
            <a:ext cx="2221176" cy="540563"/>
          </a:xfrm>
        </p:spPr>
        <p:txBody>
          <a:bodyPr>
            <a:normAutofit/>
          </a:bodyPr>
          <a:lstStyle>
            <a:lvl1pPr algn="l">
              <a:defRPr sz="1000" b="0">
                <a:solidFill>
                  <a:schemeClr val="bg1"/>
                </a:solidFill>
              </a:defRPr>
            </a:lvl1pPr>
          </a:lstStyle>
          <a:p>
            <a:pPr lvl="0"/>
            <a:r>
              <a:rPr lang="en-US"/>
              <a:t>Lorem ipsum dolor</a:t>
            </a:r>
          </a:p>
        </p:txBody>
      </p:sp>
      <p:sp>
        <p:nvSpPr>
          <p:cNvPr id="130" name="Text Placeholder 49">
            <a:extLst>
              <a:ext uri="{FF2B5EF4-FFF2-40B4-BE49-F238E27FC236}">
                <a16:creationId xmlns:a16="http://schemas.microsoft.com/office/drawing/2014/main" id="{F5AA61F8-06E0-57B5-ACDE-131601419B79}"/>
              </a:ext>
            </a:extLst>
          </p:cNvPr>
          <p:cNvSpPr>
            <a:spLocks noGrp="1"/>
          </p:cNvSpPr>
          <p:nvPr>
            <p:ph type="body" sz="quarter" idx="81" hasCustomPrompt="1"/>
          </p:nvPr>
        </p:nvSpPr>
        <p:spPr>
          <a:xfrm>
            <a:off x="9190573" y="5309221"/>
            <a:ext cx="2221176" cy="228600"/>
          </a:xfrm>
        </p:spPr>
        <p:txBody>
          <a:bodyPr>
            <a:normAutofit/>
          </a:bodyPr>
          <a:lstStyle>
            <a:lvl1pPr algn="l">
              <a:defRPr sz="1200" b="1">
                <a:solidFill>
                  <a:schemeClr val="bg1"/>
                </a:solidFill>
              </a:defRPr>
            </a:lvl1pPr>
          </a:lstStyle>
          <a:p>
            <a:pPr lvl="0"/>
            <a:r>
              <a:rPr lang="en-US"/>
              <a:t>Lorem ipsum dolor</a:t>
            </a:r>
          </a:p>
        </p:txBody>
      </p:sp>
      <p:sp>
        <p:nvSpPr>
          <p:cNvPr id="131" name="Text Placeholder 49">
            <a:extLst>
              <a:ext uri="{FF2B5EF4-FFF2-40B4-BE49-F238E27FC236}">
                <a16:creationId xmlns:a16="http://schemas.microsoft.com/office/drawing/2014/main" id="{EAE7DE52-8C83-B776-AE82-38337A5CD919}"/>
              </a:ext>
            </a:extLst>
          </p:cNvPr>
          <p:cNvSpPr>
            <a:spLocks noGrp="1"/>
          </p:cNvSpPr>
          <p:nvPr>
            <p:ph type="body" sz="quarter" idx="82" hasCustomPrompt="1"/>
          </p:nvPr>
        </p:nvSpPr>
        <p:spPr>
          <a:xfrm>
            <a:off x="9190573" y="4217461"/>
            <a:ext cx="2240916" cy="183643"/>
          </a:xfrm>
        </p:spPr>
        <p:txBody>
          <a:bodyPr>
            <a:normAutofit/>
          </a:bodyPr>
          <a:lstStyle>
            <a:lvl1pPr algn="l">
              <a:defRPr sz="1200" b="1">
                <a:solidFill>
                  <a:schemeClr val="bg1"/>
                </a:solidFill>
              </a:defRPr>
            </a:lvl1pPr>
          </a:lstStyle>
          <a:p>
            <a:pPr lvl="0"/>
            <a:r>
              <a:rPr lang="en-US"/>
              <a:t>Lorem ipsum dolor</a:t>
            </a:r>
          </a:p>
        </p:txBody>
      </p:sp>
      <p:sp>
        <p:nvSpPr>
          <p:cNvPr id="132" name="Text Placeholder 49">
            <a:extLst>
              <a:ext uri="{FF2B5EF4-FFF2-40B4-BE49-F238E27FC236}">
                <a16:creationId xmlns:a16="http://schemas.microsoft.com/office/drawing/2014/main" id="{6606E151-B7C9-D95F-C443-77D163268346}"/>
              </a:ext>
            </a:extLst>
          </p:cNvPr>
          <p:cNvSpPr>
            <a:spLocks noGrp="1"/>
          </p:cNvSpPr>
          <p:nvPr>
            <p:ph type="body" sz="quarter" idx="83" hasCustomPrompt="1"/>
          </p:nvPr>
        </p:nvSpPr>
        <p:spPr>
          <a:xfrm>
            <a:off x="9190573" y="4401104"/>
            <a:ext cx="2240916" cy="609600"/>
          </a:xfrm>
        </p:spPr>
        <p:txBody>
          <a:bodyPr>
            <a:normAutofit/>
          </a:bodyPr>
          <a:lstStyle>
            <a:lvl1pPr algn="l">
              <a:defRPr sz="1000" b="0">
                <a:solidFill>
                  <a:schemeClr val="bg1"/>
                </a:solidFill>
              </a:defRPr>
            </a:lvl1pPr>
          </a:lstStyle>
          <a:p>
            <a:pPr lvl="0"/>
            <a:r>
              <a:rPr lang="en-US"/>
              <a:t>Lorem ipsum dolor</a:t>
            </a:r>
          </a:p>
        </p:txBody>
      </p:sp>
      <p:sp>
        <p:nvSpPr>
          <p:cNvPr id="133" name="Text Placeholder 49">
            <a:extLst>
              <a:ext uri="{FF2B5EF4-FFF2-40B4-BE49-F238E27FC236}">
                <a16:creationId xmlns:a16="http://schemas.microsoft.com/office/drawing/2014/main" id="{ED9F8DB6-3091-2914-9595-C8D7A4DA6C7F}"/>
              </a:ext>
            </a:extLst>
          </p:cNvPr>
          <p:cNvSpPr>
            <a:spLocks noGrp="1"/>
          </p:cNvSpPr>
          <p:nvPr>
            <p:ph type="body" sz="quarter" idx="84" hasCustomPrompt="1"/>
          </p:nvPr>
        </p:nvSpPr>
        <p:spPr>
          <a:xfrm>
            <a:off x="9190573" y="5558537"/>
            <a:ext cx="2221176" cy="540563"/>
          </a:xfrm>
        </p:spPr>
        <p:txBody>
          <a:bodyPr>
            <a:normAutofit/>
          </a:bodyPr>
          <a:lstStyle>
            <a:lvl1pPr algn="l">
              <a:defRPr sz="1000" b="0">
                <a:solidFill>
                  <a:schemeClr val="bg1"/>
                </a:solidFill>
              </a:defRPr>
            </a:lvl1pPr>
          </a:lstStyle>
          <a:p>
            <a:pPr lvl="0"/>
            <a:r>
              <a:rPr lang="en-US"/>
              <a:t>Lorem ipsum dolor</a:t>
            </a:r>
          </a:p>
        </p:txBody>
      </p:sp>
    </p:spTree>
    <p:extLst>
      <p:ext uri="{BB962C8B-B14F-4D97-AF65-F5344CB8AC3E}">
        <p14:creationId xmlns:p14="http://schemas.microsoft.com/office/powerpoint/2010/main" val="128184512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3 point pyrami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Three point</a:t>
            </a:r>
            <a:br>
              <a:rPr lang="en-US"/>
            </a:br>
            <a:r>
              <a:rPr lang="en-US"/>
              <a:t>pyramid</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Slide Number Placeholder 2">
            <a:extLst>
              <a:ext uri="{FF2B5EF4-FFF2-40B4-BE49-F238E27FC236}">
                <a16:creationId xmlns:a16="http://schemas.microsoft.com/office/drawing/2014/main" id="{C5A49297-8DA7-D81F-E1EA-3F31BF7B23C9}"/>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50" name="Text Placeholder 49">
            <a:extLst>
              <a:ext uri="{FF2B5EF4-FFF2-40B4-BE49-F238E27FC236}">
                <a16:creationId xmlns:a16="http://schemas.microsoft.com/office/drawing/2014/main" id="{389D39FA-A03C-EDAA-789F-FDE7EEF1449D}"/>
              </a:ext>
            </a:extLst>
          </p:cNvPr>
          <p:cNvSpPr>
            <a:spLocks noGrp="1"/>
          </p:cNvSpPr>
          <p:nvPr>
            <p:ph type="body" sz="quarter" idx="16" hasCustomPrompt="1"/>
          </p:nvPr>
        </p:nvSpPr>
        <p:spPr>
          <a:xfrm>
            <a:off x="8720940" y="1158455"/>
            <a:ext cx="2573352" cy="1398829"/>
          </a:xfrm>
        </p:spPr>
        <p:txBody>
          <a:bodyPr>
            <a:normAutofit/>
          </a:bodyPr>
          <a:lstStyle>
            <a:lvl1pPr>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1" name="Text Placeholder 49">
            <a:extLst>
              <a:ext uri="{FF2B5EF4-FFF2-40B4-BE49-F238E27FC236}">
                <a16:creationId xmlns:a16="http://schemas.microsoft.com/office/drawing/2014/main" id="{3730989F-3C5B-0D21-C96E-ECBB026FAC97}"/>
              </a:ext>
            </a:extLst>
          </p:cNvPr>
          <p:cNvSpPr>
            <a:spLocks noGrp="1"/>
          </p:cNvSpPr>
          <p:nvPr>
            <p:ph type="body" sz="quarter" idx="17" hasCustomPrompt="1"/>
          </p:nvPr>
        </p:nvSpPr>
        <p:spPr>
          <a:xfrm>
            <a:off x="8736990" y="798554"/>
            <a:ext cx="2557302" cy="324044"/>
          </a:xfrm>
        </p:spPr>
        <p:txBody>
          <a:bodyPr>
            <a:normAutofit/>
          </a:bodyPr>
          <a:lstStyle>
            <a:lvl1pPr>
              <a:defRPr sz="1600" b="1">
                <a:solidFill>
                  <a:schemeClr val="tx1"/>
                </a:solidFill>
              </a:defRPr>
            </a:lvl1pPr>
          </a:lstStyle>
          <a:p>
            <a:pPr lvl="0"/>
            <a:r>
              <a:rPr lang="en-US"/>
              <a:t>Lorem ipsum dolor</a:t>
            </a:r>
          </a:p>
        </p:txBody>
      </p:sp>
      <p:cxnSp>
        <p:nvCxnSpPr>
          <p:cNvPr id="52" name="Straight Connector 51">
            <a:extLst>
              <a:ext uri="{FF2B5EF4-FFF2-40B4-BE49-F238E27FC236}">
                <a16:creationId xmlns:a16="http://schemas.microsoft.com/office/drawing/2014/main" id="{D93B5DE0-2778-55D8-5B63-06B3ED9A875C}"/>
              </a:ext>
            </a:extLst>
          </p:cNvPr>
          <p:cNvCxnSpPr>
            <a:cxnSpLocks/>
          </p:cNvCxnSpPr>
          <p:nvPr userDrawn="1"/>
        </p:nvCxnSpPr>
        <p:spPr>
          <a:xfrm>
            <a:off x="6035783" y="1102648"/>
            <a:ext cx="5400566" cy="1328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93BBF5-7965-705C-7066-2A8B368C2ADE}"/>
              </a:ext>
            </a:extLst>
          </p:cNvPr>
          <p:cNvCxnSpPr>
            <a:cxnSpLocks/>
          </p:cNvCxnSpPr>
          <p:nvPr userDrawn="1"/>
        </p:nvCxnSpPr>
        <p:spPr>
          <a:xfrm>
            <a:off x="6997412" y="3019277"/>
            <a:ext cx="4438938" cy="1400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962CBE-CFB2-AA4F-3522-C00036B7F114}"/>
              </a:ext>
            </a:extLst>
          </p:cNvPr>
          <p:cNvCxnSpPr>
            <a:cxnSpLocks/>
          </p:cNvCxnSpPr>
          <p:nvPr userDrawn="1"/>
        </p:nvCxnSpPr>
        <p:spPr>
          <a:xfrm>
            <a:off x="7697645" y="4603325"/>
            <a:ext cx="373870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49">
            <a:extLst>
              <a:ext uri="{FF2B5EF4-FFF2-40B4-BE49-F238E27FC236}">
                <a16:creationId xmlns:a16="http://schemas.microsoft.com/office/drawing/2014/main" id="{51F964A9-DF32-3D31-7D88-A45D136A6615}"/>
              </a:ext>
            </a:extLst>
          </p:cNvPr>
          <p:cNvSpPr>
            <a:spLocks noGrp="1"/>
          </p:cNvSpPr>
          <p:nvPr>
            <p:ph type="body" sz="quarter" idx="18" hasCustomPrompt="1"/>
          </p:nvPr>
        </p:nvSpPr>
        <p:spPr>
          <a:xfrm>
            <a:off x="8704324" y="3079521"/>
            <a:ext cx="2573352" cy="1081453"/>
          </a:xfrm>
        </p:spPr>
        <p:txBody>
          <a:bodyPr>
            <a:normAutofit/>
          </a:bodyPr>
          <a:lstStyle>
            <a:lvl1pPr>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6" name="Text Placeholder 49">
            <a:extLst>
              <a:ext uri="{FF2B5EF4-FFF2-40B4-BE49-F238E27FC236}">
                <a16:creationId xmlns:a16="http://schemas.microsoft.com/office/drawing/2014/main" id="{FABE6391-6130-80DD-2E80-D09786D417D0}"/>
              </a:ext>
            </a:extLst>
          </p:cNvPr>
          <p:cNvSpPr>
            <a:spLocks noGrp="1"/>
          </p:cNvSpPr>
          <p:nvPr>
            <p:ph type="body" sz="quarter" idx="19" hasCustomPrompt="1"/>
          </p:nvPr>
        </p:nvSpPr>
        <p:spPr>
          <a:xfrm>
            <a:off x="8720374" y="2719620"/>
            <a:ext cx="2557302" cy="324044"/>
          </a:xfrm>
        </p:spPr>
        <p:txBody>
          <a:bodyPr>
            <a:normAutofit/>
          </a:bodyPr>
          <a:lstStyle>
            <a:lvl1pPr>
              <a:defRPr sz="1600" b="1">
                <a:solidFill>
                  <a:schemeClr val="tx1"/>
                </a:solidFill>
              </a:defRPr>
            </a:lvl1pPr>
          </a:lstStyle>
          <a:p>
            <a:pPr lvl="0"/>
            <a:r>
              <a:rPr lang="en-US"/>
              <a:t>Lorem ipsum dolor</a:t>
            </a:r>
          </a:p>
        </p:txBody>
      </p:sp>
      <p:sp>
        <p:nvSpPr>
          <p:cNvPr id="57" name="Text Placeholder 49">
            <a:extLst>
              <a:ext uri="{FF2B5EF4-FFF2-40B4-BE49-F238E27FC236}">
                <a16:creationId xmlns:a16="http://schemas.microsoft.com/office/drawing/2014/main" id="{89696371-F50F-786D-76A3-9E87E03E7349}"/>
              </a:ext>
            </a:extLst>
          </p:cNvPr>
          <p:cNvSpPr>
            <a:spLocks noGrp="1"/>
          </p:cNvSpPr>
          <p:nvPr>
            <p:ph type="body" sz="quarter" idx="20" hasCustomPrompt="1"/>
          </p:nvPr>
        </p:nvSpPr>
        <p:spPr>
          <a:xfrm>
            <a:off x="8721750" y="4657087"/>
            <a:ext cx="2573352" cy="1339442"/>
          </a:xfrm>
        </p:spPr>
        <p:txBody>
          <a:bodyPr>
            <a:normAutofit/>
          </a:bodyPr>
          <a:lstStyle>
            <a:lvl1pPr>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8" name="Text Placeholder 49">
            <a:extLst>
              <a:ext uri="{FF2B5EF4-FFF2-40B4-BE49-F238E27FC236}">
                <a16:creationId xmlns:a16="http://schemas.microsoft.com/office/drawing/2014/main" id="{AEA0D083-188D-275C-19A3-2B08840ED843}"/>
              </a:ext>
            </a:extLst>
          </p:cNvPr>
          <p:cNvSpPr>
            <a:spLocks noGrp="1"/>
          </p:cNvSpPr>
          <p:nvPr>
            <p:ph type="body" sz="quarter" idx="21" hasCustomPrompt="1"/>
          </p:nvPr>
        </p:nvSpPr>
        <p:spPr>
          <a:xfrm>
            <a:off x="8737800" y="4297186"/>
            <a:ext cx="2557302" cy="324044"/>
          </a:xfrm>
        </p:spPr>
        <p:txBody>
          <a:bodyPr>
            <a:normAutofit/>
          </a:bodyPr>
          <a:lstStyle>
            <a:lvl1pPr>
              <a:defRPr sz="1600" b="1">
                <a:solidFill>
                  <a:schemeClr val="tx1"/>
                </a:solidFill>
              </a:defRPr>
            </a:lvl1pPr>
          </a:lstStyle>
          <a:p>
            <a:pPr lvl="0"/>
            <a:r>
              <a:rPr lang="en-US"/>
              <a:t>Lorem ipsum dolor</a:t>
            </a:r>
          </a:p>
        </p:txBody>
      </p:sp>
      <p:grpSp>
        <p:nvGrpSpPr>
          <p:cNvPr id="21" name="Group 20">
            <a:extLst>
              <a:ext uri="{FF2B5EF4-FFF2-40B4-BE49-F238E27FC236}">
                <a16:creationId xmlns:a16="http://schemas.microsoft.com/office/drawing/2014/main" id="{F0E9E280-5B2D-32BB-DA85-43429610B0E0}"/>
              </a:ext>
            </a:extLst>
          </p:cNvPr>
          <p:cNvGrpSpPr/>
          <p:nvPr userDrawn="1"/>
        </p:nvGrpSpPr>
        <p:grpSpPr>
          <a:xfrm>
            <a:off x="3691740" y="909042"/>
            <a:ext cx="4687869" cy="5087487"/>
            <a:chOff x="5134015" y="480648"/>
            <a:chExt cx="3049805" cy="3497920"/>
          </a:xfrm>
        </p:grpSpPr>
        <p:sp>
          <p:nvSpPr>
            <p:cNvPr id="22" name="Freeform 21">
              <a:extLst>
                <a:ext uri="{FF2B5EF4-FFF2-40B4-BE49-F238E27FC236}">
                  <a16:creationId xmlns:a16="http://schemas.microsoft.com/office/drawing/2014/main" id="{30E3C9B8-C8F9-36BD-8C92-4A97E2304F90}"/>
                </a:ext>
              </a:extLst>
            </p:cNvPr>
            <p:cNvSpPr/>
            <p:nvPr/>
          </p:nvSpPr>
          <p:spPr>
            <a:xfrm>
              <a:off x="6083773" y="480648"/>
              <a:ext cx="1150431" cy="1319488"/>
            </a:xfrm>
            <a:custGeom>
              <a:avLst/>
              <a:gdLst>
                <a:gd name="connsiteX0" fmla="*/ 575216 w 1150431"/>
                <a:gd name="connsiteY0" fmla="*/ 0 h 1319488"/>
                <a:gd name="connsiteX1" fmla="*/ 0 w 1150431"/>
                <a:gd name="connsiteY1" fmla="*/ 1319488 h 1319488"/>
                <a:gd name="connsiteX2" fmla="*/ 1150431 w 1150431"/>
                <a:gd name="connsiteY2" fmla="*/ 1319488 h 1319488"/>
                <a:gd name="connsiteX3" fmla="*/ 575216 w 1150431"/>
                <a:gd name="connsiteY3" fmla="*/ 0 h 1319488"/>
              </a:gdLst>
              <a:ahLst/>
              <a:cxnLst>
                <a:cxn ang="0">
                  <a:pos x="connsiteX0" y="connsiteY0"/>
                </a:cxn>
                <a:cxn ang="0">
                  <a:pos x="connsiteX1" y="connsiteY1"/>
                </a:cxn>
                <a:cxn ang="0">
                  <a:pos x="connsiteX2" y="connsiteY2"/>
                </a:cxn>
                <a:cxn ang="0">
                  <a:pos x="connsiteX3" y="connsiteY3"/>
                </a:cxn>
              </a:cxnLst>
              <a:rect l="l" t="t" r="r" b="b"/>
              <a:pathLst>
                <a:path w="1150431" h="1319488">
                  <a:moveTo>
                    <a:pt x="575216" y="0"/>
                  </a:moveTo>
                  <a:lnTo>
                    <a:pt x="0" y="1319488"/>
                  </a:lnTo>
                  <a:lnTo>
                    <a:pt x="1150431" y="1319488"/>
                  </a:lnTo>
                  <a:lnTo>
                    <a:pt x="575216" y="0"/>
                  </a:lnTo>
                  <a:close/>
                </a:path>
              </a:pathLst>
            </a:custGeom>
            <a:solidFill>
              <a:schemeClr val="accent1"/>
            </a:solidFill>
            <a:ln w="1417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B2A54E4D-51B1-F5A9-1FC4-48A1AC833ADD}"/>
                </a:ext>
              </a:extLst>
            </p:cNvPr>
            <p:cNvSpPr/>
            <p:nvPr/>
          </p:nvSpPr>
          <p:spPr>
            <a:xfrm>
              <a:off x="5134015" y="3020668"/>
              <a:ext cx="3049805" cy="957900"/>
            </a:xfrm>
            <a:custGeom>
              <a:avLst/>
              <a:gdLst>
                <a:gd name="connsiteX0" fmla="*/ 283495 w 3049805"/>
                <a:gd name="connsiteY0" fmla="*/ 307558 h 957900"/>
                <a:gd name="connsiteX1" fmla="*/ 0 w 3049805"/>
                <a:gd name="connsiteY1" fmla="*/ 957901 h 957900"/>
                <a:gd name="connsiteX2" fmla="*/ 3049806 w 3049805"/>
                <a:gd name="connsiteY2" fmla="*/ 957901 h 957900"/>
                <a:gd name="connsiteX3" fmla="*/ 2766311 w 3049805"/>
                <a:gd name="connsiteY3" fmla="*/ 307558 h 957900"/>
                <a:gd name="connsiteX4" fmla="*/ 2632293 w 3049805"/>
                <a:gd name="connsiteY4" fmla="*/ 0 h 957900"/>
                <a:gd name="connsiteX5" fmla="*/ 417513 w 3049805"/>
                <a:gd name="connsiteY5" fmla="*/ 0 h 957900"/>
                <a:gd name="connsiteX6" fmla="*/ 283495 w 3049805"/>
                <a:gd name="connsiteY6" fmla="*/ 307558 h 9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9805" h="957900">
                  <a:moveTo>
                    <a:pt x="283495" y="307558"/>
                  </a:moveTo>
                  <a:lnTo>
                    <a:pt x="0" y="957901"/>
                  </a:lnTo>
                  <a:lnTo>
                    <a:pt x="3049806" y="957901"/>
                  </a:lnTo>
                  <a:lnTo>
                    <a:pt x="2766311" y="307558"/>
                  </a:lnTo>
                  <a:lnTo>
                    <a:pt x="2632293" y="0"/>
                  </a:lnTo>
                  <a:lnTo>
                    <a:pt x="417513" y="0"/>
                  </a:lnTo>
                  <a:lnTo>
                    <a:pt x="283495" y="307558"/>
                  </a:lnTo>
                  <a:close/>
                </a:path>
              </a:pathLst>
            </a:custGeom>
            <a:solidFill>
              <a:schemeClr val="accent3"/>
            </a:solidFill>
            <a:ln w="1417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0ED6DBF-3030-42AA-1A10-2B530DC7958E}"/>
                </a:ext>
              </a:extLst>
            </p:cNvPr>
            <p:cNvSpPr/>
            <p:nvPr/>
          </p:nvSpPr>
          <p:spPr>
            <a:xfrm>
              <a:off x="5608823" y="1931550"/>
              <a:ext cx="2100189" cy="957702"/>
            </a:xfrm>
            <a:custGeom>
              <a:avLst/>
              <a:gdLst>
                <a:gd name="connsiteX0" fmla="*/ 417655 w 2100189"/>
                <a:gd name="connsiteY0" fmla="*/ 0 h 957702"/>
                <a:gd name="connsiteX1" fmla="*/ 0 w 2100189"/>
                <a:gd name="connsiteY1" fmla="*/ 957703 h 957702"/>
                <a:gd name="connsiteX2" fmla="*/ 2100190 w 2100189"/>
                <a:gd name="connsiteY2" fmla="*/ 957703 h 957702"/>
                <a:gd name="connsiteX3" fmla="*/ 1682676 w 2100189"/>
                <a:gd name="connsiteY3" fmla="*/ 0 h 957702"/>
                <a:gd name="connsiteX4" fmla="*/ 417655 w 2100189"/>
                <a:gd name="connsiteY4" fmla="*/ 0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189" h="957702">
                  <a:moveTo>
                    <a:pt x="417655" y="0"/>
                  </a:moveTo>
                  <a:lnTo>
                    <a:pt x="0" y="957703"/>
                  </a:lnTo>
                  <a:lnTo>
                    <a:pt x="2100190" y="957703"/>
                  </a:lnTo>
                  <a:lnTo>
                    <a:pt x="1682676" y="0"/>
                  </a:lnTo>
                  <a:lnTo>
                    <a:pt x="417655" y="0"/>
                  </a:lnTo>
                  <a:close/>
                </a:path>
              </a:pathLst>
            </a:custGeom>
            <a:solidFill>
              <a:schemeClr val="tx2"/>
            </a:solidFill>
            <a:ln w="14179"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93E24841-D5DA-308D-C4FA-1230C1250DB6}"/>
              </a:ext>
            </a:extLst>
          </p:cNvPr>
          <p:cNvSpPr/>
          <p:nvPr userDrawn="1"/>
        </p:nvSpPr>
        <p:spPr>
          <a:xfrm>
            <a:off x="5652965" y="173410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39" name="Rectangle 38">
            <a:extLst>
              <a:ext uri="{FF2B5EF4-FFF2-40B4-BE49-F238E27FC236}">
                <a16:creationId xmlns:a16="http://schemas.microsoft.com/office/drawing/2014/main" id="{623B7E06-AEC1-1A82-D474-25CB9E798690}"/>
              </a:ext>
            </a:extLst>
          </p:cNvPr>
          <p:cNvSpPr/>
          <p:nvPr userDrawn="1"/>
        </p:nvSpPr>
        <p:spPr>
          <a:xfrm>
            <a:off x="5652965" y="32528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40" name="Rectangle 39">
            <a:extLst>
              <a:ext uri="{FF2B5EF4-FFF2-40B4-BE49-F238E27FC236}">
                <a16:creationId xmlns:a16="http://schemas.microsoft.com/office/drawing/2014/main" id="{68B39BD1-DFBA-C742-6146-CEE943A2FB82}"/>
              </a:ext>
            </a:extLst>
          </p:cNvPr>
          <p:cNvSpPr/>
          <p:nvPr userDrawn="1"/>
        </p:nvSpPr>
        <p:spPr>
          <a:xfrm>
            <a:off x="5652964" y="4878023"/>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Tree>
    <p:extLst>
      <p:ext uri="{BB962C8B-B14F-4D97-AF65-F5344CB8AC3E}">
        <p14:creationId xmlns:p14="http://schemas.microsoft.com/office/powerpoint/2010/main" val="2395439736"/>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 point pyrami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15E31BEC-29E9-D24F-89BE-FE088165AB75}"/>
              </a:ext>
            </a:extLst>
          </p:cNvPr>
          <p:cNvCxnSpPr>
            <a:cxnSpLocks/>
          </p:cNvCxnSpPr>
          <p:nvPr userDrawn="1"/>
        </p:nvCxnSpPr>
        <p:spPr>
          <a:xfrm>
            <a:off x="7461250" y="5058073"/>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9">
            <a:extLst>
              <a:ext uri="{FF2B5EF4-FFF2-40B4-BE49-F238E27FC236}">
                <a16:creationId xmlns:a16="http://schemas.microsoft.com/office/drawing/2014/main" id="{BA146893-AAEE-E56B-7DC2-BCCA3DDF82D2}"/>
              </a:ext>
            </a:extLst>
          </p:cNvPr>
          <p:cNvSpPr>
            <a:spLocks noGrp="1"/>
          </p:cNvSpPr>
          <p:nvPr>
            <p:ph type="body" sz="quarter" idx="23" hasCustomPrompt="1"/>
          </p:nvPr>
        </p:nvSpPr>
        <p:spPr>
          <a:xfrm>
            <a:off x="8731450" y="4751934"/>
            <a:ext cx="2557302" cy="324044"/>
          </a:xfrm>
        </p:spPr>
        <p:txBody>
          <a:bodyPr>
            <a:normAutofit/>
          </a:bodyPr>
          <a:lstStyle>
            <a:lvl1pPr>
              <a:defRPr sz="1600" b="1">
                <a:solidFill>
                  <a:schemeClr val="tx1"/>
                </a:solidFill>
              </a:defRPr>
            </a:lvl1pPr>
          </a:lstStyle>
          <a:p>
            <a:pPr lvl="0"/>
            <a:r>
              <a:rPr lang="en-US"/>
              <a:t>Lorem ipsum dolor</a:t>
            </a:r>
          </a:p>
        </p:txBody>
      </p:sp>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our point</a:t>
            </a:r>
            <a:br>
              <a:rPr lang="en-US"/>
            </a:br>
            <a:r>
              <a:rPr lang="en-US"/>
              <a:t>pyramid</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Slide Number Placeholder 2">
            <a:extLst>
              <a:ext uri="{FF2B5EF4-FFF2-40B4-BE49-F238E27FC236}">
                <a16:creationId xmlns:a16="http://schemas.microsoft.com/office/drawing/2014/main" id="{C5A49297-8DA7-D81F-E1EA-3F31BF7B23C9}"/>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50" name="Text Placeholder 49">
            <a:extLst>
              <a:ext uri="{FF2B5EF4-FFF2-40B4-BE49-F238E27FC236}">
                <a16:creationId xmlns:a16="http://schemas.microsoft.com/office/drawing/2014/main" id="{389D39FA-A03C-EDAA-789F-FDE7EEF1449D}"/>
              </a:ext>
            </a:extLst>
          </p:cNvPr>
          <p:cNvSpPr>
            <a:spLocks noGrp="1"/>
          </p:cNvSpPr>
          <p:nvPr>
            <p:ph type="body" sz="quarter" idx="16" hasCustomPrompt="1"/>
          </p:nvPr>
        </p:nvSpPr>
        <p:spPr>
          <a:xfrm>
            <a:off x="8720940" y="1158456"/>
            <a:ext cx="2573352" cy="1110440"/>
          </a:xfrm>
        </p:spPr>
        <p:txBody>
          <a:bodyPr>
            <a:normAutofit/>
          </a:bodyPr>
          <a:lstStyle>
            <a:lvl1pPr>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1" name="Text Placeholder 49">
            <a:extLst>
              <a:ext uri="{FF2B5EF4-FFF2-40B4-BE49-F238E27FC236}">
                <a16:creationId xmlns:a16="http://schemas.microsoft.com/office/drawing/2014/main" id="{3730989F-3C5B-0D21-C96E-ECBB026FAC97}"/>
              </a:ext>
            </a:extLst>
          </p:cNvPr>
          <p:cNvSpPr>
            <a:spLocks noGrp="1"/>
          </p:cNvSpPr>
          <p:nvPr>
            <p:ph type="body" sz="quarter" idx="17" hasCustomPrompt="1"/>
          </p:nvPr>
        </p:nvSpPr>
        <p:spPr>
          <a:xfrm>
            <a:off x="8736990" y="798554"/>
            <a:ext cx="2557302" cy="324044"/>
          </a:xfrm>
        </p:spPr>
        <p:txBody>
          <a:bodyPr>
            <a:normAutofit/>
          </a:bodyPr>
          <a:lstStyle>
            <a:lvl1pPr>
              <a:defRPr sz="1600" b="1">
                <a:solidFill>
                  <a:schemeClr val="tx1"/>
                </a:solidFill>
              </a:defRPr>
            </a:lvl1pPr>
          </a:lstStyle>
          <a:p>
            <a:pPr lvl="0"/>
            <a:r>
              <a:rPr lang="en-US"/>
              <a:t>Lorem ipsum dolor</a:t>
            </a:r>
          </a:p>
        </p:txBody>
      </p:sp>
      <p:cxnSp>
        <p:nvCxnSpPr>
          <p:cNvPr id="52" name="Straight Connector 51">
            <a:extLst>
              <a:ext uri="{FF2B5EF4-FFF2-40B4-BE49-F238E27FC236}">
                <a16:creationId xmlns:a16="http://schemas.microsoft.com/office/drawing/2014/main" id="{D93B5DE0-2778-55D8-5B63-06B3ED9A875C}"/>
              </a:ext>
            </a:extLst>
          </p:cNvPr>
          <p:cNvCxnSpPr>
            <a:cxnSpLocks/>
          </p:cNvCxnSpPr>
          <p:nvPr userDrawn="1"/>
        </p:nvCxnSpPr>
        <p:spPr>
          <a:xfrm>
            <a:off x="6035783" y="1102648"/>
            <a:ext cx="5400566" cy="1328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93BBF5-7965-705C-7066-2A8B368C2ADE}"/>
              </a:ext>
            </a:extLst>
          </p:cNvPr>
          <p:cNvCxnSpPr>
            <a:cxnSpLocks/>
          </p:cNvCxnSpPr>
          <p:nvPr userDrawn="1"/>
        </p:nvCxnSpPr>
        <p:spPr>
          <a:xfrm flipV="1">
            <a:off x="6751426" y="2599659"/>
            <a:ext cx="4684924" cy="121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962CBE-CFB2-AA4F-3522-C00036B7F114}"/>
              </a:ext>
            </a:extLst>
          </p:cNvPr>
          <p:cNvCxnSpPr>
            <a:cxnSpLocks/>
          </p:cNvCxnSpPr>
          <p:nvPr userDrawn="1"/>
        </p:nvCxnSpPr>
        <p:spPr>
          <a:xfrm>
            <a:off x="7461250" y="3811339"/>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49">
            <a:extLst>
              <a:ext uri="{FF2B5EF4-FFF2-40B4-BE49-F238E27FC236}">
                <a16:creationId xmlns:a16="http://schemas.microsoft.com/office/drawing/2014/main" id="{51F964A9-DF32-3D31-7D88-A45D136A6615}"/>
              </a:ext>
            </a:extLst>
          </p:cNvPr>
          <p:cNvSpPr>
            <a:spLocks noGrp="1"/>
          </p:cNvSpPr>
          <p:nvPr>
            <p:ph type="body" sz="quarter" idx="18" hasCustomPrompt="1"/>
          </p:nvPr>
        </p:nvSpPr>
        <p:spPr>
          <a:xfrm>
            <a:off x="8704324" y="2645901"/>
            <a:ext cx="2573352" cy="803025"/>
          </a:xfrm>
        </p:spPr>
        <p:txBody>
          <a:bodyPr>
            <a:normAutofit/>
          </a:bodyPr>
          <a:lstStyle>
            <a:lvl1pPr>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6" name="Text Placeholder 49">
            <a:extLst>
              <a:ext uri="{FF2B5EF4-FFF2-40B4-BE49-F238E27FC236}">
                <a16:creationId xmlns:a16="http://schemas.microsoft.com/office/drawing/2014/main" id="{FABE6391-6130-80DD-2E80-D09786D417D0}"/>
              </a:ext>
            </a:extLst>
          </p:cNvPr>
          <p:cNvSpPr>
            <a:spLocks noGrp="1"/>
          </p:cNvSpPr>
          <p:nvPr>
            <p:ph type="body" sz="quarter" idx="19" hasCustomPrompt="1"/>
          </p:nvPr>
        </p:nvSpPr>
        <p:spPr>
          <a:xfrm>
            <a:off x="8720374" y="2286000"/>
            <a:ext cx="2557302" cy="324044"/>
          </a:xfrm>
        </p:spPr>
        <p:txBody>
          <a:bodyPr>
            <a:normAutofit/>
          </a:bodyPr>
          <a:lstStyle>
            <a:lvl1pPr>
              <a:defRPr sz="1600" b="1">
                <a:solidFill>
                  <a:schemeClr val="tx1"/>
                </a:solidFill>
              </a:defRPr>
            </a:lvl1pPr>
          </a:lstStyle>
          <a:p>
            <a:pPr lvl="0"/>
            <a:r>
              <a:rPr lang="en-US"/>
              <a:t>Lorem ipsum dolor</a:t>
            </a:r>
          </a:p>
        </p:txBody>
      </p:sp>
      <p:sp>
        <p:nvSpPr>
          <p:cNvPr id="57" name="Text Placeholder 49">
            <a:extLst>
              <a:ext uri="{FF2B5EF4-FFF2-40B4-BE49-F238E27FC236}">
                <a16:creationId xmlns:a16="http://schemas.microsoft.com/office/drawing/2014/main" id="{89696371-F50F-786D-76A3-9E87E03E7349}"/>
              </a:ext>
            </a:extLst>
          </p:cNvPr>
          <p:cNvSpPr>
            <a:spLocks noGrp="1"/>
          </p:cNvSpPr>
          <p:nvPr>
            <p:ph type="body" sz="quarter" idx="20" hasCustomPrompt="1"/>
          </p:nvPr>
        </p:nvSpPr>
        <p:spPr>
          <a:xfrm>
            <a:off x="8715400" y="3865101"/>
            <a:ext cx="2573352" cy="865913"/>
          </a:xfrm>
        </p:spPr>
        <p:txBody>
          <a:bodyPr>
            <a:normAutofit/>
          </a:bodyPr>
          <a:lstStyle>
            <a:lvl1pPr>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8" name="Text Placeholder 49">
            <a:extLst>
              <a:ext uri="{FF2B5EF4-FFF2-40B4-BE49-F238E27FC236}">
                <a16:creationId xmlns:a16="http://schemas.microsoft.com/office/drawing/2014/main" id="{AEA0D083-188D-275C-19A3-2B08840ED843}"/>
              </a:ext>
            </a:extLst>
          </p:cNvPr>
          <p:cNvSpPr>
            <a:spLocks noGrp="1"/>
          </p:cNvSpPr>
          <p:nvPr>
            <p:ph type="body" sz="quarter" idx="21" hasCustomPrompt="1"/>
          </p:nvPr>
        </p:nvSpPr>
        <p:spPr>
          <a:xfrm>
            <a:off x="8731450" y="3505200"/>
            <a:ext cx="2557302" cy="324044"/>
          </a:xfrm>
        </p:spPr>
        <p:txBody>
          <a:bodyPr>
            <a:normAutofit/>
          </a:bodyPr>
          <a:lstStyle>
            <a:lvl1pPr>
              <a:defRPr sz="1600" b="1">
                <a:solidFill>
                  <a:schemeClr val="tx1"/>
                </a:solidFill>
              </a:defRPr>
            </a:lvl1pPr>
          </a:lstStyle>
          <a:p>
            <a:pPr lvl="0"/>
            <a:r>
              <a:rPr lang="en-US"/>
              <a:t>Lorem ipsum dolor</a:t>
            </a:r>
          </a:p>
        </p:txBody>
      </p:sp>
      <p:sp>
        <p:nvSpPr>
          <p:cNvPr id="38" name="Rectangle 37">
            <a:extLst>
              <a:ext uri="{FF2B5EF4-FFF2-40B4-BE49-F238E27FC236}">
                <a16:creationId xmlns:a16="http://schemas.microsoft.com/office/drawing/2014/main" id="{93E24841-D5DA-308D-C4FA-1230C1250DB6}"/>
              </a:ext>
            </a:extLst>
          </p:cNvPr>
          <p:cNvSpPr/>
          <p:nvPr userDrawn="1"/>
        </p:nvSpPr>
        <p:spPr>
          <a:xfrm>
            <a:off x="5652965" y="173410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39" name="Rectangle 38">
            <a:extLst>
              <a:ext uri="{FF2B5EF4-FFF2-40B4-BE49-F238E27FC236}">
                <a16:creationId xmlns:a16="http://schemas.microsoft.com/office/drawing/2014/main" id="{623B7E06-AEC1-1A82-D474-25CB9E798690}"/>
              </a:ext>
            </a:extLst>
          </p:cNvPr>
          <p:cNvSpPr/>
          <p:nvPr userDrawn="1"/>
        </p:nvSpPr>
        <p:spPr>
          <a:xfrm>
            <a:off x="5652965" y="32528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40" name="Rectangle 39">
            <a:extLst>
              <a:ext uri="{FF2B5EF4-FFF2-40B4-BE49-F238E27FC236}">
                <a16:creationId xmlns:a16="http://schemas.microsoft.com/office/drawing/2014/main" id="{68B39BD1-DFBA-C742-6146-CEE943A2FB82}"/>
              </a:ext>
            </a:extLst>
          </p:cNvPr>
          <p:cNvSpPr/>
          <p:nvPr userDrawn="1"/>
        </p:nvSpPr>
        <p:spPr>
          <a:xfrm>
            <a:off x="5652964" y="4878023"/>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nvGrpSpPr>
          <p:cNvPr id="3" name="Group 2">
            <a:extLst>
              <a:ext uri="{FF2B5EF4-FFF2-40B4-BE49-F238E27FC236}">
                <a16:creationId xmlns:a16="http://schemas.microsoft.com/office/drawing/2014/main" id="{12BD220D-68E4-AA53-DDAD-EF80DFB2208E}"/>
              </a:ext>
            </a:extLst>
          </p:cNvPr>
          <p:cNvGrpSpPr/>
          <p:nvPr userDrawn="1"/>
        </p:nvGrpSpPr>
        <p:grpSpPr>
          <a:xfrm>
            <a:off x="3547308" y="848082"/>
            <a:ext cx="4976734" cy="5161839"/>
            <a:chOff x="3547308" y="848082"/>
            <a:chExt cx="4976734" cy="5161839"/>
          </a:xfrm>
        </p:grpSpPr>
        <p:grpSp>
          <p:nvGrpSpPr>
            <p:cNvPr id="7" name="Group 6">
              <a:extLst>
                <a:ext uri="{FF2B5EF4-FFF2-40B4-BE49-F238E27FC236}">
                  <a16:creationId xmlns:a16="http://schemas.microsoft.com/office/drawing/2014/main" id="{A574C05B-E903-DC0A-55E6-6E5E5DEB84FA}"/>
                </a:ext>
              </a:extLst>
            </p:cNvPr>
            <p:cNvGrpSpPr/>
            <p:nvPr/>
          </p:nvGrpSpPr>
          <p:grpSpPr>
            <a:xfrm>
              <a:off x="3547308" y="848082"/>
              <a:ext cx="4976734" cy="5161839"/>
              <a:chOff x="4659207" y="480648"/>
              <a:chExt cx="3999564" cy="4587037"/>
            </a:xfrm>
          </p:grpSpPr>
          <p:sp>
            <p:nvSpPr>
              <p:cNvPr id="19" name="Freeform 18">
                <a:extLst>
                  <a:ext uri="{FF2B5EF4-FFF2-40B4-BE49-F238E27FC236}">
                    <a16:creationId xmlns:a16="http://schemas.microsoft.com/office/drawing/2014/main" id="{4C0F3549-F56E-A8AC-5437-475CE3DE30BE}"/>
                  </a:ext>
                </a:extLst>
              </p:cNvPr>
              <p:cNvSpPr/>
              <p:nvPr/>
            </p:nvSpPr>
            <p:spPr>
              <a:xfrm>
                <a:off x="6083773" y="480648"/>
                <a:ext cx="1150431" cy="1319488"/>
              </a:xfrm>
              <a:custGeom>
                <a:avLst/>
                <a:gdLst>
                  <a:gd name="connsiteX0" fmla="*/ 575216 w 1150431"/>
                  <a:gd name="connsiteY0" fmla="*/ 0 h 1319488"/>
                  <a:gd name="connsiteX1" fmla="*/ 0 w 1150431"/>
                  <a:gd name="connsiteY1" fmla="*/ 1319488 h 1319488"/>
                  <a:gd name="connsiteX2" fmla="*/ 1150431 w 1150431"/>
                  <a:gd name="connsiteY2" fmla="*/ 1319488 h 1319488"/>
                  <a:gd name="connsiteX3" fmla="*/ 575216 w 1150431"/>
                  <a:gd name="connsiteY3" fmla="*/ 0 h 1319488"/>
                </a:gdLst>
                <a:ahLst/>
                <a:cxnLst>
                  <a:cxn ang="0">
                    <a:pos x="connsiteX0" y="connsiteY0"/>
                  </a:cxn>
                  <a:cxn ang="0">
                    <a:pos x="connsiteX1" y="connsiteY1"/>
                  </a:cxn>
                  <a:cxn ang="0">
                    <a:pos x="connsiteX2" y="connsiteY2"/>
                  </a:cxn>
                  <a:cxn ang="0">
                    <a:pos x="connsiteX3" y="connsiteY3"/>
                  </a:cxn>
                </a:cxnLst>
                <a:rect l="l" t="t" r="r" b="b"/>
                <a:pathLst>
                  <a:path w="1150431" h="1319488">
                    <a:moveTo>
                      <a:pt x="575216" y="0"/>
                    </a:moveTo>
                    <a:lnTo>
                      <a:pt x="0" y="1319488"/>
                    </a:lnTo>
                    <a:lnTo>
                      <a:pt x="1150431" y="1319488"/>
                    </a:lnTo>
                    <a:lnTo>
                      <a:pt x="575216" y="0"/>
                    </a:lnTo>
                    <a:close/>
                  </a:path>
                </a:pathLst>
              </a:custGeom>
              <a:solidFill>
                <a:schemeClr val="accent1"/>
              </a:solidFill>
              <a:ln w="1417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2DD6789B-4DEF-9653-C5F8-87CFD02F83EF}"/>
                  </a:ext>
                </a:extLst>
              </p:cNvPr>
              <p:cNvSpPr/>
              <p:nvPr/>
            </p:nvSpPr>
            <p:spPr>
              <a:xfrm>
                <a:off x="4659207" y="4109983"/>
                <a:ext cx="3999564" cy="957702"/>
              </a:xfrm>
              <a:custGeom>
                <a:avLst/>
                <a:gdLst>
                  <a:gd name="connsiteX0" fmla="*/ 0 w 3999564"/>
                  <a:gd name="connsiteY0" fmla="*/ 957703 h 957702"/>
                  <a:gd name="connsiteX1" fmla="*/ 3999564 w 3999564"/>
                  <a:gd name="connsiteY1" fmla="*/ 957703 h 957702"/>
                  <a:gd name="connsiteX2" fmla="*/ 3581909 w 3999564"/>
                  <a:gd name="connsiteY2" fmla="*/ 0 h 957702"/>
                  <a:gd name="connsiteX3" fmla="*/ 417514 w 3999564"/>
                  <a:gd name="connsiteY3" fmla="*/ 0 h 957702"/>
                  <a:gd name="connsiteX4" fmla="*/ 0 w 3999564"/>
                  <a:gd name="connsiteY4" fmla="*/ 957703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9564" h="957702">
                    <a:moveTo>
                      <a:pt x="0" y="957703"/>
                    </a:moveTo>
                    <a:lnTo>
                      <a:pt x="3999564" y="957703"/>
                    </a:lnTo>
                    <a:lnTo>
                      <a:pt x="3581909" y="0"/>
                    </a:lnTo>
                    <a:lnTo>
                      <a:pt x="417514" y="0"/>
                    </a:lnTo>
                    <a:lnTo>
                      <a:pt x="0" y="957703"/>
                    </a:lnTo>
                    <a:close/>
                  </a:path>
                </a:pathLst>
              </a:custGeom>
              <a:solidFill>
                <a:schemeClr val="accent1"/>
              </a:solidFill>
              <a:ln w="1417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7BA0E879-50A0-B572-F4B3-01B022112F50}"/>
                  </a:ext>
                </a:extLst>
              </p:cNvPr>
              <p:cNvSpPr/>
              <p:nvPr/>
            </p:nvSpPr>
            <p:spPr>
              <a:xfrm>
                <a:off x="5134015" y="3020668"/>
                <a:ext cx="3049805" cy="957900"/>
              </a:xfrm>
              <a:custGeom>
                <a:avLst/>
                <a:gdLst>
                  <a:gd name="connsiteX0" fmla="*/ 283495 w 3049805"/>
                  <a:gd name="connsiteY0" fmla="*/ 307558 h 957900"/>
                  <a:gd name="connsiteX1" fmla="*/ 0 w 3049805"/>
                  <a:gd name="connsiteY1" fmla="*/ 957901 h 957900"/>
                  <a:gd name="connsiteX2" fmla="*/ 3049806 w 3049805"/>
                  <a:gd name="connsiteY2" fmla="*/ 957901 h 957900"/>
                  <a:gd name="connsiteX3" fmla="*/ 2766311 w 3049805"/>
                  <a:gd name="connsiteY3" fmla="*/ 307558 h 957900"/>
                  <a:gd name="connsiteX4" fmla="*/ 2632293 w 3049805"/>
                  <a:gd name="connsiteY4" fmla="*/ 0 h 957900"/>
                  <a:gd name="connsiteX5" fmla="*/ 417513 w 3049805"/>
                  <a:gd name="connsiteY5" fmla="*/ 0 h 957900"/>
                  <a:gd name="connsiteX6" fmla="*/ 283495 w 3049805"/>
                  <a:gd name="connsiteY6" fmla="*/ 307558 h 9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9805" h="957900">
                    <a:moveTo>
                      <a:pt x="283495" y="307558"/>
                    </a:moveTo>
                    <a:lnTo>
                      <a:pt x="0" y="957901"/>
                    </a:lnTo>
                    <a:lnTo>
                      <a:pt x="3049806" y="957901"/>
                    </a:lnTo>
                    <a:lnTo>
                      <a:pt x="2766311" y="307558"/>
                    </a:lnTo>
                    <a:lnTo>
                      <a:pt x="2632293" y="0"/>
                    </a:lnTo>
                    <a:lnTo>
                      <a:pt x="417513" y="0"/>
                    </a:lnTo>
                    <a:lnTo>
                      <a:pt x="283495" y="307558"/>
                    </a:lnTo>
                    <a:close/>
                  </a:path>
                </a:pathLst>
              </a:custGeom>
              <a:solidFill>
                <a:schemeClr val="accent3"/>
              </a:solidFill>
              <a:ln w="1417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52EA3AAD-9D5C-8E2C-5D6A-B30BD2630BD6}"/>
                  </a:ext>
                </a:extLst>
              </p:cNvPr>
              <p:cNvSpPr/>
              <p:nvPr/>
            </p:nvSpPr>
            <p:spPr>
              <a:xfrm>
                <a:off x="5608823" y="1931550"/>
                <a:ext cx="2100189" cy="957702"/>
              </a:xfrm>
              <a:custGeom>
                <a:avLst/>
                <a:gdLst>
                  <a:gd name="connsiteX0" fmla="*/ 417655 w 2100189"/>
                  <a:gd name="connsiteY0" fmla="*/ 0 h 957702"/>
                  <a:gd name="connsiteX1" fmla="*/ 0 w 2100189"/>
                  <a:gd name="connsiteY1" fmla="*/ 957703 h 957702"/>
                  <a:gd name="connsiteX2" fmla="*/ 2100190 w 2100189"/>
                  <a:gd name="connsiteY2" fmla="*/ 957703 h 957702"/>
                  <a:gd name="connsiteX3" fmla="*/ 1682676 w 2100189"/>
                  <a:gd name="connsiteY3" fmla="*/ 0 h 957702"/>
                  <a:gd name="connsiteX4" fmla="*/ 417655 w 2100189"/>
                  <a:gd name="connsiteY4" fmla="*/ 0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189" h="957702">
                    <a:moveTo>
                      <a:pt x="417655" y="0"/>
                    </a:moveTo>
                    <a:lnTo>
                      <a:pt x="0" y="957703"/>
                    </a:lnTo>
                    <a:lnTo>
                      <a:pt x="2100190" y="957703"/>
                    </a:lnTo>
                    <a:lnTo>
                      <a:pt x="1682676" y="0"/>
                    </a:lnTo>
                    <a:lnTo>
                      <a:pt x="417655" y="0"/>
                    </a:lnTo>
                    <a:close/>
                  </a:path>
                </a:pathLst>
              </a:custGeom>
              <a:solidFill>
                <a:schemeClr val="tx2"/>
              </a:solidFill>
              <a:ln w="14179" cap="flat">
                <a:noFill/>
                <a:prstDash val="solid"/>
                <a:miter/>
              </a:ln>
            </p:spPr>
            <p:txBody>
              <a:bodyPr rtlCol="0" anchor="ctr"/>
              <a:lstStyle/>
              <a:p>
                <a:endParaRPr lang="en-US"/>
              </a:p>
            </p:txBody>
          </p:sp>
        </p:grpSp>
        <p:sp>
          <p:nvSpPr>
            <p:cNvPr id="8" name="Rectangle 7">
              <a:extLst>
                <a:ext uri="{FF2B5EF4-FFF2-40B4-BE49-F238E27FC236}">
                  <a16:creationId xmlns:a16="http://schemas.microsoft.com/office/drawing/2014/main" id="{05E23146-ED2B-3363-297C-CBF51BF37A10}"/>
                </a:ext>
              </a:extLst>
            </p:cNvPr>
            <p:cNvSpPr/>
            <p:nvPr/>
          </p:nvSpPr>
          <p:spPr>
            <a:xfrm>
              <a:off x="5647273" y="153245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6" name="Rectangle 15">
              <a:extLst>
                <a:ext uri="{FF2B5EF4-FFF2-40B4-BE49-F238E27FC236}">
                  <a16:creationId xmlns:a16="http://schemas.microsoft.com/office/drawing/2014/main" id="{B35AE6B4-ED04-F413-6D20-239C0B84CECE}"/>
                </a:ext>
              </a:extLst>
            </p:cNvPr>
            <p:cNvSpPr/>
            <p:nvPr/>
          </p:nvSpPr>
          <p:spPr>
            <a:xfrm>
              <a:off x="5647272" y="2658654"/>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7" name="Rectangle 16">
              <a:extLst>
                <a:ext uri="{FF2B5EF4-FFF2-40B4-BE49-F238E27FC236}">
                  <a16:creationId xmlns:a16="http://schemas.microsoft.com/office/drawing/2014/main" id="{09BCA15F-EBA9-4AE6-FD3F-7B6734D3FE1D}"/>
                </a:ext>
              </a:extLst>
            </p:cNvPr>
            <p:cNvSpPr/>
            <p:nvPr/>
          </p:nvSpPr>
          <p:spPr>
            <a:xfrm>
              <a:off x="5647272" y="385108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18" name="Rectangle 17">
              <a:extLst>
                <a:ext uri="{FF2B5EF4-FFF2-40B4-BE49-F238E27FC236}">
                  <a16:creationId xmlns:a16="http://schemas.microsoft.com/office/drawing/2014/main" id="{67BFA213-2980-7828-FB9F-942DEC0DF5F7}"/>
                </a:ext>
              </a:extLst>
            </p:cNvPr>
            <p:cNvSpPr/>
            <p:nvPr/>
          </p:nvSpPr>
          <p:spPr>
            <a:xfrm>
              <a:off x="5647272" y="5128070"/>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32" name="Text Placeholder 49">
            <a:extLst>
              <a:ext uri="{FF2B5EF4-FFF2-40B4-BE49-F238E27FC236}">
                <a16:creationId xmlns:a16="http://schemas.microsoft.com/office/drawing/2014/main" id="{025ACA80-5E3E-ECBA-0342-7354F2C2C8E3}"/>
              </a:ext>
            </a:extLst>
          </p:cNvPr>
          <p:cNvSpPr>
            <a:spLocks noGrp="1"/>
          </p:cNvSpPr>
          <p:nvPr>
            <p:ph type="body" sz="quarter" idx="22" hasCustomPrompt="1"/>
          </p:nvPr>
        </p:nvSpPr>
        <p:spPr>
          <a:xfrm>
            <a:off x="8715400" y="5111835"/>
            <a:ext cx="2573352" cy="865913"/>
          </a:xfrm>
        </p:spPr>
        <p:txBody>
          <a:bodyPr>
            <a:normAutofit/>
          </a:bodyPr>
          <a:lstStyle>
            <a:lvl1pPr>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Tree>
    <p:extLst>
      <p:ext uri="{BB962C8B-B14F-4D97-AF65-F5344CB8AC3E}">
        <p14:creationId xmlns:p14="http://schemas.microsoft.com/office/powerpoint/2010/main" val="215463697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5 point pyrami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ive point</a:t>
            </a:r>
            <a:br>
              <a:rPr lang="en-US"/>
            </a:br>
            <a:r>
              <a:rPr lang="en-US"/>
              <a:t>pyramid</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Slide Number Placeholder 2">
            <a:extLst>
              <a:ext uri="{FF2B5EF4-FFF2-40B4-BE49-F238E27FC236}">
                <a16:creationId xmlns:a16="http://schemas.microsoft.com/office/drawing/2014/main" id="{C5A49297-8DA7-D81F-E1EA-3F31BF7B23C9}"/>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50" name="Text Placeholder 49">
            <a:extLst>
              <a:ext uri="{FF2B5EF4-FFF2-40B4-BE49-F238E27FC236}">
                <a16:creationId xmlns:a16="http://schemas.microsoft.com/office/drawing/2014/main" id="{389D39FA-A03C-EDAA-789F-FDE7EEF1449D}"/>
              </a:ext>
            </a:extLst>
          </p:cNvPr>
          <p:cNvSpPr>
            <a:spLocks noGrp="1"/>
          </p:cNvSpPr>
          <p:nvPr>
            <p:ph type="body" sz="quarter" idx="16" hasCustomPrompt="1"/>
          </p:nvPr>
        </p:nvSpPr>
        <p:spPr>
          <a:xfrm>
            <a:off x="8720940" y="1158456"/>
            <a:ext cx="2573352"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1" name="Text Placeholder 49">
            <a:extLst>
              <a:ext uri="{FF2B5EF4-FFF2-40B4-BE49-F238E27FC236}">
                <a16:creationId xmlns:a16="http://schemas.microsoft.com/office/drawing/2014/main" id="{3730989F-3C5B-0D21-C96E-ECBB026FAC97}"/>
              </a:ext>
            </a:extLst>
          </p:cNvPr>
          <p:cNvSpPr>
            <a:spLocks noGrp="1"/>
          </p:cNvSpPr>
          <p:nvPr>
            <p:ph type="body" sz="quarter" idx="17" hasCustomPrompt="1"/>
          </p:nvPr>
        </p:nvSpPr>
        <p:spPr>
          <a:xfrm>
            <a:off x="8736990" y="798554"/>
            <a:ext cx="2557302" cy="324044"/>
          </a:xfrm>
        </p:spPr>
        <p:txBody>
          <a:bodyPr>
            <a:normAutofit/>
          </a:bodyPr>
          <a:lstStyle>
            <a:lvl1pPr>
              <a:defRPr sz="1600" b="1">
                <a:solidFill>
                  <a:schemeClr val="tx1"/>
                </a:solidFill>
              </a:defRPr>
            </a:lvl1pPr>
          </a:lstStyle>
          <a:p>
            <a:pPr lvl="0"/>
            <a:r>
              <a:rPr lang="en-US"/>
              <a:t>Lorem ipsum dolor</a:t>
            </a:r>
          </a:p>
        </p:txBody>
      </p:sp>
      <p:cxnSp>
        <p:nvCxnSpPr>
          <p:cNvPr id="52" name="Straight Connector 51">
            <a:extLst>
              <a:ext uri="{FF2B5EF4-FFF2-40B4-BE49-F238E27FC236}">
                <a16:creationId xmlns:a16="http://schemas.microsoft.com/office/drawing/2014/main" id="{D93B5DE0-2778-55D8-5B63-06B3ED9A875C}"/>
              </a:ext>
            </a:extLst>
          </p:cNvPr>
          <p:cNvCxnSpPr>
            <a:cxnSpLocks/>
          </p:cNvCxnSpPr>
          <p:nvPr userDrawn="1"/>
        </p:nvCxnSpPr>
        <p:spPr>
          <a:xfrm>
            <a:off x="6035783" y="1102648"/>
            <a:ext cx="5400566" cy="1328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93BBF5-7965-705C-7066-2A8B368C2ADE}"/>
              </a:ext>
            </a:extLst>
          </p:cNvPr>
          <p:cNvCxnSpPr>
            <a:cxnSpLocks/>
          </p:cNvCxnSpPr>
          <p:nvPr userDrawn="1"/>
        </p:nvCxnSpPr>
        <p:spPr>
          <a:xfrm>
            <a:off x="6605127" y="2168093"/>
            <a:ext cx="4831223" cy="1523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 Placeholder 49">
            <a:extLst>
              <a:ext uri="{FF2B5EF4-FFF2-40B4-BE49-F238E27FC236}">
                <a16:creationId xmlns:a16="http://schemas.microsoft.com/office/drawing/2014/main" id="{FABE6391-6130-80DD-2E80-D09786D417D0}"/>
              </a:ext>
            </a:extLst>
          </p:cNvPr>
          <p:cNvSpPr>
            <a:spLocks noGrp="1"/>
          </p:cNvSpPr>
          <p:nvPr>
            <p:ph type="body" sz="quarter" idx="19" hasCustomPrompt="1"/>
          </p:nvPr>
        </p:nvSpPr>
        <p:spPr>
          <a:xfrm>
            <a:off x="8720374" y="1869673"/>
            <a:ext cx="2557302" cy="324044"/>
          </a:xfrm>
        </p:spPr>
        <p:txBody>
          <a:bodyPr>
            <a:normAutofit/>
          </a:bodyPr>
          <a:lstStyle>
            <a:lvl1pPr>
              <a:defRPr sz="1600" b="1">
                <a:solidFill>
                  <a:schemeClr val="tx1"/>
                </a:solidFill>
              </a:defRPr>
            </a:lvl1pPr>
          </a:lstStyle>
          <a:p>
            <a:pPr lvl="0"/>
            <a:r>
              <a:rPr lang="en-US"/>
              <a:t>Lorem ipsum dolor</a:t>
            </a:r>
          </a:p>
        </p:txBody>
      </p:sp>
      <p:sp>
        <p:nvSpPr>
          <p:cNvPr id="38" name="Rectangle 37">
            <a:extLst>
              <a:ext uri="{FF2B5EF4-FFF2-40B4-BE49-F238E27FC236}">
                <a16:creationId xmlns:a16="http://schemas.microsoft.com/office/drawing/2014/main" id="{93E24841-D5DA-308D-C4FA-1230C1250DB6}"/>
              </a:ext>
            </a:extLst>
          </p:cNvPr>
          <p:cNvSpPr/>
          <p:nvPr userDrawn="1"/>
        </p:nvSpPr>
        <p:spPr>
          <a:xfrm>
            <a:off x="5652965" y="173410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39" name="Rectangle 38">
            <a:extLst>
              <a:ext uri="{FF2B5EF4-FFF2-40B4-BE49-F238E27FC236}">
                <a16:creationId xmlns:a16="http://schemas.microsoft.com/office/drawing/2014/main" id="{623B7E06-AEC1-1A82-D474-25CB9E798690}"/>
              </a:ext>
            </a:extLst>
          </p:cNvPr>
          <p:cNvSpPr/>
          <p:nvPr userDrawn="1"/>
        </p:nvSpPr>
        <p:spPr>
          <a:xfrm>
            <a:off x="5652965" y="32528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40" name="Rectangle 39">
            <a:extLst>
              <a:ext uri="{FF2B5EF4-FFF2-40B4-BE49-F238E27FC236}">
                <a16:creationId xmlns:a16="http://schemas.microsoft.com/office/drawing/2014/main" id="{68B39BD1-DFBA-C742-6146-CEE943A2FB82}"/>
              </a:ext>
            </a:extLst>
          </p:cNvPr>
          <p:cNvSpPr/>
          <p:nvPr userDrawn="1"/>
        </p:nvSpPr>
        <p:spPr>
          <a:xfrm>
            <a:off x="5652964" y="4878023"/>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1" name="Text Placeholder 49">
            <a:extLst>
              <a:ext uri="{FF2B5EF4-FFF2-40B4-BE49-F238E27FC236}">
                <a16:creationId xmlns:a16="http://schemas.microsoft.com/office/drawing/2014/main" id="{C038B52C-CDF4-0DF2-3FA2-39E60F1AB1CD}"/>
              </a:ext>
            </a:extLst>
          </p:cNvPr>
          <p:cNvSpPr>
            <a:spLocks noGrp="1"/>
          </p:cNvSpPr>
          <p:nvPr>
            <p:ph type="body" sz="quarter" idx="22" hasCustomPrompt="1"/>
          </p:nvPr>
        </p:nvSpPr>
        <p:spPr>
          <a:xfrm>
            <a:off x="8720940" y="2191778"/>
            <a:ext cx="2573352"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cxnSp>
        <p:nvCxnSpPr>
          <p:cNvPr id="32" name="Straight Connector 31">
            <a:extLst>
              <a:ext uri="{FF2B5EF4-FFF2-40B4-BE49-F238E27FC236}">
                <a16:creationId xmlns:a16="http://schemas.microsoft.com/office/drawing/2014/main" id="{D76E717A-73F7-8CA1-BE52-D0D8CDEC8C02}"/>
              </a:ext>
            </a:extLst>
          </p:cNvPr>
          <p:cNvCxnSpPr>
            <a:cxnSpLocks/>
          </p:cNvCxnSpPr>
          <p:nvPr userDrawn="1"/>
        </p:nvCxnSpPr>
        <p:spPr>
          <a:xfrm>
            <a:off x="6605127" y="3189904"/>
            <a:ext cx="4831223" cy="1523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9">
            <a:extLst>
              <a:ext uri="{FF2B5EF4-FFF2-40B4-BE49-F238E27FC236}">
                <a16:creationId xmlns:a16="http://schemas.microsoft.com/office/drawing/2014/main" id="{FCA0BE06-BEA7-32EE-7BA7-E3F599349ECD}"/>
              </a:ext>
            </a:extLst>
          </p:cNvPr>
          <p:cNvSpPr>
            <a:spLocks noGrp="1"/>
          </p:cNvSpPr>
          <p:nvPr>
            <p:ph type="body" sz="quarter" idx="23" hasCustomPrompt="1"/>
          </p:nvPr>
        </p:nvSpPr>
        <p:spPr>
          <a:xfrm>
            <a:off x="8720374" y="2891484"/>
            <a:ext cx="2557302" cy="324044"/>
          </a:xfrm>
        </p:spPr>
        <p:txBody>
          <a:bodyPr>
            <a:normAutofit/>
          </a:bodyPr>
          <a:lstStyle>
            <a:lvl1pPr>
              <a:defRPr sz="1600" b="1">
                <a:solidFill>
                  <a:schemeClr val="tx1"/>
                </a:solidFill>
              </a:defRPr>
            </a:lvl1pPr>
          </a:lstStyle>
          <a:p>
            <a:pPr lvl="0"/>
            <a:r>
              <a:rPr lang="en-US"/>
              <a:t>Lorem ipsum dolor</a:t>
            </a:r>
          </a:p>
        </p:txBody>
      </p:sp>
      <p:sp>
        <p:nvSpPr>
          <p:cNvPr id="34" name="Text Placeholder 49">
            <a:extLst>
              <a:ext uri="{FF2B5EF4-FFF2-40B4-BE49-F238E27FC236}">
                <a16:creationId xmlns:a16="http://schemas.microsoft.com/office/drawing/2014/main" id="{C3AAD83A-0AAD-372A-A2E8-B58987F608C6}"/>
              </a:ext>
            </a:extLst>
          </p:cNvPr>
          <p:cNvSpPr>
            <a:spLocks noGrp="1"/>
          </p:cNvSpPr>
          <p:nvPr>
            <p:ph type="body" sz="quarter" idx="24" hasCustomPrompt="1"/>
          </p:nvPr>
        </p:nvSpPr>
        <p:spPr>
          <a:xfrm>
            <a:off x="8720940" y="3213589"/>
            <a:ext cx="2573352"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cxnSp>
        <p:nvCxnSpPr>
          <p:cNvPr id="35" name="Straight Connector 34">
            <a:extLst>
              <a:ext uri="{FF2B5EF4-FFF2-40B4-BE49-F238E27FC236}">
                <a16:creationId xmlns:a16="http://schemas.microsoft.com/office/drawing/2014/main" id="{CA5675F7-255B-689D-EE6E-1CA53A798553}"/>
              </a:ext>
            </a:extLst>
          </p:cNvPr>
          <p:cNvCxnSpPr>
            <a:cxnSpLocks/>
          </p:cNvCxnSpPr>
          <p:nvPr userDrawn="1"/>
        </p:nvCxnSpPr>
        <p:spPr>
          <a:xfrm>
            <a:off x="6614126" y="4192704"/>
            <a:ext cx="4831223" cy="1523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Placeholder 49">
            <a:extLst>
              <a:ext uri="{FF2B5EF4-FFF2-40B4-BE49-F238E27FC236}">
                <a16:creationId xmlns:a16="http://schemas.microsoft.com/office/drawing/2014/main" id="{C7D375DA-58D6-465B-C9E7-2D12D8A9ABC9}"/>
              </a:ext>
            </a:extLst>
          </p:cNvPr>
          <p:cNvSpPr>
            <a:spLocks noGrp="1"/>
          </p:cNvSpPr>
          <p:nvPr>
            <p:ph type="body" sz="quarter" idx="25" hasCustomPrompt="1"/>
          </p:nvPr>
        </p:nvSpPr>
        <p:spPr>
          <a:xfrm>
            <a:off x="8729373" y="3894284"/>
            <a:ext cx="2557302" cy="324044"/>
          </a:xfrm>
        </p:spPr>
        <p:txBody>
          <a:bodyPr>
            <a:normAutofit/>
          </a:bodyPr>
          <a:lstStyle>
            <a:lvl1pPr>
              <a:defRPr sz="1600" b="1">
                <a:solidFill>
                  <a:schemeClr val="tx1"/>
                </a:solidFill>
              </a:defRPr>
            </a:lvl1pPr>
          </a:lstStyle>
          <a:p>
            <a:pPr lvl="0"/>
            <a:r>
              <a:rPr lang="en-US"/>
              <a:t>Lorem ipsum dolor</a:t>
            </a:r>
          </a:p>
        </p:txBody>
      </p:sp>
      <p:sp>
        <p:nvSpPr>
          <p:cNvPr id="37" name="Text Placeholder 49">
            <a:extLst>
              <a:ext uri="{FF2B5EF4-FFF2-40B4-BE49-F238E27FC236}">
                <a16:creationId xmlns:a16="http://schemas.microsoft.com/office/drawing/2014/main" id="{400166FF-E8AA-E662-64FE-2BB3EE726E65}"/>
              </a:ext>
            </a:extLst>
          </p:cNvPr>
          <p:cNvSpPr>
            <a:spLocks noGrp="1"/>
          </p:cNvSpPr>
          <p:nvPr>
            <p:ph type="body" sz="quarter" idx="26" hasCustomPrompt="1"/>
          </p:nvPr>
        </p:nvSpPr>
        <p:spPr>
          <a:xfrm>
            <a:off x="8729939" y="4216389"/>
            <a:ext cx="2573352"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cxnSp>
        <p:nvCxnSpPr>
          <p:cNvPr id="41" name="Straight Connector 40">
            <a:extLst>
              <a:ext uri="{FF2B5EF4-FFF2-40B4-BE49-F238E27FC236}">
                <a16:creationId xmlns:a16="http://schemas.microsoft.com/office/drawing/2014/main" id="{34E99D73-0487-A4F1-B5BB-8DD860DD3C82}"/>
              </a:ext>
            </a:extLst>
          </p:cNvPr>
          <p:cNvCxnSpPr>
            <a:cxnSpLocks/>
          </p:cNvCxnSpPr>
          <p:nvPr userDrawn="1"/>
        </p:nvCxnSpPr>
        <p:spPr>
          <a:xfrm>
            <a:off x="6614126" y="5227431"/>
            <a:ext cx="4831223" cy="1523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49">
            <a:extLst>
              <a:ext uri="{FF2B5EF4-FFF2-40B4-BE49-F238E27FC236}">
                <a16:creationId xmlns:a16="http://schemas.microsoft.com/office/drawing/2014/main" id="{E0275718-9D6E-9171-2E2B-FA2E7B591063}"/>
              </a:ext>
            </a:extLst>
          </p:cNvPr>
          <p:cNvSpPr>
            <a:spLocks noGrp="1"/>
          </p:cNvSpPr>
          <p:nvPr>
            <p:ph type="body" sz="quarter" idx="27" hasCustomPrompt="1"/>
          </p:nvPr>
        </p:nvSpPr>
        <p:spPr>
          <a:xfrm>
            <a:off x="8729373" y="4929011"/>
            <a:ext cx="2557302" cy="324044"/>
          </a:xfrm>
        </p:spPr>
        <p:txBody>
          <a:bodyPr>
            <a:normAutofit/>
          </a:bodyPr>
          <a:lstStyle>
            <a:lvl1pPr>
              <a:defRPr sz="1600" b="1">
                <a:solidFill>
                  <a:schemeClr val="tx1"/>
                </a:solidFill>
              </a:defRPr>
            </a:lvl1pPr>
          </a:lstStyle>
          <a:p>
            <a:pPr lvl="0"/>
            <a:r>
              <a:rPr lang="en-US"/>
              <a:t>Lorem ipsum dolor</a:t>
            </a:r>
          </a:p>
        </p:txBody>
      </p:sp>
      <p:sp>
        <p:nvSpPr>
          <p:cNvPr id="43" name="Text Placeholder 49">
            <a:extLst>
              <a:ext uri="{FF2B5EF4-FFF2-40B4-BE49-F238E27FC236}">
                <a16:creationId xmlns:a16="http://schemas.microsoft.com/office/drawing/2014/main" id="{FD7EE501-6566-05C5-DCC8-0890A7C9B161}"/>
              </a:ext>
            </a:extLst>
          </p:cNvPr>
          <p:cNvSpPr>
            <a:spLocks noGrp="1"/>
          </p:cNvSpPr>
          <p:nvPr>
            <p:ph type="body" sz="quarter" idx="28" hasCustomPrompt="1"/>
          </p:nvPr>
        </p:nvSpPr>
        <p:spPr>
          <a:xfrm>
            <a:off x="8729939" y="5251116"/>
            <a:ext cx="2573352"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grpSp>
        <p:nvGrpSpPr>
          <p:cNvPr id="3" name="Group 2">
            <a:extLst>
              <a:ext uri="{FF2B5EF4-FFF2-40B4-BE49-F238E27FC236}">
                <a16:creationId xmlns:a16="http://schemas.microsoft.com/office/drawing/2014/main" id="{ACBAA1EC-21F1-48CF-ADF3-C6FDF59A97BD}"/>
              </a:ext>
            </a:extLst>
          </p:cNvPr>
          <p:cNvGrpSpPr/>
          <p:nvPr userDrawn="1"/>
        </p:nvGrpSpPr>
        <p:grpSpPr>
          <a:xfrm>
            <a:off x="3552788" y="788988"/>
            <a:ext cx="4965773" cy="5206959"/>
            <a:chOff x="3552788" y="788988"/>
            <a:chExt cx="4965773" cy="5206959"/>
          </a:xfrm>
        </p:grpSpPr>
        <p:grpSp>
          <p:nvGrpSpPr>
            <p:cNvPr id="7" name="Group 6">
              <a:extLst>
                <a:ext uri="{FF2B5EF4-FFF2-40B4-BE49-F238E27FC236}">
                  <a16:creationId xmlns:a16="http://schemas.microsoft.com/office/drawing/2014/main" id="{F0A4FF41-EAEB-EFA1-0554-17C19206BF20}"/>
                </a:ext>
              </a:extLst>
            </p:cNvPr>
            <p:cNvGrpSpPr/>
            <p:nvPr/>
          </p:nvGrpSpPr>
          <p:grpSpPr>
            <a:xfrm>
              <a:off x="3552788" y="788988"/>
              <a:ext cx="4965773" cy="5206959"/>
              <a:chOff x="4176032" y="480648"/>
              <a:chExt cx="4965773" cy="5695352"/>
            </a:xfrm>
          </p:grpSpPr>
          <p:sp>
            <p:nvSpPr>
              <p:cNvPr id="20" name="Freeform 19">
                <a:extLst>
                  <a:ext uri="{FF2B5EF4-FFF2-40B4-BE49-F238E27FC236}">
                    <a16:creationId xmlns:a16="http://schemas.microsoft.com/office/drawing/2014/main" id="{B03D95C1-0FFD-74A4-4F28-3D17506FC37C}"/>
                  </a:ext>
                </a:extLst>
              </p:cNvPr>
              <p:cNvSpPr/>
              <p:nvPr/>
            </p:nvSpPr>
            <p:spPr>
              <a:xfrm>
                <a:off x="4176032" y="5199298"/>
                <a:ext cx="4965773" cy="976702"/>
              </a:xfrm>
              <a:custGeom>
                <a:avLst/>
                <a:gdLst>
                  <a:gd name="connsiteX0" fmla="*/ 0 w 4965773"/>
                  <a:gd name="connsiteY0" fmla="*/ 976702 h 976702"/>
                  <a:gd name="connsiteX1" fmla="*/ 2482958 w 4965773"/>
                  <a:gd name="connsiteY1" fmla="*/ 976702 h 976702"/>
                  <a:gd name="connsiteX2" fmla="*/ 4965773 w 4965773"/>
                  <a:gd name="connsiteY2" fmla="*/ 976702 h 976702"/>
                  <a:gd name="connsiteX3" fmla="*/ 4540035 w 4965773"/>
                  <a:gd name="connsiteY3" fmla="*/ 0 h 976702"/>
                  <a:gd name="connsiteX4" fmla="*/ 425739 w 4965773"/>
                  <a:gd name="connsiteY4" fmla="*/ 0 h 976702"/>
                  <a:gd name="connsiteX5" fmla="*/ 0 w 4965773"/>
                  <a:gd name="connsiteY5" fmla="*/ 976702 h 97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5773" h="976702">
                    <a:moveTo>
                      <a:pt x="0" y="976702"/>
                    </a:moveTo>
                    <a:lnTo>
                      <a:pt x="2482958" y="976702"/>
                    </a:lnTo>
                    <a:lnTo>
                      <a:pt x="4965773" y="976702"/>
                    </a:lnTo>
                    <a:lnTo>
                      <a:pt x="4540035" y="0"/>
                    </a:lnTo>
                    <a:lnTo>
                      <a:pt x="425739" y="0"/>
                    </a:lnTo>
                    <a:lnTo>
                      <a:pt x="0" y="976702"/>
                    </a:lnTo>
                    <a:close/>
                  </a:path>
                </a:pathLst>
              </a:custGeom>
              <a:solidFill>
                <a:schemeClr val="tx2"/>
              </a:solidFill>
              <a:ln w="1417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7240EDAE-C343-2C98-5779-F4B825733C2D}"/>
                  </a:ext>
                </a:extLst>
              </p:cNvPr>
              <p:cNvSpPr/>
              <p:nvPr/>
            </p:nvSpPr>
            <p:spPr>
              <a:xfrm>
                <a:off x="6083773" y="480648"/>
                <a:ext cx="1150431" cy="1319488"/>
              </a:xfrm>
              <a:custGeom>
                <a:avLst/>
                <a:gdLst>
                  <a:gd name="connsiteX0" fmla="*/ 575216 w 1150431"/>
                  <a:gd name="connsiteY0" fmla="*/ 0 h 1319488"/>
                  <a:gd name="connsiteX1" fmla="*/ 0 w 1150431"/>
                  <a:gd name="connsiteY1" fmla="*/ 1319488 h 1319488"/>
                  <a:gd name="connsiteX2" fmla="*/ 1150431 w 1150431"/>
                  <a:gd name="connsiteY2" fmla="*/ 1319488 h 1319488"/>
                  <a:gd name="connsiteX3" fmla="*/ 575216 w 1150431"/>
                  <a:gd name="connsiteY3" fmla="*/ 0 h 1319488"/>
                </a:gdLst>
                <a:ahLst/>
                <a:cxnLst>
                  <a:cxn ang="0">
                    <a:pos x="connsiteX0" y="connsiteY0"/>
                  </a:cxn>
                  <a:cxn ang="0">
                    <a:pos x="connsiteX1" y="connsiteY1"/>
                  </a:cxn>
                  <a:cxn ang="0">
                    <a:pos x="connsiteX2" y="connsiteY2"/>
                  </a:cxn>
                  <a:cxn ang="0">
                    <a:pos x="connsiteX3" y="connsiteY3"/>
                  </a:cxn>
                </a:cxnLst>
                <a:rect l="l" t="t" r="r" b="b"/>
                <a:pathLst>
                  <a:path w="1150431" h="1319488">
                    <a:moveTo>
                      <a:pt x="575216" y="0"/>
                    </a:moveTo>
                    <a:lnTo>
                      <a:pt x="0" y="1319488"/>
                    </a:lnTo>
                    <a:lnTo>
                      <a:pt x="1150431" y="1319488"/>
                    </a:lnTo>
                    <a:lnTo>
                      <a:pt x="575216" y="0"/>
                    </a:lnTo>
                    <a:close/>
                  </a:path>
                </a:pathLst>
              </a:custGeom>
              <a:solidFill>
                <a:schemeClr val="accent1"/>
              </a:solidFill>
              <a:ln w="1417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0BA9C11C-25B7-8E09-02AE-D5A50A46996B}"/>
                  </a:ext>
                </a:extLst>
              </p:cNvPr>
              <p:cNvSpPr/>
              <p:nvPr/>
            </p:nvSpPr>
            <p:spPr>
              <a:xfrm>
                <a:off x="4659207" y="4109983"/>
                <a:ext cx="3999564" cy="957702"/>
              </a:xfrm>
              <a:custGeom>
                <a:avLst/>
                <a:gdLst>
                  <a:gd name="connsiteX0" fmla="*/ 0 w 3999564"/>
                  <a:gd name="connsiteY0" fmla="*/ 957703 h 957702"/>
                  <a:gd name="connsiteX1" fmla="*/ 3999564 w 3999564"/>
                  <a:gd name="connsiteY1" fmla="*/ 957703 h 957702"/>
                  <a:gd name="connsiteX2" fmla="*/ 3581909 w 3999564"/>
                  <a:gd name="connsiteY2" fmla="*/ 0 h 957702"/>
                  <a:gd name="connsiteX3" fmla="*/ 417514 w 3999564"/>
                  <a:gd name="connsiteY3" fmla="*/ 0 h 957702"/>
                  <a:gd name="connsiteX4" fmla="*/ 0 w 3999564"/>
                  <a:gd name="connsiteY4" fmla="*/ 957703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9564" h="957702">
                    <a:moveTo>
                      <a:pt x="0" y="957703"/>
                    </a:moveTo>
                    <a:lnTo>
                      <a:pt x="3999564" y="957703"/>
                    </a:lnTo>
                    <a:lnTo>
                      <a:pt x="3581909" y="0"/>
                    </a:lnTo>
                    <a:lnTo>
                      <a:pt x="417514" y="0"/>
                    </a:lnTo>
                    <a:lnTo>
                      <a:pt x="0" y="957703"/>
                    </a:lnTo>
                    <a:close/>
                  </a:path>
                </a:pathLst>
              </a:custGeom>
              <a:solidFill>
                <a:schemeClr val="accent1"/>
              </a:solidFill>
              <a:ln w="14179"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5B69CE21-3415-9089-5D55-60C48C121AFB}"/>
                  </a:ext>
                </a:extLst>
              </p:cNvPr>
              <p:cNvSpPr/>
              <p:nvPr/>
            </p:nvSpPr>
            <p:spPr>
              <a:xfrm>
                <a:off x="5134015" y="3020668"/>
                <a:ext cx="3049805" cy="957900"/>
              </a:xfrm>
              <a:custGeom>
                <a:avLst/>
                <a:gdLst>
                  <a:gd name="connsiteX0" fmla="*/ 283495 w 3049805"/>
                  <a:gd name="connsiteY0" fmla="*/ 307558 h 957900"/>
                  <a:gd name="connsiteX1" fmla="*/ 0 w 3049805"/>
                  <a:gd name="connsiteY1" fmla="*/ 957901 h 957900"/>
                  <a:gd name="connsiteX2" fmla="*/ 3049806 w 3049805"/>
                  <a:gd name="connsiteY2" fmla="*/ 957901 h 957900"/>
                  <a:gd name="connsiteX3" fmla="*/ 2766311 w 3049805"/>
                  <a:gd name="connsiteY3" fmla="*/ 307558 h 957900"/>
                  <a:gd name="connsiteX4" fmla="*/ 2632293 w 3049805"/>
                  <a:gd name="connsiteY4" fmla="*/ 0 h 957900"/>
                  <a:gd name="connsiteX5" fmla="*/ 417513 w 3049805"/>
                  <a:gd name="connsiteY5" fmla="*/ 0 h 957900"/>
                  <a:gd name="connsiteX6" fmla="*/ 283495 w 3049805"/>
                  <a:gd name="connsiteY6" fmla="*/ 307558 h 9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9805" h="957900">
                    <a:moveTo>
                      <a:pt x="283495" y="307558"/>
                    </a:moveTo>
                    <a:lnTo>
                      <a:pt x="0" y="957901"/>
                    </a:lnTo>
                    <a:lnTo>
                      <a:pt x="3049806" y="957901"/>
                    </a:lnTo>
                    <a:lnTo>
                      <a:pt x="2766311" y="307558"/>
                    </a:lnTo>
                    <a:lnTo>
                      <a:pt x="2632293" y="0"/>
                    </a:lnTo>
                    <a:lnTo>
                      <a:pt x="417513" y="0"/>
                    </a:lnTo>
                    <a:lnTo>
                      <a:pt x="283495" y="307558"/>
                    </a:lnTo>
                    <a:close/>
                  </a:path>
                </a:pathLst>
              </a:custGeom>
              <a:solidFill>
                <a:schemeClr val="accent3"/>
              </a:solidFill>
              <a:ln w="1417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0304CD6-C1CE-459C-2A79-770FC8173921}"/>
                  </a:ext>
                </a:extLst>
              </p:cNvPr>
              <p:cNvSpPr/>
              <p:nvPr/>
            </p:nvSpPr>
            <p:spPr>
              <a:xfrm>
                <a:off x="5608823" y="1931550"/>
                <a:ext cx="2100189" cy="957702"/>
              </a:xfrm>
              <a:custGeom>
                <a:avLst/>
                <a:gdLst>
                  <a:gd name="connsiteX0" fmla="*/ 417655 w 2100189"/>
                  <a:gd name="connsiteY0" fmla="*/ 0 h 957702"/>
                  <a:gd name="connsiteX1" fmla="*/ 0 w 2100189"/>
                  <a:gd name="connsiteY1" fmla="*/ 957703 h 957702"/>
                  <a:gd name="connsiteX2" fmla="*/ 2100190 w 2100189"/>
                  <a:gd name="connsiteY2" fmla="*/ 957703 h 957702"/>
                  <a:gd name="connsiteX3" fmla="*/ 1682676 w 2100189"/>
                  <a:gd name="connsiteY3" fmla="*/ 0 h 957702"/>
                  <a:gd name="connsiteX4" fmla="*/ 417655 w 2100189"/>
                  <a:gd name="connsiteY4" fmla="*/ 0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189" h="957702">
                    <a:moveTo>
                      <a:pt x="417655" y="0"/>
                    </a:moveTo>
                    <a:lnTo>
                      <a:pt x="0" y="957703"/>
                    </a:lnTo>
                    <a:lnTo>
                      <a:pt x="2100190" y="957703"/>
                    </a:lnTo>
                    <a:lnTo>
                      <a:pt x="1682676" y="0"/>
                    </a:lnTo>
                    <a:lnTo>
                      <a:pt x="417655" y="0"/>
                    </a:lnTo>
                    <a:close/>
                  </a:path>
                </a:pathLst>
              </a:custGeom>
              <a:solidFill>
                <a:schemeClr val="tx2"/>
              </a:solidFill>
              <a:ln w="14179" cap="flat">
                <a:noFill/>
                <a:prstDash val="solid"/>
                <a:miter/>
              </a:ln>
            </p:spPr>
            <p:txBody>
              <a:bodyPr rtlCol="0" anchor="ctr"/>
              <a:lstStyle/>
              <a:p>
                <a:endParaRPr lang="en-US"/>
              </a:p>
            </p:txBody>
          </p:sp>
        </p:grpSp>
        <p:sp>
          <p:nvSpPr>
            <p:cNvPr id="8" name="Rectangle 7">
              <a:extLst>
                <a:ext uri="{FF2B5EF4-FFF2-40B4-BE49-F238E27FC236}">
                  <a16:creationId xmlns:a16="http://schemas.microsoft.com/office/drawing/2014/main" id="{BD30A56E-DDA4-5A7C-D424-47E8E12BE0E9}"/>
                </a:ext>
              </a:extLst>
            </p:cNvPr>
            <p:cNvSpPr/>
            <p:nvPr/>
          </p:nvSpPr>
          <p:spPr>
            <a:xfrm>
              <a:off x="5652965" y="12344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6" name="Rectangle 15">
              <a:extLst>
                <a:ext uri="{FF2B5EF4-FFF2-40B4-BE49-F238E27FC236}">
                  <a16:creationId xmlns:a16="http://schemas.microsoft.com/office/drawing/2014/main" id="{834093D4-D80B-C352-B740-E2515171D935}"/>
                </a:ext>
              </a:extLst>
            </p:cNvPr>
            <p:cNvSpPr/>
            <p:nvPr/>
          </p:nvSpPr>
          <p:spPr>
            <a:xfrm>
              <a:off x="5647272" y="2176331"/>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7" name="Rectangle 16">
              <a:extLst>
                <a:ext uri="{FF2B5EF4-FFF2-40B4-BE49-F238E27FC236}">
                  <a16:creationId xmlns:a16="http://schemas.microsoft.com/office/drawing/2014/main" id="{63E0D5C1-0FE9-AF82-06B0-4B000DE62DA0}"/>
                </a:ext>
              </a:extLst>
            </p:cNvPr>
            <p:cNvSpPr/>
            <p:nvPr/>
          </p:nvSpPr>
          <p:spPr>
            <a:xfrm>
              <a:off x="5652965" y="3174926"/>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18" name="Rectangle 17">
              <a:extLst>
                <a:ext uri="{FF2B5EF4-FFF2-40B4-BE49-F238E27FC236}">
                  <a16:creationId xmlns:a16="http://schemas.microsoft.com/office/drawing/2014/main" id="{6DAAA5B7-042D-F433-8967-F2331ABB53A3}"/>
                </a:ext>
              </a:extLst>
            </p:cNvPr>
            <p:cNvSpPr/>
            <p:nvPr/>
          </p:nvSpPr>
          <p:spPr>
            <a:xfrm>
              <a:off x="5652965" y="417606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19" name="Rectangle 18">
              <a:extLst>
                <a:ext uri="{FF2B5EF4-FFF2-40B4-BE49-F238E27FC236}">
                  <a16:creationId xmlns:a16="http://schemas.microsoft.com/office/drawing/2014/main" id="{B03C2F7B-12AE-63B3-2968-AB54DFCE1747}"/>
                </a:ext>
              </a:extLst>
            </p:cNvPr>
            <p:cNvSpPr/>
            <p:nvPr/>
          </p:nvSpPr>
          <p:spPr>
            <a:xfrm>
              <a:off x="5647271" y="5155197"/>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grpSp>
    </p:spTree>
    <p:extLst>
      <p:ext uri="{BB962C8B-B14F-4D97-AF65-F5344CB8AC3E}">
        <p14:creationId xmlns:p14="http://schemas.microsoft.com/office/powerpoint/2010/main" val="405296676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growth arrow layout">
    <p:spTree>
      <p:nvGrpSpPr>
        <p:cNvPr id="1" name=""/>
        <p:cNvGrpSpPr/>
        <p:nvPr/>
      </p:nvGrpSpPr>
      <p:grpSpPr>
        <a:xfrm>
          <a:off x="0" y="0"/>
          <a:ext cx="0" cy="0"/>
          <a:chOff x="0" y="0"/>
          <a:chExt cx="0" cy="0"/>
        </a:xfrm>
      </p:grpSpPr>
      <p:sp>
        <p:nvSpPr>
          <p:cNvPr id="3" name="Pentagon 2">
            <a:extLst>
              <a:ext uri="{FF2B5EF4-FFF2-40B4-BE49-F238E27FC236}">
                <a16:creationId xmlns:a16="http://schemas.microsoft.com/office/drawing/2014/main" id="{2C4D491A-769A-F89B-EE63-2A2EBE41078E}"/>
              </a:ext>
            </a:extLst>
          </p:cNvPr>
          <p:cNvSpPr/>
          <p:nvPr userDrawn="1"/>
        </p:nvSpPr>
        <p:spPr>
          <a:xfrm>
            <a:off x="0" y="3429000"/>
            <a:ext cx="5504959" cy="1799968"/>
          </a:xfrm>
          <a:prstGeom prst="homePlate">
            <a:avLst>
              <a:gd name="adj" fmla="val 3095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7" name="Pentagon 6">
            <a:extLst>
              <a:ext uri="{FF2B5EF4-FFF2-40B4-BE49-F238E27FC236}">
                <a16:creationId xmlns:a16="http://schemas.microsoft.com/office/drawing/2014/main" id="{F904EBCD-5000-5E7B-3096-12B5F54FDDFF}"/>
              </a:ext>
            </a:extLst>
          </p:cNvPr>
          <p:cNvSpPr/>
          <p:nvPr userDrawn="1"/>
        </p:nvSpPr>
        <p:spPr>
          <a:xfrm>
            <a:off x="4" y="1336056"/>
            <a:ext cx="3622967" cy="1799970"/>
          </a:xfrm>
          <a:prstGeom prst="homePlate">
            <a:avLst>
              <a:gd name="adj" fmla="val 3095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6781800" y="2743200"/>
            <a:ext cx="3419475" cy="553998"/>
          </a:xfrm>
        </p:spPr>
        <p:txBody>
          <a:bodyPr/>
          <a:lstStyle>
            <a:lvl1pPr>
              <a:lnSpc>
                <a:spcPct val="100000"/>
              </a:lnSpc>
              <a:spcBef>
                <a:spcPts val="600"/>
              </a:spcBef>
              <a:defRPr/>
            </a:lvl1pPr>
          </a:lstStyle>
          <a:p>
            <a:r>
              <a:rPr lang="en-US"/>
              <a:t>Growth chart</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6781800"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Slide Number Placeholder 2">
            <a:extLst>
              <a:ext uri="{FF2B5EF4-FFF2-40B4-BE49-F238E27FC236}">
                <a16:creationId xmlns:a16="http://schemas.microsoft.com/office/drawing/2014/main" id="{C5A49297-8DA7-D81F-E1EA-3F31BF7B23C9}"/>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48" name="Text Placeholder 49">
            <a:extLst>
              <a:ext uri="{FF2B5EF4-FFF2-40B4-BE49-F238E27FC236}">
                <a16:creationId xmlns:a16="http://schemas.microsoft.com/office/drawing/2014/main" id="{273EF8A4-1CF8-5B14-387D-165C6B9EB567}"/>
              </a:ext>
            </a:extLst>
          </p:cNvPr>
          <p:cNvSpPr>
            <a:spLocks noGrp="1"/>
          </p:cNvSpPr>
          <p:nvPr>
            <p:ph type="body" sz="quarter" idx="17" hasCustomPrompt="1"/>
          </p:nvPr>
        </p:nvSpPr>
        <p:spPr>
          <a:xfrm>
            <a:off x="815974" y="1696644"/>
            <a:ext cx="1241426" cy="1046556"/>
          </a:xfrm>
        </p:spPr>
        <p:txBody>
          <a:bodyPr anchor="ctr" anchorCtr="0">
            <a:normAutofit/>
          </a:bodyPr>
          <a:lstStyle>
            <a:lvl1pPr>
              <a:defRPr sz="1600" b="0">
                <a:solidFill>
                  <a:schemeClr val="bg1"/>
                </a:solidFill>
              </a:defRPr>
            </a:lvl1pPr>
          </a:lstStyle>
          <a:p>
            <a:pPr lvl="0"/>
            <a:r>
              <a:rPr lang="en-US"/>
              <a:t>Lorem ipsum dolor sit </a:t>
            </a:r>
            <a:r>
              <a:rPr lang="en-US" err="1"/>
              <a:t>amet</a:t>
            </a:r>
            <a:endParaRPr lang="en-US"/>
          </a:p>
        </p:txBody>
      </p:sp>
      <p:sp>
        <p:nvSpPr>
          <p:cNvPr id="49" name="Text Placeholder 49">
            <a:extLst>
              <a:ext uri="{FF2B5EF4-FFF2-40B4-BE49-F238E27FC236}">
                <a16:creationId xmlns:a16="http://schemas.microsoft.com/office/drawing/2014/main" id="{FC39143F-125F-0B5A-9D0D-384BB3308511}"/>
              </a:ext>
            </a:extLst>
          </p:cNvPr>
          <p:cNvSpPr>
            <a:spLocks noGrp="1"/>
          </p:cNvSpPr>
          <p:nvPr>
            <p:ph type="body" sz="quarter" idx="18" hasCustomPrompt="1"/>
          </p:nvPr>
        </p:nvSpPr>
        <p:spPr>
          <a:xfrm>
            <a:off x="2252657" y="1914707"/>
            <a:ext cx="1241426" cy="631896"/>
          </a:xfrm>
        </p:spPr>
        <p:txBody>
          <a:bodyPr anchor="ctr" anchorCtr="0">
            <a:noAutofit/>
          </a:bodyPr>
          <a:lstStyle>
            <a:lvl1pPr>
              <a:defRPr sz="3200" b="1">
                <a:solidFill>
                  <a:schemeClr val="bg1"/>
                </a:solidFill>
              </a:defRPr>
            </a:lvl1pPr>
          </a:lstStyle>
          <a:p>
            <a:pPr lvl="0"/>
            <a:r>
              <a:rPr lang="en-US"/>
              <a:t>XX%</a:t>
            </a:r>
          </a:p>
        </p:txBody>
      </p:sp>
      <p:sp>
        <p:nvSpPr>
          <p:cNvPr id="54" name="Text Placeholder 49">
            <a:extLst>
              <a:ext uri="{FF2B5EF4-FFF2-40B4-BE49-F238E27FC236}">
                <a16:creationId xmlns:a16="http://schemas.microsoft.com/office/drawing/2014/main" id="{AAF0BCB8-DDBB-F449-2543-8265C4852592}"/>
              </a:ext>
            </a:extLst>
          </p:cNvPr>
          <p:cNvSpPr>
            <a:spLocks noGrp="1"/>
          </p:cNvSpPr>
          <p:nvPr>
            <p:ph type="body" sz="quarter" idx="19" hasCustomPrompt="1"/>
          </p:nvPr>
        </p:nvSpPr>
        <p:spPr>
          <a:xfrm>
            <a:off x="815973" y="4117134"/>
            <a:ext cx="2678109" cy="631896"/>
          </a:xfrm>
        </p:spPr>
        <p:txBody>
          <a:bodyPr anchor="ctr" anchorCtr="0">
            <a:normAutofit/>
          </a:bodyPr>
          <a:lstStyle>
            <a:lvl1pPr>
              <a:defRPr sz="1600" b="0">
                <a:solidFill>
                  <a:schemeClr val="bg1"/>
                </a:solidFill>
              </a:defRPr>
            </a:lvl1pPr>
          </a:lstStyle>
          <a:p>
            <a:pPr lvl="0"/>
            <a:r>
              <a:rPr lang="en-US"/>
              <a:t>Lorem ipsum dolor sit </a:t>
            </a:r>
            <a:r>
              <a:rPr lang="en-US" err="1"/>
              <a:t>amet</a:t>
            </a:r>
            <a:endParaRPr lang="en-US"/>
          </a:p>
        </p:txBody>
      </p:sp>
      <p:sp>
        <p:nvSpPr>
          <p:cNvPr id="55" name="Text Placeholder 49">
            <a:extLst>
              <a:ext uri="{FF2B5EF4-FFF2-40B4-BE49-F238E27FC236}">
                <a16:creationId xmlns:a16="http://schemas.microsoft.com/office/drawing/2014/main" id="{17E5BBD7-7B98-B1E6-E24B-FD5455C88512}"/>
              </a:ext>
            </a:extLst>
          </p:cNvPr>
          <p:cNvSpPr>
            <a:spLocks noGrp="1"/>
          </p:cNvSpPr>
          <p:nvPr>
            <p:ph type="body" sz="quarter" idx="20" hasCustomPrompt="1"/>
          </p:nvPr>
        </p:nvSpPr>
        <p:spPr>
          <a:xfrm>
            <a:off x="3962400" y="4129335"/>
            <a:ext cx="1241426" cy="631896"/>
          </a:xfrm>
        </p:spPr>
        <p:txBody>
          <a:bodyPr anchor="ctr" anchorCtr="0">
            <a:noAutofit/>
          </a:bodyPr>
          <a:lstStyle>
            <a:lvl1pPr>
              <a:defRPr sz="3200" b="1">
                <a:solidFill>
                  <a:schemeClr val="bg1"/>
                </a:solidFill>
              </a:defRPr>
            </a:lvl1pPr>
          </a:lstStyle>
          <a:p>
            <a:pPr lvl="0"/>
            <a:r>
              <a:rPr lang="en-US"/>
              <a:t>XX%</a:t>
            </a:r>
          </a:p>
        </p:txBody>
      </p:sp>
    </p:spTree>
    <p:extLst>
      <p:ext uri="{BB962C8B-B14F-4D97-AF65-F5344CB8AC3E}">
        <p14:creationId xmlns:p14="http://schemas.microsoft.com/office/powerpoint/2010/main" val="28825746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6" name="Content Placeholder 1"/>
          <p:cNvSpPr>
            <a:spLocks noGrp="1"/>
          </p:cNvSpPr>
          <p:nvPr>
            <p:ph idx="31" hasCustomPrompt="1"/>
            <p:custDataLst>
              <p:tags r:id="rId1"/>
            </p:custDataLst>
          </p:nvPr>
        </p:nvSpPr>
        <p:spPr>
          <a:xfrm>
            <a:off x="6210298" y="838200"/>
            <a:ext cx="5148072" cy="518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0"/>
          <p:cNvSpPr>
            <a:spLocks noGrp="1"/>
          </p:cNvSpPr>
          <p:nvPr>
            <p:ph idx="32" hasCustomPrompt="1"/>
            <p:custDataLst>
              <p:tags r:id="rId2"/>
            </p:custDataLst>
          </p:nvPr>
        </p:nvSpPr>
        <p:spPr>
          <a:xfrm>
            <a:off x="609600" y="838200"/>
            <a:ext cx="5143500" cy="5181600"/>
          </a:xfrm>
        </p:spPr>
        <p:txBody>
          <a:bodyPr anchor="ctr" anchorCtr="1"/>
          <a:lstStyle>
            <a:lvl1pPr algn="ctr">
              <a:defRPr sz="4267">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hart</a:t>
            </a:r>
          </a:p>
        </p:txBody>
      </p:sp>
      <p:sp>
        <p:nvSpPr>
          <p:cNvPr id="3" name="Slide Number Placeholder 2">
            <a:extLst>
              <a:ext uri="{FF2B5EF4-FFF2-40B4-BE49-F238E27FC236}">
                <a16:creationId xmlns:a16="http://schemas.microsoft.com/office/drawing/2014/main" id="{59F4D5C5-C9D9-4935-B18E-9BC25C779887}"/>
              </a:ext>
            </a:extLst>
          </p:cNvPr>
          <p:cNvSpPr>
            <a:spLocks noGrp="1"/>
          </p:cNvSpPr>
          <p:nvPr>
            <p:ph type="sldNum" sz="quarter" idx="33"/>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2713342168"/>
      </p:ext>
    </p:extLst>
  </p:cSld>
  <p:clrMapOvr>
    <a:masterClrMapping/>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 growth arrow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6781800" y="2743200"/>
            <a:ext cx="3419475" cy="553998"/>
          </a:xfrm>
        </p:spPr>
        <p:txBody>
          <a:bodyPr/>
          <a:lstStyle>
            <a:lvl1pPr>
              <a:lnSpc>
                <a:spcPct val="100000"/>
              </a:lnSpc>
              <a:spcBef>
                <a:spcPts val="600"/>
              </a:spcBef>
              <a:defRPr/>
            </a:lvl1pPr>
          </a:lstStyle>
          <a:p>
            <a:r>
              <a:rPr lang="en-US"/>
              <a:t>Growth chart</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6781800"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Slide Number Placeholder 2">
            <a:extLst>
              <a:ext uri="{FF2B5EF4-FFF2-40B4-BE49-F238E27FC236}">
                <a16:creationId xmlns:a16="http://schemas.microsoft.com/office/drawing/2014/main" id="{C5A49297-8DA7-D81F-E1EA-3F31BF7B23C9}"/>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21" name="Pentagon 20">
            <a:extLst>
              <a:ext uri="{FF2B5EF4-FFF2-40B4-BE49-F238E27FC236}">
                <a16:creationId xmlns:a16="http://schemas.microsoft.com/office/drawing/2014/main" id="{E9B8161E-55FF-59EF-8426-D02B618E8F40}"/>
              </a:ext>
            </a:extLst>
          </p:cNvPr>
          <p:cNvSpPr/>
          <p:nvPr userDrawn="1"/>
        </p:nvSpPr>
        <p:spPr>
          <a:xfrm>
            <a:off x="0" y="4388984"/>
            <a:ext cx="5119912" cy="1183522"/>
          </a:xfrm>
          <a:prstGeom prst="homePlate">
            <a:avLst>
              <a:gd name="adj" fmla="val 3095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2" name="Pentagon 21">
            <a:extLst>
              <a:ext uri="{FF2B5EF4-FFF2-40B4-BE49-F238E27FC236}">
                <a16:creationId xmlns:a16="http://schemas.microsoft.com/office/drawing/2014/main" id="{8439090B-068F-B8A0-C490-6708B1121595}"/>
              </a:ext>
            </a:extLst>
          </p:cNvPr>
          <p:cNvSpPr/>
          <p:nvPr userDrawn="1"/>
        </p:nvSpPr>
        <p:spPr>
          <a:xfrm>
            <a:off x="-23898" y="2841592"/>
            <a:ext cx="5605243" cy="1183522"/>
          </a:xfrm>
          <a:prstGeom prst="homePlate">
            <a:avLst>
              <a:gd name="adj" fmla="val 3095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Pentagon 22">
            <a:extLst>
              <a:ext uri="{FF2B5EF4-FFF2-40B4-BE49-F238E27FC236}">
                <a16:creationId xmlns:a16="http://schemas.microsoft.com/office/drawing/2014/main" id="{3CD8E347-B89D-E70C-AA54-0B2427E44B4E}"/>
              </a:ext>
            </a:extLst>
          </p:cNvPr>
          <p:cNvSpPr/>
          <p:nvPr userDrawn="1"/>
        </p:nvSpPr>
        <p:spPr>
          <a:xfrm>
            <a:off x="4" y="1285493"/>
            <a:ext cx="3622967" cy="1183523"/>
          </a:xfrm>
          <a:prstGeom prst="homePlate">
            <a:avLst>
              <a:gd name="adj" fmla="val 3095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8" name="Text Placeholder 49">
            <a:extLst>
              <a:ext uri="{FF2B5EF4-FFF2-40B4-BE49-F238E27FC236}">
                <a16:creationId xmlns:a16="http://schemas.microsoft.com/office/drawing/2014/main" id="{273EF8A4-1CF8-5B14-387D-165C6B9EB567}"/>
              </a:ext>
            </a:extLst>
          </p:cNvPr>
          <p:cNvSpPr>
            <a:spLocks noGrp="1"/>
          </p:cNvSpPr>
          <p:nvPr>
            <p:ph type="body" sz="quarter" idx="17" hasCustomPrompt="1"/>
          </p:nvPr>
        </p:nvSpPr>
        <p:spPr>
          <a:xfrm>
            <a:off x="815974" y="1548071"/>
            <a:ext cx="1241426" cy="631896"/>
          </a:xfrm>
        </p:spPr>
        <p:txBody>
          <a:bodyPr>
            <a:normAutofit/>
          </a:bodyPr>
          <a:lstStyle>
            <a:lvl1pPr>
              <a:defRPr sz="1600" b="0">
                <a:solidFill>
                  <a:schemeClr val="bg1"/>
                </a:solidFill>
              </a:defRPr>
            </a:lvl1pPr>
          </a:lstStyle>
          <a:p>
            <a:pPr lvl="0"/>
            <a:r>
              <a:rPr lang="en-US"/>
              <a:t>Lorem ipsum dolor sit </a:t>
            </a:r>
            <a:r>
              <a:rPr lang="en-US" err="1"/>
              <a:t>amet</a:t>
            </a:r>
            <a:endParaRPr lang="en-US"/>
          </a:p>
        </p:txBody>
      </p:sp>
      <p:sp>
        <p:nvSpPr>
          <p:cNvPr id="49" name="Text Placeholder 49">
            <a:extLst>
              <a:ext uri="{FF2B5EF4-FFF2-40B4-BE49-F238E27FC236}">
                <a16:creationId xmlns:a16="http://schemas.microsoft.com/office/drawing/2014/main" id="{FC39143F-125F-0B5A-9D0D-384BB3308511}"/>
              </a:ext>
            </a:extLst>
          </p:cNvPr>
          <p:cNvSpPr>
            <a:spLocks noGrp="1"/>
          </p:cNvSpPr>
          <p:nvPr>
            <p:ph type="body" sz="quarter" idx="18" hasCustomPrompt="1"/>
          </p:nvPr>
        </p:nvSpPr>
        <p:spPr>
          <a:xfrm>
            <a:off x="2252657" y="1560272"/>
            <a:ext cx="1241426" cy="631896"/>
          </a:xfrm>
        </p:spPr>
        <p:txBody>
          <a:bodyPr>
            <a:noAutofit/>
          </a:bodyPr>
          <a:lstStyle>
            <a:lvl1pPr>
              <a:defRPr sz="3200" b="1">
                <a:solidFill>
                  <a:schemeClr val="bg1"/>
                </a:solidFill>
              </a:defRPr>
            </a:lvl1pPr>
          </a:lstStyle>
          <a:p>
            <a:pPr lvl="0"/>
            <a:r>
              <a:rPr lang="en-US"/>
              <a:t>XX%</a:t>
            </a:r>
          </a:p>
        </p:txBody>
      </p:sp>
      <p:sp>
        <p:nvSpPr>
          <p:cNvPr id="54" name="Text Placeholder 49">
            <a:extLst>
              <a:ext uri="{FF2B5EF4-FFF2-40B4-BE49-F238E27FC236}">
                <a16:creationId xmlns:a16="http://schemas.microsoft.com/office/drawing/2014/main" id="{AAF0BCB8-DDBB-F449-2543-8265C4852592}"/>
              </a:ext>
            </a:extLst>
          </p:cNvPr>
          <p:cNvSpPr>
            <a:spLocks noGrp="1"/>
          </p:cNvSpPr>
          <p:nvPr>
            <p:ph type="body" sz="quarter" idx="19" hasCustomPrompt="1"/>
          </p:nvPr>
        </p:nvSpPr>
        <p:spPr>
          <a:xfrm>
            <a:off x="815974" y="3113052"/>
            <a:ext cx="1241426" cy="631896"/>
          </a:xfrm>
        </p:spPr>
        <p:txBody>
          <a:bodyPr>
            <a:normAutofit/>
          </a:bodyPr>
          <a:lstStyle>
            <a:lvl1pPr>
              <a:defRPr sz="1600" b="0">
                <a:solidFill>
                  <a:schemeClr val="bg1"/>
                </a:solidFill>
              </a:defRPr>
            </a:lvl1pPr>
          </a:lstStyle>
          <a:p>
            <a:pPr lvl="0"/>
            <a:r>
              <a:rPr lang="en-US"/>
              <a:t>Lorem ipsum dolor sit </a:t>
            </a:r>
            <a:r>
              <a:rPr lang="en-US" err="1"/>
              <a:t>amet</a:t>
            </a:r>
            <a:endParaRPr lang="en-US"/>
          </a:p>
        </p:txBody>
      </p:sp>
      <p:sp>
        <p:nvSpPr>
          <p:cNvPr id="55" name="Text Placeholder 49">
            <a:extLst>
              <a:ext uri="{FF2B5EF4-FFF2-40B4-BE49-F238E27FC236}">
                <a16:creationId xmlns:a16="http://schemas.microsoft.com/office/drawing/2014/main" id="{17E5BBD7-7B98-B1E6-E24B-FD5455C88512}"/>
              </a:ext>
            </a:extLst>
          </p:cNvPr>
          <p:cNvSpPr>
            <a:spLocks noGrp="1"/>
          </p:cNvSpPr>
          <p:nvPr>
            <p:ph type="body" sz="quarter" idx="20" hasCustomPrompt="1"/>
          </p:nvPr>
        </p:nvSpPr>
        <p:spPr>
          <a:xfrm>
            <a:off x="3962400" y="3125253"/>
            <a:ext cx="1241426" cy="631896"/>
          </a:xfrm>
        </p:spPr>
        <p:txBody>
          <a:bodyPr>
            <a:noAutofit/>
          </a:bodyPr>
          <a:lstStyle>
            <a:lvl1pPr>
              <a:defRPr sz="3200" b="1">
                <a:solidFill>
                  <a:schemeClr val="bg1"/>
                </a:solidFill>
              </a:defRPr>
            </a:lvl1pPr>
          </a:lstStyle>
          <a:p>
            <a:pPr lvl="0"/>
            <a:r>
              <a:rPr lang="en-US"/>
              <a:t>XX%</a:t>
            </a:r>
          </a:p>
        </p:txBody>
      </p:sp>
      <p:sp>
        <p:nvSpPr>
          <p:cNvPr id="57" name="Text Placeholder 49">
            <a:extLst>
              <a:ext uri="{FF2B5EF4-FFF2-40B4-BE49-F238E27FC236}">
                <a16:creationId xmlns:a16="http://schemas.microsoft.com/office/drawing/2014/main" id="{8B353EFE-C891-F29B-CC24-67F4B354B3EC}"/>
              </a:ext>
            </a:extLst>
          </p:cNvPr>
          <p:cNvSpPr>
            <a:spLocks noGrp="1"/>
          </p:cNvSpPr>
          <p:nvPr>
            <p:ph type="body" sz="quarter" idx="21" hasCustomPrompt="1"/>
          </p:nvPr>
        </p:nvSpPr>
        <p:spPr>
          <a:xfrm>
            <a:off x="815974" y="4678812"/>
            <a:ext cx="1241426" cy="631896"/>
          </a:xfrm>
        </p:spPr>
        <p:txBody>
          <a:bodyPr>
            <a:normAutofit/>
          </a:bodyPr>
          <a:lstStyle>
            <a:lvl1pPr>
              <a:defRPr sz="1600" b="0">
                <a:solidFill>
                  <a:schemeClr val="bg1"/>
                </a:solidFill>
              </a:defRPr>
            </a:lvl1pPr>
          </a:lstStyle>
          <a:p>
            <a:pPr lvl="0"/>
            <a:r>
              <a:rPr lang="en-US"/>
              <a:t>Lorem ipsum dolor sit </a:t>
            </a:r>
            <a:r>
              <a:rPr lang="en-US" err="1"/>
              <a:t>amet</a:t>
            </a:r>
            <a:endParaRPr lang="en-US"/>
          </a:p>
        </p:txBody>
      </p:sp>
      <p:sp>
        <p:nvSpPr>
          <p:cNvPr id="58" name="Text Placeholder 49">
            <a:extLst>
              <a:ext uri="{FF2B5EF4-FFF2-40B4-BE49-F238E27FC236}">
                <a16:creationId xmlns:a16="http://schemas.microsoft.com/office/drawing/2014/main" id="{D087DAAC-30E9-D985-08BA-BEBF1B82BD0E}"/>
              </a:ext>
            </a:extLst>
          </p:cNvPr>
          <p:cNvSpPr>
            <a:spLocks noGrp="1"/>
          </p:cNvSpPr>
          <p:nvPr>
            <p:ph type="body" sz="quarter" idx="22" hasCustomPrompt="1"/>
          </p:nvPr>
        </p:nvSpPr>
        <p:spPr>
          <a:xfrm>
            <a:off x="3483197" y="4691013"/>
            <a:ext cx="1241426" cy="631896"/>
          </a:xfrm>
        </p:spPr>
        <p:txBody>
          <a:bodyPr>
            <a:noAutofit/>
          </a:bodyPr>
          <a:lstStyle>
            <a:lvl1pPr>
              <a:defRPr sz="3200" b="1">
                <a:solidFill>
                  <a:schemeClr val="bg1"/>
                </a:solidFill>
              </a:defRPr>
            </a:lvl1pPr>
          </a:lstStyle>
          <a:p>
            <a:pPr lvl="0"/>
            <a:r>
              <a:rPr lang="en-US"/>
              <a:t>XX%</a:t>
            </a:r>
          </a:p>
        </p:txBody>
      </p:sp>
    </p:spTree>
    <p:extLst>
      <p:ext uri="{BB962C8B-B14F-4D97-AF65-F5344CB8AC3E}">
        <p14:creationId xmlns:p14="http://schemas.microsoft.com/office/powerpoint/2010/main" val="242990936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4 growth arrow layout">
    <p:spTree>
      <p:nvGrpSpPr>
        <p:cNvPr id="1" name=""/>
        <p:cNvGrpSpPr/>
        <p:nvPr/>
      </p:nvGrpSpPr>
      <p:grpSpPr>
        <a:xfrm>
          <a:off x="0" y="0"/>
          <a:ext cx="0" cy="0"/>
          <a:chOff x="0" y="0"/>
          <a:chExt cx="0" cy="0"/>
        </a:xfrm>
      </p:grpSpPr>
      <p:sp>
        <p:nvSpPr>
          <p:cNvPr id="3" name="Pentagon 2">
            <a:extLst>
              <a:ext uri="{FF2B5EF4-FFF2-40B4-BE49-F238E27FC236}">
                <a16:creationId xmlns:a16="http://schemas.microsoft.com/office/drawing/2014/main" id="{56511504-8EC8-0DC9-FC78-C9A6F5A4FA4A}"/>
              </a:ext>
            </a:extLst>
          </p:cNvPr>
          <p:cNvSpPr/>
          <p:nvPr userDrawn="1"/>
        </p:nvSpPr>
        <p:spPr>
          <a:xfrm>
            <a:off x="0" y="3532541"/>
            <a:ext cx="5119912" cy="1183522"/>
          </a:xfrm>
          <a:prstGeom prst="homePlate">
            <a:avLst>
              <a:gd name="adj" fmla="val 3095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7" name="Pentagon 6">
            <a:extLst>
              <a:ext uri="{FF2B5EF4-FFF2-40B4-BE49-F238E27FC236}">
                <a16:creationId xmlns:a16="http://schemas.microsoft.com/office/drawing/2014/main" id="{6A09ED0C-4091-74E0-1BB2-255B777C0EBF}"/>
              </a:ext>
            </a:extLst>
          </p:cNvPr>
          <p:cNvSpPr/>
          <p:nvPr userDrawn="1"/>
        </p:nvSpPr>
        <p:spPr>
          <a:xfrm>
            <a:off x="-23898" y="2165146"/>
            <a:ext cx="5605243" cy="1183522"/>
          </a:xfrm>
          <a:prstGeom prst="homePlate">
            <a:avLst>
              <a:gd name="adj" fmla="val 3095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Pentagon 7">
            <a:extLst>
              <a:ext uri="{FF2B5EF4-FFF2-40B4-BE49-F238E27FC236}">
                <a16:creationId xmlns:a16="http://schemas.microsoft.com/office/drawing/2014/main" id="{810AEB3C-4165-18FA-AE5F-17BBDC7ED101}"/>
              </a:ext>
            </a:extLst>
          </p:cNvPr>
          <p:cNvSpPr/>
          <p:nvPr userDrawn="1"/>
        </p:nvSpPr>
        <p:spPr>
          <a:xfrm>
            <a:off x="4" y="789044"/>
            <a:ext cx="3622967" cy="1183523"/>
          </a:xfrm>
          <a:prstGeom prst="homePlate">
            <a:avLst>
              <a:gd name="adj" fmla="val 3095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6" name="Pentagon 15">
            <a:extLst>
              <a:ext uri="{FF2B5EF4-FFF2-40B4-BE49-F238E27FC236}">
                <a16:creationId xmlns:a16="http://schemas.microsoft.com/office/drawing/2014/main" id="{63F074CA-4C3A-DBB0-C79C-777593D53747}"/>
              </a:ext>
            </a:extLst>
          </p:cNvPr>
          <p:cNvSpPr/>
          <p:nvPr userDrawn="1"/>
        </p:nvSpPr>
        <p:spPr>
          <a:xfrm>
            <a:off x="-23899" y="4899936"/>
            <a:ext cx="3646869" cy="1183522"/>
          </a:xfrm>
          <a:prstGeom prst="homePlate">
            <a:avLst>
              <a:gd name="adj" fmla="val 30950"/>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6781800" y="2743200"/>
            <a:ext cx="3419475" cy="553998"/>
          </a:xfrm>
        </p:spPr>
        <p:txBody>
          <a:bodyPr/>
          <a:lstStyle>
            <a:lvl1pPr>
              <a:lnSpc>
                <a:spcPct val="100000"/>
              </a:lnSpc>
              <a:spcBef>
                <a:spcPts val="600"/>
              </a:spcBef>
              <a:defRPr/>
            </a:lvl1pPr>
          </a:lstStyle>
          <a:p>
            <a:r>
              <a:rPr lang="en-US"/>
              <a:t>Growth chart</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6781800"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Slide Number Placeholder 2">
            <a:extLst>
              <a:ext uri="{FF2B5EF4-FFF2-40B4-BE49-F238E27FC236}">
                <a16:creationId xmlns:a16="http://schemas.microsoft.com/office/drawing/2014/main" id="{C5A49297-8DA7-D81F-E1EA-3F31BF7B23C9}"/>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sp>
        <p:nvSpPr>
          <p:cNvPr id="48" name="Text Placeholder 49">
            <a:extLst>
              <a:ext uri="{FF2B5EF4-FFF2-40B4-BE49-F238E27FC236}">
                <a16:creationId xmlns:a16="http://schemas.microsoft.com/office/drawing/2014/main" id="{273EF8A4-1CF8-5B14-387D-165C6B9EB567}"/>
              </a:ext>
            </a:extLst>
          </p:cNvPr>
          <p:cNvSpPr>
            <a:spLocks noGrp="1"/>
          </p:cNvSpPr>
          <p:nvPr>
            <p:ph type="body" sz="quarter" idx="17" hasCustomPrompt="1"/>
          </p:nvPr>
        </p:nvSpPr>
        <p:spPr>
          <a:xfrm>
            <a:off x="815974" y="1032303"/>
            <a:ext cx="1241426" cy="631896"/>
          </a:xfrm>
        </p:spPr>
        <p:txBody>
          <a:bodyPr anchor="ctr" anchorCtr="0">
            <a:normAutofit/>
          </a:bodyPr>
          <a:lstStyle>
            <a:lvl1pPr>
              <a:defRPr sz="1600" b="0">
                <a:solidFill>
                  <a:schemeClr val="bg1"/>
                </a:solidFill>
              </a:defRPr>
            </a:lvl1pPr>
          </a:lstStyle>
          <a:p>
            <a:pPr lvl="0"/>
            <a:r>
              <a:rPr lang="en-US"/>
              <a:t>Lorem ipsum dolor sit </a:t>
            </a:r>
            <a:r>
              <a:rPr lang="en-US" err="1"/>
              <a:t>amet</a:t>
            </a:r>
            <a:endParaRPr lang="en-US"/>
          </a:p>
        </p:txBody>
      </p:sp>
      <p:sp>
        <p:nvSpPr>
          <p:cNvPr id="49" name="Text Placeholder 49">
            <a:extLst>
              <a:ext uri="{FF2B5EF4-FFF2-40B4-BE49-F238E27FC236}">
                <a16:creationId xmlns:a16="http://schemas.microsoft.com/office/drawing/2014/main" id="{FC39143F-125F-0B5A-9D0D-384BB3308511}"/>
              </a:ext>
            </a:extLst>
          </p:cNvPr>
          <p:cNvSpPr>
            <a:spLocks noGrp="1"/>
          </p:cNvSpPr>
          <p:nvPr>
            <p:ph type="body" sz="quarter" idx="18" hasCustomPrompt="1"/>
          </p:nvPr>
        </p:nvSpPr>
        <p:spPr>
          <a:xfrm>
            <a:off x="2252657" y="1044504"/>
            <a:ext cx="1241426" cy="631896"/>
          </a:xfrm>
        </p:spPr>
        <p:txBody>
          <a:bodyPr anchor="ctr" anchorCtr="0">
            <a:noAutofit/>
          </a:bodyPr>
          <a:lstStyle>
            <a:lvl1pPr>
              <a:defRPr sz="3200" b="1">
                <a:solidFill>
                  <a:schemeClr val="bg1"/>
                </a:solidFill>
              </a:defRPr>
            </a:lvl1pPr>
          </a:lstStyle>
          <a:p>
            <a:pPr lvl="0"/>
            <a:r>
              <a:rPr lang="en-US"/>
              <a:t>XX%</a:t>
            </a:r>
          </a:p>
        </p:txBody>
      </p:sp>
      <p:sp>
        <p:nvSpPr>
          <p:cNvPr id="54" name="Text Placeholder 49">
            <a:extLst>
              <a:ext uri="{FF2B5EF4-FFF2-40B4-BE49-F238E27FC236}">
                <a16:creationId xmlns:a16="http://schemas.microsoft.com/office/drawing/2014/main" id="{AAF0BCB8-DDBB-F449-2543-8265C4852592}"/>
              </a:ext>
            </a:extLst>
          </p:cNvPr>
          <p:cNvSpPr>
            <a:spLocks noGrp="1"/>
          </p:cNvSpPr>
          <p:nvPr>
            <p:ph type="body" sz="quarter" idx="19" hasCustomPrompt="1"/>
          </p:nvPr>
        </p:nvSpPr>
        <p:spPr>
          <a:xfrm>
            <a:off x="815974" y="2438400"/>
            <a:ext cx="2460626" cy="631896"/>
          </a:xfrm>
        </p:spPr>
        <p:txBody>
          <a:bodyPr anchor="ctr" anchorCtr="0">
            <a:normAutofit/>
          </a:bodyPr>
          <a:lstStyle>
            <a:lvl1pPr>
              <a:defRPr sz="1600" b="0">
                <a:solidFill>
                  <a:schemeClr val="bg1"/>
                </a:solidFill>
              </a:defRPr>
            </a:lvl1pPr>
          </a:lstStyle>
          <a:p>
            <a:pPr lvl="0"/>
            <a:r>
              <a:rPr lang="en-US"/>
              <a:t>Lorem ipsum dolor sit </a:t>
            </a:r>
            <a:r>
              <a:rPr lang="en-US" err="1"/>
              <a:t>amet</a:t>
            </a:r>
            <a:endParaRPr lang="en-US"/>
          </a:p>
        </p:txBody>
      </p:sp>
      <p:sp>
        <p:nvSpPr>
          <p:cNvPr id="55" name="Text Placeholder 49">
            <a:extLst>
              <a:ext uri="{FF2B5EF4-FFF2-40B4-BE49-F238E27FC236}">
                <a16:creationId xmlns:a16="http://schemas.microsoft.com/office/drawing/2014/main" id="{17E5BBD7-7B98-B1E6-E24B-FD5455C88512}"/>
              </a:ext>
            </a:extLst>
          </p:cNvPr>
          <p:cNvSpPr>
            <a:spLocks noGrp="1"/>
          </p:cNvSpPr>
          <p:nvPr>
            <p:ph type="body" sz="quarter" idx="20" hasCustomPrompt="1"/>
          </p:nvPr>
        </p:nvSpPr>
        <p:spPr>
          <a:xfrm>
            <a:off x="3962400" y="2450601"/>
            <a:ext cx="1241426" cy="631896"/>
          </a:xfrm>
        </p:spPr>
        <p:txBody>
          <a:bodyPr anchor="ctr" anchorCtr="0">
            <a:noAutofit/>
          </a:bodyPr>
          <a:lstStyle>
            <a:lvl1pPr>
              <a:defRPr sz="3200" b="1">
                <a:solidFill>
                  <a:schemeClr val="bg1"/>
                </a:solidFill>
              </a:defRPr>
            </a:lvl1pPr>
          </a:lstStyle>
          <a:p>
            <a:pPr lvl="0"/>
            <a:r>
              <a:rPr lang="en-US"/>
              <a:t>XX%</a:t>
            </a:r>
          </a:p>
        </p:txBody>
      </p:sp>
      <p:sp>
        <p:nvSpPr>
          <p:cNvPr id="57" name="Text Placeholder 49">
            <a:extLst>
              <a:ext uri="{FF2B5EF4-FFF2-40B4-BE49-F238E27FC236}">
                <a16:creationId xmlns:a16="http://schemas.microsoft.com/office/drawing/2014/main" id="{8B353EFE-C891-F29B-CC24-67F4B354B3EC}"/>
              </a:ext>
            </a:extLst>
          </p:cNvPr>
          <p:cNvSpPr>
            <a:spLocks noGrp="1"/>
          </p:cNvSpPr>
          <p:nvPr>
            <p:ph type="body" sz="quarter" idx="21" hasCustomPrompt="1"/>
          </p:nvPr>
        </p:nvSpPr>
        <p:spPr>
          <a:xfrm>
            <a:off x="815974" y="3823125"/>
            <a:ext cx="2460626" cy="631896"/>
          </a:xfrm>
        </p:spPr>
        <p:txBody>
          <a:bodyPr anchor="ctr" anchorCtr="0">
            <a:normAutofit/>
          </a:bodyPr>
          <a:lstStyle>
            <a:lvl1pPr>
              <a:defRPr sz="1600" b="0">
                <a:solidFill>
                  <a:schemeClr val="bg1"/>
                </a:solidFill>
              </a:defRPr>
            </a:lvl1pPr>
          </a:lstStyle>
          <a:p>
            <a:pPr lvl="0"/>
            <a:r>
              <a:rPr lang="en-US"/>
              <a:t>Lorem ipsum dolor sit </a:t>
            </a:r>
            <a:r>
              <a:rPr lang="en-US" err="1"/>
              <a:t>amet</a:t>
            </a:r>
            <a:endParaRPr lang="en-US"/>
          </a:p>
        </p:txBody>
      </p:sp>
      <p:sp>
        <p:nvSpPr>
          <p:cNvPr id="58" name="Text Placeholder 49">
            <a:extLst>
              <a:ext uri="{FF2B5EF4-FFF2-40B4-BE49-F238E27FC236}">
                <a16:creationId xmlns:a16="http://schemas.microsoft.com/office/drawing/2014/main" id="{D087DAAC-30E9-D985-08BA-BEBF1B82BD0E}"/>
              </a:ext>
            </a:extLst>
          </p:cNvPr>
          <p:cNvSpPr>
            <a:spLocks noGrp="1"/>
          </p:cNvSpPr>
          <p:nvPr>
            <p:ph type="body" sz="quarter" idx="22" hasCustomPrompt="1"/>
          </p:nvPr>
        </p:nvSpPr>
        <p:spPr>
          <a:xfrm>
            <a:off x="3483197" y="3835326"/>
            <a:ext cx="1241426" cy="631896"/>
          </a:xfrm>
        </p:spPr>
        <p:txBody>
          <a:bodyPr anchor="ctr" anchorCtr="0">
            <a:noAutofit/>
          </a:bodyPr>
          <a:lstStyle>
            <a:lvl1pPr>
              <a:defRPr sz="3200" b="1">
                <a:solidFill>
                  <a:schemeClr val="bg1"/>
                </a:solidFill>
              </a:defRPr>
            </a:lvl1pPr>
          </a:lstStyle>
          <a:p>
            <a:pPr lvl="0"/>
            <a:r>
              <a:rPr lang="en-US"/>
              <a:t>XX%</a:t>
            </a:r>
          </a:p>
        </p:txBody>
      </p:sp>
      <p:sp>
        <p:nvSpPr>
          <p:cNvPr id="17" name="Text Placeholder 49">
            <a:extLst>
              <a:ext uri="{FF2B5EF4-FFF2-40B4-BE49-F238E27FC236}">
                <a16:creationId xmlns:a16="http://schemas.microsoft.com/office/drawing/2014/main" id="{F442A0A4-4DF3-F67D-2AC3-3C23C11942E9}"/>
              </a:ext>
            </a:extLst>
          </p:cNvPr>
          <p:cNvSpPr>
            <a:spLocks noGrp="1"/>
          </p:cNvSpPr>
          <p:nvPr>
            <p:ph type="body" sz="quarter" idx="23" hasCustomPrompt="1"/>
          </p:nvPr>
        </p:nvSpPr>
        <p:spPr>
          <a:xfrm>
            <a:off x="784306" y="5158866"/>
            <a:ext cx="1241426" cy="631896"/>
          </a:xfrm>
        </p:spPr>
        <p:txBody>
          <a:bodyPr anchor="ctr" anchorCtr="0">
            <a:normAutofit/>
          </a:bodyPr>
          <a:lstStyle>
            <a:lvl1pPr>
              <a:defRPr sz="1600" b="0">
                <a:solidFill>
                  <a:schemeClr val="bg1"/>
                </a:solidFill>
              </a:defRPr>
            </a:lvl1pPr>
          </a:lstStyle>
          <a:p>
            <a:pPr lvl="0"/>
            <a:r>
              <a:rPr lang="en-US"/>
              <a:t>Lorem ipsum dolor sit </a:t>
            </a:r>
            <a:r>
              <a:rPr lang="en-US" err="1"/>
              <a:t>amet</a:t>
            </a:r>
            <a:endParaRPr lang="en-US"/>
          </a:p>
        </p:txBody>
      </p:sp>
      <p:sp>
        <p:nvSpPr>
          <p:cNvPr id="18" name="Text Placeholder 49">
            <a:extLst>
              <a:ext uri="{FF2B5EF4-FFF2-40B4-BE49-F238E27FC236}">
                <a16:creationId xmlns:a16="http://schemas.microsoft.com/office/drawing/2014/main" id="{4D8DEB2D-3825-6D62-81C5-A74882195ADC}"/>
              </a:ext>
            </a:extLst>
          </p:cNvPr>
          <p:cNvSpPr>
            <a:spLocks noGrp="1"/>
          </p:cNvSpPr>
          <p:nvPr>
            <p:ph type="body" sz="quarter" idx="24" hasCustomPrompt="1"/>
          </p:nvPr>
        </p:nvSpPr>
        <p:spPr>
          <a:xfrm>
            <a:off x="2220989" y="5171067"/>
            <a:ext cx="1241426" cy="631896"/>
          </a:xfrm>
        </p:spPr>
        <p:txBody>
          <a:bodyPr anchor="ctr" anchorCtr="0">
            <a:noAutofit/>
          </a:bodyPr>
          <a:lstStyle>
            <a:lvl1pPr>
              <a:defRPr sz="3200" b="1">
                <a:solidFill>
                  <a:schemeClr val="bg1"/>
                </a:solidFill>
              </a:defRPr>
            </a:lvl1pPr>
          </a:lstStyle>
          <a:p>
            <a:pPr lvl="0"/>
            <a:r>
              <a:rPr lang="en-US"/>
              <a:t>XX%</a:t>
            </a:r>
          </a:p>
        </p:txBody>
      </p:sp>
    </p:spTree>
    <p:extLst>
      <p:ext uri="{BB962C8B-B14F-4D97-AF65-F5344CB8AC3E}">
        <p14:creationId xmlns:p14="http://schemas.microsoft.com/office/powerpoint/2010/main" val="329633353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layout 1">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 name="Title 1">
            <a:extLst>
              <a:ext uri="{FF2B5EF4-FFF2-40B4-BE49-F238E27FC236}">
                <a16:creationId xmlns:a16="http://schemas.microsoft.com/office/drawing/2014/main" id="{49C1434C-0120-CEF5-CC23-5FF4B8ED5062}"/>
              </a:ext>
            </a:extLst>
          </p:cNvPr>
          <p:cNvSpPr>
            <a:spLocks noGrp="1"/>
          </p:cNvSpPr>
          <p:nvPr>
            <p:ph type="title"/>
          </p:nvPr>
        </p:nvSpPr>
        <p:spPr>
          <a:xfrm>
            <a:off x="814558" y="709937"/>
            <a:ext cx="10621792" cy="553998"/>
          </a:xfrm>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262D7DA6-A859-7792-F914-4B9F77F2CFB3}"/>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aphicFrame>
        <p:nvGraphicFramePr>
          <p:cNvPr id="8" name="Table 6">
            <a:extLst>
              <a:ext uri="{FF2B5EF4-FFF2-40B4-BE49-F238E27FC236}">
                <a16:creationId xmlns:a16="http://schemas.microsoft.com/office/drawing/2014/main" id="{599054DE-EEC2-1D61-7652-05828E4EA53F}"/>
              </a:ext>
            </a:extLst>
          </p:cNvPr>
          <p:cNvGraphicFramePr>
            <a:graphicFrameLocks noGrp="1"/>
          </p:cNvGraphicFramePr>
          <p:nvPr userDrawn="1">
            <p:extLst>
              <p:ext uri="{D42A27DB-BD31-4B8C-83A1-F6EECF244321}">
                <p14:modId xmlns:p14="http://schemas.microsoft.com/office/powerpoint/2010/main" val="1452646480"/>
              </p:ext>
            </p:extLst>
          </p:nvPr>
        </p:nvGraphicFramePr>
        <p:xfrm>
          <a:off x="814558" y="1644296"/>
          <a:ext cx="10621792" cy="1695808"/>
        </p:xfrm>
        <a:graphic>
          <a:graphicData uri="http://schemas.openxmlformats.org/drawingml/2006/table">
            <a:tbl>
              <a:tblPr firstRow="1" bandRow="1">
                <a:tableStyleId>{5C22544A-7EE6-4342-B048-85BDC9FD1C3A}</a:tableStyleId>
              </a:tblPr>
              <a:tblGrid>
                <a:gridCol w="2655448">
                  <a:extLst>
                    <a:ext uri="{9D8B030D-6E8A-4147-A177-3AD203B41FA5}">
                      <a16:colId xmlns:a16="http://schemas.microsoft.com/office/drawing/2014/main" val="2472414018"/>
                    </a:ext>
                  </a:extLst>
                </a:gridCol>
                <a:gridCol w="2655448">
                  <a:extLst>
                    <a:ext uri="{9D8B030D-6E8A-4147-A177-3AD203B41FA5}">
                      <a16:colId xmlns:a16="http://schemas.microsoft.com/office/drawing/2014/main" val="25349484"/>
                    </a:ext>
                  </a:extLst>
                </a:gridCol>
                <a:gridCol w="2655448">
                  <a:extLst>
                    <a:ext uri="{9D8B030D-6E8A-4147-A177-3AD203B41FA5}">
                      <a16:colId xmlns:a16="http://schemas.microsoft.com/office/drawing/2014/main" val="3751807957"/>
                    </a:ext>
                  </a:extLst>
                </a:gridCol>
                <a:gridCol w="2655448">
                  <a:extLst>
                    <a:ext uri="{9D8B030D-6E8A-4147-A177-3AD203B41FA5}">
                      <a16:colId xmlns:a16="http://schemas.microsoft.com/office/drawing/2014/main" val="147687791"/>
                    </a:ext>
                  </a:extLst>
                </a:gridCol>
              </a:tblGrid>
              <a:tr h="423952">
                <a:tc>
                  <a:txBody>
                    <a:bodyPr/>
                    <a:lstStyle/>
                    <a:p>
                      <a:pPr algn="ctr"/>
                      <a:endParaRPr lang="en-US">
                        <a:solidFill>
                          <a:schemeClr val="tx1"/>
                        </a:solidFill>
                      </a:endParaRPr>
                    </a:p>
                  </a:txBody>
                  <a:tcPr marL="108000" marR="108000" anchor="ctr">
                    <a:noFill/>
                  </a:tcPr>
                </a:tc>
                <a:tc>
                  <a:txBody>
                    <a:bodyPr/>
                    <a:lstStyle/>
                    <a:p>
                      <a:pPr algn="ctr"/>
                      <a:r>
                        <a:rPr lang="en-US">
                          <a:solidFill>
                            <a:schemeClr val="bg1"/>
                          </a:solidFill>
                        </a:rPr>
                        <a:t>One</a:t>
                      </a:r>
                    </a:p>
                  </a:txBody>
                  <a:tcPr marL="108000" marR="108000" anchor="ctr">
                    <a:solidFill>
                      <a:schemeClr val="tx1"/>
                    </a:solidFill>
                  </a:tcPr>
                </a:tc>
                <a:tc>
                  <a:txBody>
                    <a:bodyPr/>
                    <a:lstStyle/>
                    <a:p>
                      <a:pPr algn="ctr"/>
                      <a:r>
                        <a:rPr lang="en-US">
                          <a:solidFill>
                            <a:schemeClr val="bg1"/>
                          </a:solidFill>
                        </a:rPr>
                        <a:t>Two</a:t>
                      </a:r>
                    </a:p>
                  </a:txBody>
                  <a:tcPr marL="108000" marR="108000" anchor="ctr">
                    <a:solidFill>
                      <a:schemeClr val="tx1"/>
                    </a:solidFill>
                  </a:tcPr>
                </a:tc>
                <a:tc>
                  <a:txBody>
                    <a:bodyPr/>
                    <a:lstStyle/>
                    <a:p>
                      <a:pPr algn="ctr"/>
                      <a:r>
                        <a:rPr lang="en-US">
                          <a:solidFill>
                            <a:schemeClr val="bg1"/>
                          </a:solidFill>
                        </a:rPr>
                        <a:t>Three</a:t>
                      </a:r>
                    </a:p>
                  </a:txBody>
                  <a:tcPr marL="108000" marR="108000" anchor="ctr">
                    <a:solidFill>
                      <a:schemeClr val="tx1"/>
                    </a:solidFill>
                  </a:tcPr>
                </a:tc>
                <a:extLst>
                  <a:ext uri="{0D108BD9-81ED-4DB2-BD59-A6C34878D82A}">
                    <a16:rowId xmlns:a16="http://schemas.microsoft.com/office/drawing/2014/main" val="2423271603"/>
                  </a:ext>
                </a:extLst>
              </a:tr>
              <a:tr h="423952">
                <a:tc>
                  <a:txBody>
                    <a:bodyPr/>
                    <a:lstStyle/>
                    <a:p>
                      <a:pPr algn="ctr"/>
                      <a:r>
                        <a:rPr lang="en-US" sz="1800" b="1">
                          <a:solidFill>
                            <a:schemeClr val="bg1"/>
                          </a:solidFill>
                        </a:rPr>
                        <a:t>2020 – 2021</a:t>
                      </a:r>
                    </a:p>
                  </a:txBody>
                  <a:tcPr marL="108000" marR="108000" anchor="ctr">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600">
                          <a:solidFill>
                            <a:schemeClr val="bg2"/>
                          </a:solidFill>
                        </a:rPr>
                        <a:t>13</a:t>
                      </a:r>
                    </a:p>
                  </a:txBody>
                  <a:tcPr marL="108000" marR="10800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5</a:t>
                      </a:r>
                    </a:p>
                  </a:txBody>
                  <a:tcPr marL="108000" marR="10800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9332733"/>
                  </a:ext>
                </a:extLst>
              </a:tr>
              <a:tr h="423952">
                <a:tc>
                  <a:txBody>
                    <a:bodyPr/>
                    <a:lstStyle/>
                    <a:p>
                      <a:pPr algn="ctr"/>
                      <a:r>
                        <a:rPr lang="en-US" sz="1800" b="1">
                          <a:solidFill>
                            <a:schemeClr val="bg1"/>
                          </a:solidFill>
                        </a:rPr>
                        <a:t>2021 – 2022</a:t>
                      </a:r>
                    </a:p>
                  </a:txBody>
                  <a:tcPr marL="108000" marR="108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600">
                          <a:solidFill>
                            <a:schemeClr val="bg2"/>
                          </a:solidFill>
                        </a:rPr>
                        <a:t>12</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8448040"/>
                  </a:ext>
                </a:extLst>
              </a:tr>
              <a:tr h="423952">
                <a:tc>
                  <a:txBody>
                    <a:bodyPr/>
                    <a:lstStyle/>
                    <a:p>
                      <a:pPr algn="ctr"/>
                      <a:r>
                        <a:rPr lang="en-US" sz="1800" b="1">
                          <a:solidFill>
                            <a:schemeClr val="bg1"/>
                          </a:solidFill>
                        </a:rPr>
                        <a:t>2023 – 2023</a:t>
                      </a:r>
                    </a:p>
                  </a:txBody>
                  <a:tcPr marL="108000" marR="108000" anchor="ctr">
                    <a:lnT w="12700" cap="flat" cmpd="sng" algn="ctr">
                      <a:solidFill>
                        <a:schemeClr val="bg1"/>
                      </a:solidFill>
                      <a:prstDash val="solid"/>
                      <a:round/>
                      <a:headEnd type="none" w="med" len="med"/>
                      <a:tailEnd type="none" w="med" len="med"/>
                    </a:lnT>
                    <a:solidFill>
                      <a:schemeClr val="tx2"/>
                    </a:solidFill>
                  </a:tcPr>
                </a:tc>
                <a:tc>
                  <a:txBody>
                    <a:bodyPr/>
                    <a:lstStyle/>
                    <a:p>
                      <a:pPr algn="ctr"/>
                      <a:r>
                        <a:rPr lang="en-US" sz="1600">
                          <a:solidFill>
                            <a:schemeClr val="bg2"/>
                          </a:solidFill>
                        </a:rPr>
                        <a:t>11</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sz="1600">
                          <a:solidFill>
                            <a:schemeClr val="bg2"/>
                          </a:solidFill>
                        </a:rPr>
                        <a:t>12</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541401568"/>
                  </a:ext>
                </a:extLst>
              </a:tr>
            </a:tbl>
          </a:graphicData>
        </a:graphic>
      </p:graphicFrame>
      <p:graphicFrame>
        <p:nvGraphicFramePr>
          <p:cNvPr id="11" name="Table 10">
            <a:extLst>
              <a:ext uri="{FF2B5EF4-FFF2-40B4-BE49-F238E27FC236}">
                <a16:creationId xmlns:a16="http://schemas.microsoft.com/office/drawing/2014/main" id="{192E5A07-2483-29E3-5047-ABA688F0D997}"/>
              </a:ext>
            </a:extLst>
          </p:cNvPr>
          <p:cNvGraphicFramePr>
            <a:graphicFrameLocks noGrp="1"/>
          </p:cNvGraphicFramePr>
          <p:nvPr userDrawn="1">
            <p:extLst>
              <p:ext uri="{D42A27DB-BD31-4B8C-83A1-F6EECF244321}">
                <p14:modId xmlns:p14="http://schemas.microsoft.com/office/powerpoint/2010/main" val="583703132"/>
              </p:ext>
            </p:extLst>
          </p:nvPr>
        </p:nvGraphicFramePr>
        <p:xfrm>
          <a:off x="814558" y="3473163"/>
          <a:ext cx="10621792" cy="1695808"/>
        </p:xfrm>
        <a:graphic>
          <a:graphicData uri="http://schemas.openxmlformats.org/drawingml/2006/table">
            <a:tbl>
              <a:tblPr firstRow="1" bandRow="1">
                <a:tableStyleId>{5C22544A-7EE6-4342-B048-85BDC9FD1C3A}</a:tableStyleId>
              </a:tblPr>
              <a:tblGrid>
                <a:gridCol w="2655448">
                  <a:extLst>
                    <a:ext uri="{9D8B030D-6E8A-4147-A177-3AD203B41FA5}">
                      <a16:colId xmlns:a16="http://schemas.microsoft.com/office/drawing/2014/main" val="2472414018"/>
                    </a:ext>
                  </a:extLst>
                </a:gridCol>
                <a:gridCol w="2655448">
                  <a:extLst>
                    <a:ext uri="{9D8B030D-6E8A-4147-A177-3AD203B41FA5}">
                      <a16:colId xmlns:a16="http://schemas.microsoft.com/office/drawing/2014/main" val="25349484"/>
                    </a:ext>
                  </a:extLst>
                </a:gridCol>
                <a:gridCol w="2655448">
                  <a:extLst>
                    <a:ext uri="{9D8B030D-6E8A-4147-A177-3AD203B41FA5}">
                      <a16:colId xmlns:a16="http://schemas.microsoft.com/office/drawing/2014/main" val="3751807957"/>
                    </a:ext>
                  </a:extLst>
                </a:gridCol>
                <a:gridCol w="2655448">
                  <a:extLst>
                    <a:ext uri="{9D8B030D-6E8A-4147-A177-3AD203B41FA5}">
                      <a16:colId xmlns:a16="http://schemas.microsoft.com/office/drawing/2014/main" val="147687791"/>
                    </a:ext>
                  </a:extLst>
                </a:gridCol>
              </a:tblGrid>
              <a:tr h="423952">
                <a:tc>
                  <a:txBody>
                    <a:bodyPr/>
                    <a:lstStyle/>
                    <a:p>
                      <a:pPr algn="ctr"/>
                      <a:endParaRPr lang="en-US">
                        <a:solidFill>
                          <a:schemeClr val="bg1"/>
                        </a:solidFill>
                      </a:endParaRPr>
                    </a:p>
                  </a:txBody>
                  <a:tcPr marL="108000" marR="108000" anchor="ctr">
                    <a:noFill/>
                  </a:tcPr>
                </a:tc>
                <a:tc>
                  <a:txBody>
                    <a:bodyPr/>
                    <a:lstStyle/>
                    <a:p>
                      <a:pPr algn="ctr"/>
                      <a:r>
                        <a:rPr lang="en-US">
                          <a:solidFill>
                            <a:schemeClr val="bg1"/>
                          </a:solidFill>
                        </a:rPr>
                        <a:t>One</a:t>
                      </a:r>
                    </a:p>
                  </a:txBody>
                  <a:tcPr marL="108000" marR="108000" anchor="ctr">
                    <a:solidFill>
                      <a:schemeClr val="tx1"/>
                    </a:solidFill>
                  </a:tcPr>
                </a:tc>
                <a:tc>
                  <a:txBody>
                    <a:bodyPr/>
                    <a:lstStyle/>
                    <a:p>
                      <a:pPr algn="ctr"/>
                      <a:r>
                        <a:rPr lang="en-US">
                          <a:solidFill>
                            <a:schemeClr val="bg1"/>
                          </a:solidFill>
                        </a:rPr>
                        <a:t>Two</a:t>
                      </a:r>
                    </a:p>
                  </a:txBody>
                  <a:tcPr marL="108000" marR="108000" anchor="ctr">
                    <a:solidFill>
                      <a:schemeClr val="tx1"/>
                    </a:solidFill>
                  </a:tcPr>
                </a:tc>
                <a:tc>
                  <a:txBody>
                    <a:bodyPr/>
                    <a:lstStyle/>
                    <a:p>
                      <a:pPr algn="ctr"/>
                      <a:r>
                        <a:rPr lang="en-US">
                          <a:solidFill>
                            <a:schemeClr val="bg1"/>
                          </a:solidFill>
                        </a:rPr>
                        <a:t>Three</a:t>
                      </a:r>
                    </a:p>
                  </a:txBody>
                  <a:tcPr marL="108000" marR="108000" anchor="ctr">
                    <a:solidFill>
                      <a:schemeClr val="tx1"/>
                    </a:solidFill>
                  </a:tcPr>
                </a:tc>
                <a:extLst>
                  <a:ext uri="{0D108BD9-81ED-4DB2-BD59-A6C34878D82A}">
                    <a16:rowId xmlns:a16="http://schemas.microsoft.com/office/drawing/2014/main" val="2423271603"/>
                  </a:ext>
                </a:extLst>
              </a:tr>
              <a:tr h="423952">
                <a:tc>
                  <a:txBody>
                    <a:bodyPr/>
                    <a:lstStyle/>
                    <a:p>
                      <a:pPr algn="ctr"/>
                      <a:r>
                        <a:rPr lang="en-US" sz="1800" b="1">
                          <a:solidFill>
                            <a:schemeClr val="bg1"/>
                          </a:solidFill>
                        </a:rPr>
                        <a:t>2020 – 2021</a:t>
                      </a:r>
                    </a:p>
                  </a:txBody>
                  <a:tcPr marL="108000" marR="108000" anchor="ct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a:solidFill>
                            <a:schemeClr val="bg2"/>
                          </a:solidFill>
                        </a:rPr>
                        <a:t>13</a:t>
                      </a:r>
                    </a:p>
                  </a:txBody>
                  <a:tcPr marL="108000" marR="10800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5</a:t>
                      </a:r>
                    </a:p>
                  </a:txBody>
                  <a:tcPr marL="108000" marR="10800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9332733"/>
                  </a:ext>
                </a:extLst>
              </a:tr>
              <a:tr h="423952">
                <a:tc>
                  <a:txBody>
                    <a:bodyPr/>
                    <a:lstStyle/>
                    <a:p>
                      <a:pPr algn="ctr"/>
                      <a:r>
                        <a:rPr lang="en-US" sz="1800" b="1">
                          <a:solidFill>
                            <a:schemeClr val="bg1"/>
                          </a:solidFill>
                        </a:rPr>
                        <a:t>2021 – 2022</a:t>
                      </a:r>
                    </a:p>
                  </a:txBody>
                  <a:tcPr marL="108000" marR="108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a:solidFill>
                            <a:schemeClr val="bg2"/>
                          </a:solidFill>
                        </a:rPr>
                        <a:t>12</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8448040"/>
                  </a:ext>
                </a:extLst>
              </a:tr>
              <a:tr h="423952">
                <a:tc>
                  <a:txBody>
                    <a:bodyPr/>
                    <a:lstStyle/>
                    <a:p>
                      <a:pPr algn="ctr"/>
                      <a:r>
                        <a:rPr lang="en-US" sz="1800" b="1">
                          <a:solidFill>
                            <a:schemeClr val="bg1"/>
                          </a:solidFill>
                        </a:rPr>
                        <a:t>2023 – 2023</a:t>
                      </a:r>
                    </a:p>
                  </a:txBody>
                  <a:tcPr marL="108000" marR="10800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US" sz="1600">
                          <a:solidFill>
                            <a:schemeClr val="bg2"/>
                          </a:solidFill>
                        </a:rPr>
                        <a:t>11</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2</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1401568"/>
                  </a:ext>
                </a:extLst>
              </a:tr>
            </a:tbl>
          </a:graphicData>
        </a:graphic>
      </p:graphicFrame>
    </p:spTree>
    <p:extLst>
      <p:ext uri="{BB962C8B-B14F-4D97-AF65-F5344CB8AC3E}">
        <p14:creationId xmlns:p14="http://schemas.microsoft.com/office/powerpoint/2010/main" val="47720937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hree point triang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4A4E4F81-F86D-CD02-2171-579792C7EC2B}"/>
              </a:ext>
            </a:extLst>
          </p:cNvPr>
          <p:cNvGrpSpPr/>
          <p:nvPr userDrawn="1"/>
        </p:nvGrpSpPr>
        <p:grpSpPr>
          <a:xfrm>
            <a:off x="815975"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endParaRPr lang="en-US"/>
              </a:p>
            </p:txBody>
          </p:sp>
        </p:grpSp>
      </p:grpSp>
      <p:sp>
        <p:nvSpPr>
          <p:cNvPr id="28" name="Text Placeholder 49">
            <a:extLst>
              <a:ext uri="{FF2B5EF4-FFF2-40B4-BE49-F238E27FC236}">
                <a16:creationId xmlns:a16="http://schemas.microsoft.com/office/drawing/2014/main" id="{5FC72C66-FCCA-1483-EC99-713AC8B15A7D}"/>
              </a:ext>
            </a:extLst>
          </p:cNvPr>
          <p:cNvSpPr>
            <a:spLocks noGrp="1"/>
          </p:cNvSpPr>
          <p:nvPr>
            <p:ph type="body" sz="quarter" idx="16" hasCustomPrompt="1"/>
          </p:nvPr>
        </p:nvSpPr>
        <p:spPr>
          <a:xfrm>
            <a:off x="7712433" y="3191585"/>
            <a:ext cx="3483481"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728483" y="2831683"/>
            <a:ext cx="3461755" cy="324044"/>
          </a:xfrm>
        </p:spPr>
        <p:txBody>
          <a:bodyPr>
            <a:normAutofit/>
          </a:bodyPr>
          <a:lstStyle>
            <a:lvl1pPr algn="r">
              <a:defRPr sz="1600" b="1">
                <a:solidFill>
                  <a:schemeClr val="tx1"/>
                </a:solidFill>
              </a:defRPr>
            </a:lvl1pPr>
          </a:lstStyle>
          <a:p>
            <a:pPr lvl="0"/>
            <a:r>
              <a:rPr lang="en-US"/>
              <a:t>Lorem ipsum dolor</a:t>
            </a:r>
          </a:p>
        </p:txBody>
      </p:sp>
      <p:sp>
        <p:nvSpPr>
          <p:cNvPr id="30" name="Text Placeholder 49">
            <a:extLst>
              <a:ext uri="{FF2B5EF4-FFF2-40B4-BE49-F238E27FC236}">
                <a16:creationId xmlns:a16="http://schemas.microsoft.com/office/drawing/2014/main" id="{444760C2-A78A-C2A0-9F75-9D105F5BD15F}"/>
              </a:ext>
            </a:extLst>
          </p:cNvPr>
          <p:cNvSpPr>
            <a:spLocks noGrp="1"/>
          </p:cNvSpPr>
          <p:nvPr>
            <p:ph type="body" sz="quarter" idx="18" hasCustomPrompt="1"/>
          </p:nvPr>
        </p:nvSpPr>
        <p:spPr>
          <a:xfrm>
            <a:off x="980036" y="3191585"/>
            <a:ext cx="3744364"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6086" y="2831683"/>
            <a:ext cx="3721010" cy="324044"/>
          </a:xfrm>
        </p:spPr>
        <p:txBody>
          <a:bodyPr>
            <a:normAutofit/>
          </a:bodyPr>
          <a:lstStyle>
            <a:lvl1pPr>
              <a:defRPr sz="1600" b="1">
                <a:solidFill>
                  <a:schemeClr val="tx1"/>
                </a:solidFill>
              </a:defRPr>
            </a:lvl1pPr>
          </a:lstStyle>
          <a:p>
            <a:pPr lvl="0"/>
            <a:r>
              <a:rPr lang="en-US"/>
              <a:t>Lorem ipsum dolor</a:t>
            </a:r>
          </a:p>
        </p:txBody>
      </p:sp>
      <p:sp>
        <p:nvSpPr>
          <p:cNvPr id="32" name="Text Placeholder 49">
            <a:extLst>
              <a:ext uri="{FF2B5EF4-FFF2-40B4-BE49-F238E27FC236}">
                <a16:creationId xmlns:a16="http://schemas.microsoft.com/office/drawing/2014/main" id="{B5261580-97E4-50AF-6C07-FE08EF6676C8}"/>
              </a:ext>
            </a:extLst>
          </p:cNvPr>
          <p:cNvSpPr>
            <a:spLocks noGrp="1"/>
          </p:cNvSpPr>
          <p:nvPr>
            <p:ph type="body" sz="quarter" idx="20" hasCustomPrompt="1"/>
          </p:nvPr>
        </p:nvSpPr>
        <p:spPr>
          <a:xfrm>
            <a:off x="4082984" y="5998702"/>
            <a:ext cx="4125585"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103826" y="5638800"/>
            <a:ext cx="4099853" cy="324044"/>
          </a:xfrm>
        </p:spPr>
        <p:txBody>
          <a:bodyPr>
            <a:normAutofit/>
          </a:bodyPr>
          <a:lstStyle>
            <a:lvl1pPr algn="ctr">
              <a:defRPr sz="1600" b="1">
                <a:solidFill>
                  <a:schemeClr val="tx1"/>
                </a:solidFill>
              </a:defRPr>
            </a:lvl1pPr>
          </a:lstStyle>
          <a:p>
            <a:pPr lvl="0"/>
            <a:r>
              <a:rPr lang="en-US"/>
              <a:t>Lorem ipsum dolor</a:t>
            </a:r>
          </a:p>
        </p:txBody>
      </p:sp>
    </p:spTree>
    <p:extLst>
      <p:ext uri="{BB962C8B-B14F-4D97-AF65-F5344CB8AC3E}">
        <p14:creationId xmlns:p14="http://schemas.microsoft.com/office/powerpoint/2010/main" val="80859517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Four points squar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points - squar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1AE2DD51-A795-973A-AC7F-EFCDC6608A8C}"/>
              </a:ext>
            </a:extLst>
          </p:cNvPr>
          <p:cNvGrpSpPr/>
          <p:nvPr userDrawn="1"/>
        </p:nvGrpSpPr>
        <p:grpSpPr>
          <a:xfrm>
            <a:off x="815975" y="2384989"/>
            <a:ext cx="10620375" cy="3398382"/>
            <a:chOff x="815975" y="2044994"/>
            <a:chExt cx="10620375" cy="3398382"/>
          </a:xfrm>
        </p:grpSpPr>
        <p:cxnSp>
          <p:nvCxnSpPr>
            <p:cNvPr id="10" name="Straight Connector 9">
              <a:extLst>
                <a:ext uri="{FF2B5EF4-FFF2-40B4-BE49-F238E27FC236}">
                  <a16:creationId xmlns:a16="http://schemas.microsoft.com/office/drawing/2014/main" id="{73FD4D2A-B2BE-E573-5D74-450967EE75CE}"/>
                </a:ext>
              </a:extLst>
            </p:cNvPr>
            <p:cNvCxnSpPr>
              <a:cxnSpLocks/>
            </p:cNvCxnSpPr>
            <p:nvPr/>
          </p:nvCxnSpPr>
          <p:spPr>
            <a:xfrm flipV="1">
              <a:off x="6095937" y="2044994"/>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E2F8C8-88CC-93E9-FEBB-841E9B1C6BCD}"/>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3F0EBC-04C1-043C-B60C-82D736C9CA1E}"/>
                </a:ext>
              </a:extLst>
            </p:cNvPr>
            <p:cNvCxnSpPr>
              <a:cxnSpLocks/>
            </p:cNvCxnSpPr>
            <p:nvPr/>
          </p:nvCxnSpPr>
          <p:spPr>
            <a:xfrm>
              <a:off x="6995461" y="380301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42A6F1-B12E-643E-7565-62DA0A2CCEC9}"/>
                </a:ext>
              </a:extLst>
            </p:cNvPr>
            <p:cNvCxnSpPr>
              <a:cxnSpLocks/>
            </p:cNvCxnSpPr>
            <p:nvPr/>
          </p:nvCxnSpPr>
          <p:spPr>
            <a:xfrm flipH="1">
              <a:off x="815975" y="378898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DD80B86D-F9FB-2AAA-765A-707D0E81AA1B}"/>
                </a:ext>
              </a:extLst>
            </p:cNvPr>
            <p:cNvGrpSpPr/>
            <p:nvPr/>
          </p:nvGrpSpPr>
          <p:grpSpPr>
            <a:xfrm>
              <a:off x="4812056" y="2468666"/>
              <a:ext cx="2567888" cy="2569042"/>
              <a:chOff x="7186795" y="1963701"/>
              <a:chExt cx="2567888" cy="2569042"/>
            </a:xfrm>
          </p:grpSpPr>
          <p:sp>
            <p:nvSpPr>
              <p:cNvPr id="28" name="Freeform 27">
                <a:extLst>
                  <a:ext uri="{FF2B5EF4-FFF2-40B4-BE49-F238E27FC236}">
                    <a16:creationId xmlns:a16="http://schemas.microsoft.com/office/drawing/2014/main" id="{4C45A49E-636D-A11A-0CFD-6978BC61945E}"/>
                  </a:ext>
                </a:extLst>
              </p:cNvPr>
              <p:cNvSpPr/>
              <p:nvPr/>
            </p:nvSpPr>
            <p:spPr>
              <a:xfrm>
                <a:off x="7245251" y="3658036"/>
                <a:ext cx="2450851" cy="874707"/>
              </a:xfrm>
              <a:custGeom>
                <a:avLst/>
                <a:gdLst>
                  <a:gd name="connsiteX0" fmla="*/ 558968 w 1566883"/>
                  <a:gd name="connsiteY0" fmla="*/ 0 h 559219"/>
                  <a:gd name="connsiteX1" fmla="*/ 0 w 1566883"/>
                  <a:gd name="connsiteY1" fmla="*/ 559219 h 559219"/>
                  <a:gd name="connsiteX2" fmla="*/ 1566884 w 1566883"/>
                  <a:gd name="connsiteY2" fmla="*/ 559219 h 559219"/>
                  <a:gd name="connsiteX3" fmla="*/ 1007915 w 1566883"/>
                  <a:gd name="connsiteY3" fmla="*/ 0 h 559219"/>
                  <a:gd name="connsiteX4" fmla="*/ 558968 w 1566883"/>
                  <a:gd name="connsiteY4" fmla="*/ 0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558968" y="0"/>
                    </a:moveTo>
                    <a:lnTo>
                      <a:pt x="0" y="559219"/>
                    </a:lnTo>
                    <a:lnTo>
                      <a:pt x="1566884" y="559219"/>
                    </a:lnTo>
                    <a:lnTo>
                      <a:pt x="1007915" y="0"/>
                    </a:lnTo>
                    <a:lnTo>
                      <a:pt x="558968" y="0"/>
                    </a:lnTo>
                    <a:close/>
                  </a:path>
                </a:pathLst>
              </a:custGeom>
              <a:solidFill>
                <a:schemeClr val="accent1"/>
              </a:solidFill>
              <a:ln w="8054"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8CB1C88E-7F79-91C0-9147-6115692495B9}"/>
                  </a:ext>
                </a:extLst>
              </p:cNvPr>
              <p:cNvSpPr/>
              <p:nvPr/>
            </p:nvSpPr>
            <p:spPr>
              <a:xfrm>
                <a:off x="7186795" y="2022182"/>
                <a:ext cx="874314" cy="2451952"/>
              </a:xfrm>
              <a:custGeom>
                <a:avLst/>
                <a:gdLst>
                  <a:gd name="connsiteX0" fmla="*/ 558968 w 558968"/>
                  <a:gd name="connsiteY0" fmla="*/ 1008368 h 1567586"/>
                  <a:gd name="connsiteX1" fmla="*/ 558968 w 558968"/>
                  <a:gd name="connsiteY1" fmla="*/ 559219 h 1567586"/>
                  <a:gd name="connsiteX2" fmla="*/ 0 w 558968"/>
                  <a:gd name="connsiteY2" fmla="*/ 0 h 1567586"/>
                  <a:gd name="connsiteX3" fmla="*/ 0 w 558968"/>
                  <a:gd name="connsiteY3" fmla="*/ 1567587 h 1567586"/>
                  <a:gd name="connsiteX4" fmla="*/ 558968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558968" y="1008368"/>
                    </a:moveTo>
                    <a:lnTo>
                      <a:pt x="558968" y="559219"/>
                    </a:lnTo>
                    <a:lnTo>
                      <a:pt x="0" y="0"/>
                    </a:lnTo>
                    <a:lnTo>
                      <a:pt x="0" y="1567587"/>
                    </a:lnTo>
                    <a:lnTo>
                      <a:pt x="558968" y="1008368"/>
                    </a:lnTo>
                    <a:close/>
                  </a:path>
                </a:pathLst>
              </a:custGeom>
              <a:solidFill>
                <a:schemeClr val="tx1"/>
              </a:solidFill>
              <a:ln w="8054"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030CDF-7DE0-DCEB-41F3-41FCD1AC95FC}"/>
                  </a:ext>
                </a:extLst>
              </p:cNvPr>
              <p:cNvSpPr/>
              <p:nvPr/>
            </p:nvSpPr>
            <p:spPr>
              <a:xfrm>
                <a:off x="7245251" y="1963701"/>
                <a:ext cx="2450851" cy="874707"/>
              </a:xfrm>
              <a:custGeom>
                <a:avLst/>
                <a:gdLst>
                  <a:gd name="connsiteX0" fmla="*/ 1007915 w 1566883"/>
                  <a:gd name="connsiteY0" fmla="*/ 559219 h 559219"/>
                  <a:gd name="connsiteX1" fmla="*/ 1566884 w 1566883"/>
                  <a:gd name="connsiteY1" fmla="*/ 0 h 559219"/>
                  <a:gd name="connsiteX2" fmla="*/ 0 w 1566883"/>
                  <a:gd name="connsiteY2" fmla="*/ 0 h 559219"/>
                  <a:gd name="connsiteX3" fmla="*/ 558968 w 1566883"/>
                  <a:gd name="connsiteY3" fmla="*/ 559219 h 559219"/>
                  <a:gd name="connsiteX4" fmla="*/ 1007915 w 1566883"/>
                  <a:gd name="connsiteY4" fmla="*/ 559219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1007915" y="559219"/>
                    </a:moveTo>
                    <a:lnTo>
                      <a:pt x="1566884" y="0"/>
                    </a:lnTo>
                    <a:lnTo>
                      <a:pt x="0" y="0"/>
                    </a:lnTo>
                    <a:lnTo>
                      <a:pt x="558968" y="559219"/>
                    </a:lnTo>
                    <a:lnTo>
                      <a:pt x="1007915" y="559219"/>
                    </a:lnTo>
                    <a:close/>
                  </a:path>
                </a:pathLst>
              </a:custGeom>
              <a:solidFill>
                <a:schemeClr val="bg2"/>
              </a:solidFill>
              <a:ln w="8054"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FE216904-5909-65B5-5D6B-E957BE0D5D2A}"/>
                  </a:ext>
                </a:extLst>
              </p:cNvPr>
              <p:cNvSpPr/>
              <p:nvPr/>
            </p:nvSpPr>
            <p:spPr>
              <a:xfrm>
                <a:off x="8880369" y="2022182"/>
                <a:ext cx="874314" cy="2451952"/>
              </a:xfrm>
              <a:custGeom>
                <a:avLst/>
                <a:gdLst>
                  <a:gd name="connsiteX0" fmla="*/ 0 w 558968"/>
                  <a:gd name="connsiteY0" fmla="*/ 1008368 h 1567586"/>
                  <a:gd name="connsiteX1" fmla="*/ 558969 w 558968"/>
                  <a:gd name="connsiteY1" fmla="*/ 1567587 h 1567586"/>
                  <a:gd name="connsiteX2" fmla="*/ 558969 w 558968"/>
                  <a:gd name="connsiteY2" fmla="*/ 0 h 1567586"/>
                  <a:gd name="connsiteX3" fmla="*/ 0 w 558968"/>
                  <a:gd name="connsiteY3" fmla="*/ 559219 h 1567586"/>
                  <a:gd name="connsiteX4" fmla="*/ 0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0" y="1008368"/>
                    </a:moveTo>
                    <a:lnTo>
                      <a:pt x="558969" y="1567587"/>
                    </a:lnTo>
                    <a:lnTo>
                      <a:pt x="558969" y="0"/>
                    </a:lnTo>
                    <a:lnTo>
                      <a:pt x="0" y="559219"/>
                    </a:lnTo>
                    <a:lnTo>
                      <a:pt x="0" y="1008368"/>
                    </a:lnTo>
                    <a:close/>
                  </a:path>
                </a:pathLst>
              </a:custGeom>
              <a:solidFill>
                <a:schemeClr val="tx2"/>
              </a:solidFill>
              <a:ln w="8054" cap="flat">
                <a:noFill/>
                <a:prstDash val="solid"/>
                <a:miter/>
              </a:ln>
            </p:spPr>
            <p:txBody>
              <a:bodyPr rtlCol="0" anchor="ctr"/>
              <a:lstStyle/>
              <a:p>
                <a:endParaRPr lang="en-US"/>
              </a:p>
            </p:txBody>
          </p:sp>
        </p:grpSp>
      </p:grpSp>
      <p:sp>
        <p:nvSpPr>
          <p:cNvPr id="32" name="Text Placeholder 49">
            <a:extLst>
              <a:ext uri="{FF2B5EF4-FFF2-40B4-BE49-F238E27FC236}">
                <a16:creationId xmlns:a16="http://schemas.microsoft.com/office/drawing/2014/main" id="{B4850302-0C99-D13D-470D-EBE3AC98FF6E}"/>
              </a:ext>
            </a:extLst>
          </p:cNvPr>
          <p:cNvSpPr>
            <a:spLocks noGrp="1"/>
          </p:cNvSpPr>
          <p:nvPr>
            <p:ph type="body" sz="quarter" idx="16" hasCustomPrompt="1"/>
          </p:nvPr>
        </p:nvSpPr>
        <p:spPr>
          <a:xfrm>
            <a:off x="981256" y="4143013"/>
            <a:ext cx="3666944"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3" name="Text Placeholder 49">
            <a:extLst>
              <a:ext uri="{FF2B5EF4-FFF2-40B4-BE49-F238E27FC236}">
                <a16:creationId xmlns:a16="http://schemas.microsoft.com/office/drawing/2014/main" id="{E9AA7340-326B-6B94-E564-05A964387A56}"/>
              </a:ext>
            </a:extLst>
          </p:cNvPr>
          <p:cNvSpPr>
            <a:spLocks noGrp="1"/>
          </p:cNvSpPr>
          <p:nvPr>
            <p:ph type="body" sz="quarter" idx="17" hasCustomPrompt="1"/>
          </p:nvPr>
        </p:nvSpPr>
        <p:spPr>
          <a:xfrm>
            <a:off x="997305" y="3783111"/>
            <a:ext cx="3644073" cy="324044"/>
          </a:xfrm>
        </p:spPr>
        <p:txBody>
          <a:bodyPr>
            <a:normAutofit/>
          </a:bodyPr>
          <a:lstStyle>
            <a:lvl1pPr>
              <a:defRPr sz="1600" b="1">
                <a:solidFill>
                  <a:schemeClr val="tx1"/>
                </a:solidFill>
              </a:defRPr>
            </a:lvl1pPr>
          </a:lstStyle>
          <a:p>
            <a:pPr lvl="0"/>
            <a:r>
              <a:rPr lang="en-US"/>
              <a:t>Lorem ipsum dolor</a:t>
            </a:r>
          </a:p>
        </p:txBody>
      </p:sp>
      <p:sp>
        <p:nvSpPr>
          <p:cNvPr id="34" name="Text Placeholder 49">
            <a:extLst>
              <a:ext uri="{FF2B5EF4-FFF2-40B4-BE49-F238E27FC236}">
                <a16:creationId xmlns:a16="http://schemas.microsoft.com/office/drawing/2014/main" id="{FA1D00CF-0464-CAB6-96A1-CABD54C32C72}"/>
              </a:ext>
            </a:extLst>
          </p:cNvPr>
          <p:cNvSpPr>
            <a:spLocks noGrp="1"/>
          </p:cNvSpPr>
          <p:nvPr>
            <p:ph type="body" sz="quarter" idx="18" hasCustomPrompt="1"/>
          </p:nvPr>
        </p:nvSpPr>
        <p:spPr>
          <a:xfrm>
            <a:off x="7421045" y="4154477"/>
            <a:ext cx="3856555"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5" name="Text Placeholder 49">
            <a:extLst>
              <a:ext uri="{FF2B5EF4-FFF2-40B4-BE49-F238E27FC236}">
                <a16:creationId xmlns:a16="http://schemas.microsoft.com/office/drawing/2014/main" id="{D2D16238-D684-8118-8DE7-9487FF7DF51E}"/>
              </a:ext>
            </a:extLst>
          </p:cNvPr>
          <p:cNvSpPr>
            <a:spLocks noGrp="1"/>
          </p:cNvSpPr>
          <p:nvPr>
            <p:ph type="body" sz="quarter" idx="19" hasCustomPrompt="1"/>
          </p:nvPr>
        </p:nvSpPr>
        <p:spPr>
          <a:xfrm>
            <a:off x="7445098" y="3794575"/>
            <a:ext cx="3832502" cy="324044"/>
          </a:xfrm>
        </p:spPr>
        <p:txBody>
          <a:bodyPr>
            <a:normAutofit/>
          </a:bodyPr>
          <a:lstStyle>
            <a:lvl1pPr algn="r">
              <a:defRPr sz="1600" b="1">
                <a:solidFill>
                  <a:schemeClr val="tx1"/>
                </a:solidFill>
              </a:defRPr>
            </a:lvl1pPr>
          </a:lstStyle>
          <a:p>
            <a:pPr lvl="0"/>
            <a:r>
              <a:rPr lang="en-US"/>
              <a:t>Lorem ipsum dolor</a:t>
            </a:r>
          </a:p>
        </p:txBody>
      </p:sp>
      <p:sp>
        <p:nvSpPr>
          <p:cNvPr id="38" name="Text Placeholder 49">
            <a:extLst>
              <a:ext uri="{FF2B5EF4-FFF2-40B4-BE49-F238E27FC236}">
                <a16:creationId xmlns:a16="http://schemas.microsoft.com/office/drawing/2014/main" id="{3379FA56-F9BB-1C52-9F69-1A679289DE8C}"/>
              </a:ext>
            </a:extLst>
          </p:cNvPr>
          <p:cNvSpPr>
            <a:spLocks noGrp="1"/>
          </p:cNvSpPr>
          <p:nvPr>
            <p:ph type="body" sz="quarter" idx="22" hasCustomPrompt="1"/>
          </p:nvPr>
        </p:nvSpPr>
        <p:spPr>
          <a:xfrm>
            <a:off x="4521090" y="6225458"/>
            <a:ext cx="3230041"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9" name="Text Placeholder 49">
            <a:extLst>
              <a:ext uri="{FF2B5EF4-FFF2-40B4-BE49-F238E27FC236}">
                <a16:creationId xmlns:a16="http://schemas.microsoft.com/office/drawing/2014/main" id="{BF2493E3-929C-6D12-3DF5-7682E1F6E8B3}"/>
              </a:ext>
            </a:extLst>
          </p:cNvPr>
          <p:cNvSpPr>
            <a:spLocks noGrp="1"/>
          </p:cNvSpPr>
          <p:nvPr>
            <p:ph type="body" sz="quarter" idx="23" hasCustomPrompt="1"/>
          </p:nvPr>
        </p:nvSpPr>
        <p:spPr>
          <a:xfrm>
            <a:off x="4540830" y="5865556"/>
            <a:ext cx="3209895" cy="324044"/>
          </a:xfrm>
        </p:spPr>
        <p:txBody>
          <a:bodyPr>
            <a:normAutofit/>
          </a:bodyPr>
          <a:lstStyle>
            <a:lvl1pPr algn="ctr">
              <a:defRPr sz="1600" b="1">
                <a:solidFill>
                  <a:schemeClr val="tx1"/>
                </a:solidFill>
              </a:defRPr>
            </a:lvl1pPr>
          </a:lstStyle>
          <a:p>
            <a:pPr lvl="0"/>
            <a:r>
              <a:rPr lang="en-US"/>
              <a:t>Lorem ipsum dolor</a:t>
            </a:r>
          </a:p>
        </p:txBody>
      </p:sp>
      <p:sp>
        <p:nvSpPr>
          <p:cNvPr id="40" name="Text Placeholder 49">
            <a:extLst>
              <a:ext uri="{FF2B5EF4-FFF2-40B4-BE49-F238E27FC236}">
                <a16:creationId xmlns:a16="http://schemas.microsoft.com/office/drawing/2014/main" id="{5C03CC93-71B2-E514-7B40-9680BA6773C1}"/>
              </a:ext>
            </a:extLst>
          </p:cNvPr>
          <p:cNvSpPr>
            <a:spLocks noGrp="1"/>
          </p:cNvSpPr>
          <p:nvPr>
            <p:ph type="body" sz="quarter" idx="24" hasCustomPrompt="1"/>
          </p:nvPr>
        </p:nvSpPr>
        <p:spPr>
          <a:xfrm>
            <a:off x="4471249" y="1888942"/>
            <a:ext cx="3230041"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41" name="Text Placeholder 49">
            <a:extLst>
              <a:ext uri="{FF2B5EF4-FFF2-40B4-BE49-F238E27FC236}">
                <a16:creationId xmlns:a16="http://schemas.microsoft.com/office/drawing/2014/main" id="{37C6D4AD-FD10-95BE-45B3-6599962FE91C}"/>
              </a:ext>
            </a:extLst>
          </p:cNvPr>
          <p:cNvSpPr>
            <a:spLocks noGrp="1"/>
          </p:cNvSpPr>
          <p:nvPr>
            <p:ph type="body" sz="quarter" idx="25" hasCustomPrompt="1"/>
          </p:nvPr>
        </p:nvSpPr>
        <p:spPr>
          <a:xfrm>
            <a:off x="4490989" y="1529040"/>
            <a:ext cx="3209895" cy="324044"/>
          </a:xfrm>
        </p:spPr>
        <p:txBody>
          <a:bodyPr>
            <a:normAutofit/>
          </a:bodyPr>
          <a:lstStyle>
            <a:lvl1pPr algn="ctr">
              <a:defRPr sz="1600" b="1">
                <a:solidFill>
                  <a:schemeClr val="tx1"/>
                </a:solidFill>
              </a:defRPr>
            </a:lvl1pPr>
          </a:lstStyle>
          <a:p>
            <a:pPr lvl="0"/>
            <a:r>
              <a:rPr lang="en-US"/>
              <a:t>Lorem ipsum dolor</a:t>
            </a:r>
          </a:p>
        </p:txBody>
      </p:sp>
    </p:spTree>
    <p:extLst>
      <p:ext uri="{BB962C8B-B14F-4D97-AF65-F5344CB8AC3E}">
        <p14:creationId xmlns:p14="http://schemas.microsoft.com/office/powerpoint/2010/main" val="412902932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Five point penta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ive points - pentagon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2" name="Group 31">
            <a:extLst>
              <a:ext uri="{FF2B5EF4-FFF2-40B4-BE49-F238E27FC236}">
                <a16:creationId xmlns:a16="http://schemas.microsoft.com/office/drawing/2014/main" id="{9982F7E7-70CA-4BF5-148B-AFC9AE54CA0D}"/>
              </a:ext>
            </a:extLst>
          </p:cNvPr>
          <p:cNvGrpSpPr/>
          <p:nvPr userDrawn="1"/>
        </p:nvGrpSpPr>
        <p:grpSpPr>
          <a:xfrm>
            <a:off x="815975" y="2306464"/>
            <a:ext cx="10620375" cy="3136912"/>
            <a:chOff x="815975" y="2306464"/>
            <a:chExt cx="10620375" cy="3136912"/>
          </a:xfrm>
        </p:grpSpPr>
        <p:cxnSp>
          <p:nvCxnSpPr>
            <p:cNvPr id="33" name="Straight Connector 32">
              <a:extLst>
                <a:ext uri="{FF2B5EF4-FFF2-40B4-BE49-F238E27FC236}">
                  <a16:creationId xmlns:a16="http://schemas.microsoft.com/office/drawing/2014/main" id="{CEC0FAF6-8996-AF17-DE35-194CE9BD3395}"/>
                </a:ext>
              </a:extLst>
            </p:cNvPr>
            <p:cNvCxnSpPr>
              <a:cxnSpLocks/>
            </p:cNvCxnSpPr>
            <p:nvPr/>
          </p:nvCxnSpPr>
          <p:spPr>
            <a:xfrm>
              <a:off x="6995461" y="289191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2578AF-22FA-35F4-DB50-C2C5088D773F}"/>
                </a:ext>
              </a:extLst>
            </p:cNvPr>
            <p:cNvCxnSpPr>
              <a:cxnSpLocks/>
            </p:cNvCxnSpPr>
            <p:nvPr/>
          </p:nvCxnSpPr>
          <p:spPr>
            <a:xfrm flipH="1">
              <a:off x="815975" y="287787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C762C67-68F4-BDBE-9041-B29FC4FE8F5B}"/>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7C7533-9416-681F-0A73-06EBD12DD423}"/>
                </a:ext>
              </a:extLst>
            </p:cNvPr>
            <p:cNvCxnSpPr>
              <a:cxnSpLocks/>
            </p:cNvCxnSpPr>
            <p:nvPr/>
          </p:nvCxnSpPr>
          <p:spPr>
            <a:xfrm>
              <a:off x="6995461" y="432400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E8AFED-0EB7-4B6B-2164-5EAFDA4DC125}"/>
                </a:ext>
              </a:extLst>
            </p:cNvPr>
            <p:cNvCxnSpPr>
              <a:cxnSpLocks/>
            </p:cNvCxnSpPr>
            <p:nvPr/>
          </p:nvCxnSpPr>
          <p:spPr>
            <a:xfrm flipH="1">
              <a:off x="815975" y="430997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C3D9470-B9CD-DD51-F5FC-41D3670B2F63}"/>
                </a:ext>
              </a:extLst>
            </p:cNvPr>
            <p:cNvGrpSpPr/>
            <p:nvPr/>
          </p:nvGrpSpPr>
          <p:grpSpPr>
            <a:xfrm>
              <a:off x="4764868" y="2306464"/>
              <a:ext cx="2761819" cy="2629523"/>
              <a:chOff x="5517924" y="749427"/>
              <a:chExt cx="1691564" cy="1610535"/>
            </a:xfrm>
          </p:grpSpPr>
          <p:sp>
            <p:nvSpPr>
              <p:cNvPr id="49" name="Freeform 48">
                <a:extLst>
                  <a:ext uri="{FF2B5EF4-FFF2-40B4-BE49-F238E27FC236}">
                    <a16:creationId xmlns:a16="http://schemas.microsoft.com/office/drawing/2014/main" id="{F7600F85-5768-EC3B-83A4-2273DAE3E1A2}"/>
                  </a:ext>
                </a:extLst>
              </p:cNvPr>
              <p:cNvSpPr/>
              <p:nvPr/>
            </p:nvSpPr>
            <p:spPr>
              <a:xfrm>
                <a:off x="5868045" y="1869155"/>
                <a:ext cx="991322" cy="490807"/>
              </a:xfrm>
              <a:custGeom>
                <a:avLst/>
                <a:gdLst>
                  <a:gd name="connsiteX0" fmla="*/ 356403 w 991322"/>
                  <a:gd name="connsiteY0" fmla="*/ 0 h 490807"/>
                  <a:gd name="connsiteX1" fmla="*/ 0 w 991322"/>
                  <a:gd name="connsiteY1" fmla="*/ 490808 h 490807"/>
                  <a:gd name="connsiteX2" fmla="*/ 991323 w 991322"/>
                  <a:gd name="connsiteY2" fmla="*/ 490808 h 490807"/>
                  <a:gd name="connsiteX3" fmla="*/ 634920 w 991322"/>
                  <a:gd name="connsiteY3" fmla="*/ 0 h 490807"/>
                  <a:gd name="connsiteX4" fmla="*/ 356403 w 991322"/>
                  <a:gd name="connsiteY4" fmla="*/ 0 h 49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22" h="490807">
                    <a:moveTo>
                      <a:pt x="356403" y="0"/>
                    </a:moveTo>
                    <a:lnTo>
                      <a:pt x="0" y="490808"/>
                    </a:lnTo>
                    <a:lnTo>
                      <a:pt x="991323" y="490808"/>
                    </a:lnTo>
                    <a:lnTo>
                      <a:pt x="634920" y="0"/>
                    </a:lnTo>
                    <a:lnTo>
                      <a:pt x="356403" y="0"/>
                    </a:lnTo>
                    <a:close/>
                  </a:path>
                </a:pathLst>
              </a:custGeom>
              <a:solidFill>
                <a:schemeClr val="accent1"/>
              </a:solidFill>
              <a:ln w="8054"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CB3B4565-756A-94F4-6C47-8BD1BB42EB11}"/>
                  </a:ext>
                </a:extLst>
              </p:cNvPr>
              <p:cNvSpPr/>
              <p:nvPr/>
            </p:nvSpPr>
            <p:spPr>
              <a:xfrm>
                <a:off x="6546378" y="1385358"/>
                <a:ext cx="663110" cy="944387"/>
              </a:xfrm>
              <a:custGeom>
                <a:avLst/>
                <a:gdLst>
                  <a:gd name="connsiteX0" fmla="*/ 0 w 663110"/>
                  <a:gd name="connsiteY0" fmla="*/ 453661 h 944387"/>
                  <a:gd name="connsiteX1" fmla="*/ 356403 w 663110"/>
                  <a:gd name="connsiteY1" fmla="*/ 944388 h 944387"/>
                  <a:gd name="connsiteX2" fmla="*/ 663111 w 663110"/>
                  <a:gd name="connsiteY2" fmla="*/ 0 h 944387"/>
                  <a:gd name="connsiteX3" fmla="*/ 86503 w 663110"/>
                  <a:gd name="connsiteY3" fmla="*/ 187427 h 944387"/>
                  <a:gd name="connsiteX4" fmla="*/ 0 w 663110"/>
                  <a:gd name="connsiteY4" fmla="*/ 453661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0" y="453661"/>
                    </a:moveTo>
                    <a:lnTo>
                      <a:pt x="356403" y="944388"/>
                    </a:lnTo>
                    <a:lnTo>
                      <a:pt x="663111" y="0"/>
                    </a:lnTo>
                    <a:lnTo>
                      <a:pt x="86503" y="187427"/>
                    </a:lnTo>
                    <a:lnTo>
                      <a:pt x="0" y="453661"/>
                    </a:lnTo>
                    <a:close/>
                  </a:path>
                </a:pathLst>
              </a:custGeom>
              <a:solidFill>
                <a:schemeClr val="tx1"/>
              </a:solidFill>
              <a:ln w="805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B3F177A6-0E01-9C20-FBFC-9378F8DAC283}"/>
                  </a:ext>
                </a:extLst>
              </p:cNvPr>
              <p:cNvSpPr/>
              <p:nvPr/>
            </p:nvSpPr>
            <p:spPr>
              <a:xfrm>
                <a:off x="6390125" y="749427"/>
                <a:ext cx="804785" cy="772431"/>
              </a:xfrm>
              <a:custGeom>
                <a:avLst/>
                <a:gdLst>
                  <a:gd name="connsiteX0" fmla="*/ 228178 w 804785"/>
                  <a:gd name="connsiteY0" fmla="*/ 772432 h 772431"/>
                  <a:gd name="connsiteX1" fmla="*/ 804786 w 804785"/>
                  <a:gd name="connsiteY1" fmla="*/ 585005 h 772431"/>
                  <a:gd name="connsiteX2" fmla="*/ 0 w 804785"/>
                  <a:gd name="connsiteY2" fmla="*/ 0 h 772431"/>
                  <a:gd name="connsiteX3" fmla="*/ 0 w 804785"/>
                  <a:gd name="connsiteY3" fmla="*/ 606600 h 772431"/>
                  <a:gd name="connsiteX4" fmla="*/ 228178 w 804785"/>
                  <a:gd name="connsiteY4" fmla="*/ 772432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228178" y="772432"/>
                    </a:moveTo>
                    <a:lnTo>
                      <a:pt x="804786" y="585005"/>
                    </a:lnTo>
                    <a:lnTo>
                      <a:pt x="0" y="0"/>
                    </a:lnTo>
                    <a:lnTo>
                      <a:pt x="0" y="606600"/>
                    </a:lnTo>
                    <a:lnTo>
                      <a:pt x="228178" y="772432"/>
                    </a:lnTo>
                    <a:close/>
                  </a:path>
                </a:pathLst>
              </a:custGeom>
              <a:solidFill>
                <a:schemeClr val="bg2"/>
              </a:solidFill>
              <a:ln w="805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3063D270-6D87-F088-7B87-6968CCCB83D6}"/>
                  </a:ext>
                </a:extLst>
              </p:cNvPr>
              <p:cNvSpPr/>
              <p:nvPr/>
            </p:nvSpPr>
            <p:spPr>
              <a:xfrm>
                <a:off x="5517924" y="1385358"/>
                <a:ext cx="663110" cy="944387"/>
              </a:xfrm>
              <a:custGeom>
                <a:avLst/>
                <a:gdLst>
                  <a:gd name="connsiteX0" fmla="*/ 576608 w 663110"/>
                  <a:gd name="connsiteY0" fmla="*/ 187427 h 944387"/>
                  <a:gd name="connsiteX1" fmla="*/ 0 w 663110"/>
                  <a:gd name="connsiteY1" fmla="*/ 0 h 944387"/>
                  <a:gd name="connsiteX2" fmla="*/ 306708 w 663110"/>
                  <a:gd name="connsiteY2" fmla="*/ 944388 h 944387"/>
                  <a:gd name="connsiteX3" fmla="*/ 663111 w 663110"/>
                  <a:gd name="connsiteY3" fmla="*/ 453661 h 944387"/>
                  <a:gd name="connsiteX4" fmla="*/ 576608 w 663110"/>
                  <a:gd name="connsiteY4" fmla="*/ 187427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576608" y="187427"/>
                    </a:moveTo>
                    <a:lnTo>
                      <a:pt x="0" y="0"/>
                    </a:lnTo>
                    <a:lnTo>
                      <a:pt x="306708" y="944388"/>
                    </a:lnTo>
                    <a:lnTo>
                      <a:pt x="663111" y="453661"/>
                    </a:lnTo>
                    <a:lnTo>
                      <a:pt x="576608" y="187427"/>
                    </a:lnTo>
                    <a:close/>
                  </a:path>
                </a:pathLst>
              </a:custGeom>
              <a:solidFill>
                <a:schemeClr val="accent4"/>
              </a:solidFill>
              <a:ln w="805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90D87BBE-299A-DB19-240B-B8DE5E20D388}"/>
                  </a:ext>
                </a:extLst>
              </p:cNvPr>
              <p:cNvSpPr/>
              <p:nvPr/>
            </p:nvSpPr>
            <p:spPr>
              <a:xfrm>
                <a:off x="5532502" y="749427"/>
                <a:ext cx="804785" cy="772431"/>
              </a:xfrm>
              <a:custGeom>
                <a:avLst/>
                <a:gdLst>
                  <a:gd name="connsiteX0" fmla="*/ 804786 w 804785"/>
                  <a:gd name="connsiteY0" fmla="*/ 606600 h 772431"/>
                  <a:gd name="connsiteX1" fmla="*/ 804786 w 804785"/>
                  <a:gd name="connsiteY1" fmla="*/ 0 h 772431"/>
                  <a:gd name="connsiteX2" fmla="*/ 0 w 804785"/>
                  <a:gd name="connsiteY2" fmla="*/ 585005 h 772431"/>
                  <a:gd name="connsiteX3" fmla="*/ 576608 w 804785"/>
                  <a:gd name="connsiteY3" fmla="*/ 772432 h 772431"/>
                  <a:gd name="connsiteX4" fmla="*/ 804786 w 804785"/>
                  <a:gd name="connsiteY4" fmla="*/ 606600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804786" y="606600"/>
                    </a:moveTo>
                    <a:lnTo>
                      <a:pt x="804786" y="0"/>
                    </a:lnTo>
                    <a:lnTo>
                      <a:pt x="0" y="585005"/>
                    </a:lnTo>
                    <a:lnTo>
                      <a:pt x="576608" y="772432"/>
                    </a:lnTo>
                    <a:lnTo>
                      <a:pt x="804786" y="606600"/>
                    </a:lnTo>
                    <a:close/>
                  </a:path>
                </a:pathLst>
              </a:custGeom>
              <a:solidFill>
                <a:schemeClr val="tx2"/>
              </a:solidFill>
              <a:ln w="8054" cap="flat">
                <a:noFill/>
                <a:prstDash val="solid"/>
                <a:miter/>
              </a:ln>
            </p:spPr>
            <p:txBody>
              <a:bodyPr rtlCol="0" anchor="ctr"/>
              <a:lstStyle/>
              <a:p>
                <a:endParaRPr lang="en-US"/>
              </a:p>
            </p:txBody>
          </p:sp>
        </p:grpSp>
      </p:grpSp>
      <p:sp>
        <p:nvSpPr>
          <p:cNvPr id="54" name="Text Placeholder 49">
            <a:extLst>
              <a:ext uri="{FF2B5EF4-FFF2-40B4-BE49-F238E27FC236}">
                <a16:creationId xmlns:a16="http://schemas.microsoft.com/office/drawing/2014/main" id="{532F64A1-F43F-E9BE-0F42-6A4D85B40F6A}"/>
              </a:ext>
            </a:extLst>
          </p:cNvPr>
          <p:cNvSpPr>
            <a:spLocks noGrp="1"/>
          </p:cNvSpPr>
          <p:nvPr>
            <p:ph type="body" sz="quarter" idx="22" hasCustomPrompt="1"/>
          </p:nvPr>
        </p:nvSpPr>
        <p:spPr>
          <a:xfrm>
            <a:off x="4564224" y="5813392"/>
            <a:ext cx="3230041"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5" name="Text Placeholder 49">
            <a:extLst>
              <a:ext uri="{FF2B5EF4-FFF2-40B4-BE49-F238E27FC236}">
                <a16:creationId xmlns:a16="http://schemas.microsoft.com/office/drawing/2014/main" id="{065EAEF4-DD08-DC06-4CC6-70E3A855AF9E}"/>
              </a:ext>
            </a:extLst>
          </p:cNvPr>
          <p:cNvSpPr>
            <a:spLocks noGrp="1"/>
          </p:cNvSpPr>
          <p:nvPr>
            <p:ph type="body" sz="quarter" idx="23" hasCustomPrompt="1"/>
          </p:nvPr>
        </p:nvSpPr>
        <p:spPr>
          <a:xfrm>
            <a:off x="4583964" y="5524543"/>
            <a:ext cx="3209895" cy="282497"/>
          </a:xfrm>
        </p:spPr>
        <p:txBody>
          <a:bodyPr>
            <a:normAutofit/>
          </a:bodyPr>
          <a:lstStyle>
            <a:lvl1pPr algn="ctr">
              <a:defRPr sz="1400" b="1">
                <a:solidFill>
                  <a:schemeClr val="tx1"/>
                </a:solidFill>
              </a:defRPr>
            </a:lvl1pPr>
          </a:lstStyle>
          <a:p>
            <a:pPr lvl="0"/>
            <a:r>
              <a:rPr lang="en-US"/>
              <a:t>Lorem ipsum dolor</a:t>
            </a:r>
          </a:p>
        </p:txBody>
      </p:sp>
      <p:sp>
        <p:nvSpPr>
          <p:cNvPr id="56" name="Text Placeholder 49">
            <a:extLst>
              <a:ext uri="{FF2B5EF4-FFF2-40B4-BE49-F238E27FC236}">
                <a16:creationId xmlns:a16="http://schemas.microsoft.com/office/drawing/2014/main" id="{ECFFC5DD-C6CB-ED91-56FA-B1ACD30CED7D}"/>
              </a:ext>
            </a:extLst>
          </p:cNvPr>
          <p:cNvSpPr>
            <a:spLocks noGrp="1"/>
          </p:cNvSpPr>
          <p:nvPr>
            <p:ph type="body" sz="quarter" idx="24" hasCustomPrompt="1"/>
          </p:nvPr>
        </p:nvSpPr>
        <p:spPr>
          <a:xfrm>
            <a:off x="955263" y="2884231"/>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7" name="Text Placeholder 49">
            <a:extLst>
              <a:ext uri="{FF2B5EF4-FFF2-40B4-BE49-F238E27FC236}">
                <a16:creationId xmlns:a16="http://schemas.microsoft.com/office/drawing/2014/main" id="{D7B2150D-3C24-DF90-F494-72C8594F2027}"/>
              </a:ext>
            </a:extLst>
          </p:cNvPr>
          <p:cNvSpPr>
            <a:spLocks noGrp="1"/>
          </p:cNvSpPr>
          <p:nvPr>
            <p:ph type="body" sz="quarter" idx="25" hasCustomPrompt="1"/>
          </p:nvPr>
        </p:nvSpPr>
        <p:spPr>
          <a:xfrm>
            <a:off x="975003" y="2595382"/>
            <a:ext cx="3700114" cy="282497"/>
          </a:xfrm>
        </p:spPr>
        <p:txBody>
          <a:bodyPr>
            <a:normAutofit/>
          </a:bodyPr>
          <a:lstStyle>
            <a:lvl1pPr algn="l">
              <a:defRPr sz="1400" b="1">
                <a:solidFill>
                  <a:schemeClr val="tx1"/>
                </a:solidFill>
              </a:defRPr>
            </a:lvl1pPr>
          </a:lstStyle>
          <a:p>
            <a:pPr lvl="0"/>
            <a:r>
              <a:rPr lang="en-US"/>
              <a:t>Lorem ipsum dolor</a:t>
            </a:r>
          </a:p>
        </p:txBody>
      </p:sp>
      <p:sp>
        <p:nvSpPr>
          <p:cNvPr id="58" name="Text Placeholder 49">
            <a:extLst>
              <a:ext uri="{FF2B5EF4-FFF2-40B4-BE49-F238E27FC236}">
                <a16:creationId xmlns:a16="http://schemas.microsoft.com/office/drawing/2014/main" id="{769CCF7F-C436-2007-87D8-9E4E6858A46B}"/>
              </a:ext>
            </a:extLst>
          </p:cNvPr>
          <p:cNvSpPr>
            <a:spLocks noGrp="1"/>
          </p:cNvSpPr>
          <p:nvPr>
            <p:ph type="body" sz="quarter" idx="26" hasCustomPrompt="1"/>
          </p:nvPr>
        </p:nvSpPr>
        <p:spPr>
          <a:xfrm>
            <a:off x="913974" y="4340587"/>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59" name="Text Placeholder 49">
            <a:extLst>
              <a:ext uri="{FF2B5EF4-FFF2-40B4-BE49-F238E27FC236}">
                <a16:creationId xmlns:a16="http://schemas.microsoft.com/office/drawing/2014/main" id="{E0192D6A-04A8-297B-1B08-F66247B573CD}"/>
              </a:ext>
            </a:extLst>
          </p:cNvPr>
          <p:cNvSpPr>
            <a:spLocks noGrp="1"/>
          </p:cNvSpPr>
          <p:nvPr>
            <p:ph type="body" sz="quarter" idx="27" hasCustomPrompt="1"/>
          </p:nvPr>
        </p:nvSpPr>
        <p:spPr>
          <a:xfrm>
            <a:off x="933714" y="4051738"/>
            <a:ext cx="3700114" cy="282497"/>
          </a:xfrm>
        </p:spPr>
        <p:txBody>
          <a:bodyPr>
            <a:normAutofit/>
          </a:bodyPr>
          <a:lstStyle>
            <a:lvl1pPr algn="l">
              <a:defRPr sz="1400" b="1">
                <a:solidFill>
                  <a:schemeClr val="tx1"/>
                </a:solidFill>
              </a:defRPr>
            </a:lvl1pPr>
          </a:lstStyle>
          <a:p>
            <a:pPr lvl="0"/>
            <a:r>
              <a:rPr lang="en-US"/>
              <a:t>Lorem ipsum dolor</a:t>
            </a:r>
          </a:p>
        </p:txBody>
      </p:sp>
      <p:sp>
        <p:nvSpPr>
          <p:cNvPr id="60" name="Text Placeholder 49">
            <a:extLst>
              <a:ext uri="{FF2B5EF4-FFF2-40B4-BE49-F238E27FC236}">
                <a16:creationId xmlns:a16="http://schemas.microsoft.com/office/drawing/2014/main" id="{68466F2D-FA7E-2713-A9EC-D79ED84E16B7}"/>
              </a:ext>
            </a:extLst>
          </p:cNvPr>
          <p:cNvSpPr>
            <a:spLocks noGrp="1"/>
          </p:cNvSpPr>
          <p:nvPr>
            <p:ph type="body" sz="quarter" idx="28" hasCustomPrompt="1"/>
          </p:nvPr>
        </p:nvSpPr>
        <p:spPr>
          <a:xfrm>
            <a:off x="7574667" y="2905013"/>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1" name="Text Placeholder 49">
            <a:extLst>
              <a:ext uri="{FF2B5EF4-FFF2-40B4-BE49-F238E27FC236}">
                <a16:creationId xmlns:a16="http://schemas.microsoft.com/office/drawing/2014/main" id="{4EC3D775-4734-E994-CAEC-41BE91C51517}"/>
              </a:ext>
            </a:extLst>
          </p:cNvPr>
          <p:cNvSpPr>
            <a:spLocks noGrp="1"/>
          </p:cNvSpPr>
          <p:nvPr>
            <p:ph type="body" sz="quarter" idx="29" hasCustomPrompt="1"/>
          </p:nvPr>
        </p:nvSpPr>
        <p:spPr>
          <a:xfrm>
            <a:off x="7594407" y="2616164"/>
            <a:ext cx="3700114" cy="282497"/>
          </a:xfrm>
        </p:spPr>
        <p:txBody>
          <a:bodyPr>
            <a:normAutofit/>
          </a:bodyPr>
          <a:lstStyle>
            <a:lvl1pPr algn="r">
              <a:defRPr sz="1400" b="1">
                <a:solidFill>
                  <a:schemeClr val="tx1"/>
                </a:solidFill>
              </a:defRPr>
            </a:lvl1pPr>
          </a:lstStyle>
          <a:p>
            <a:pPr lvl="0"/>
            <a:r>
              <a:rPr lang="en-US"/>
              <a:t>Lorem ipsum dolor</a:t>
            </a:r>
          </a:p>
        </p:txBody>
      </p:sp>
      <p:sp>
        <p:nvSpPr>
          <p:cNvPr id="62" name="Text Placeholder 49">
            <a:extLst>
              <a:ext uri="{FF2B5EF4-FFF2-40B4-BE49-F238E27FC236}">
                <a16:creationId xmlns:a16="http://schemas.microsoft.com/office/drawing/2014/main" id="{66436E01-F4EA-B217-B2DE-BCF47E57E716}"/>
              </a:ext>
            </a:extLst>
          </p:cNvPr>
          <p:cNvSpPr>
            <a:spLocks noGrp="1"/>
          </p:cNvSpPr>
          <p:nvPr>
            <p:ph type="body" sz="quarter" idx="30" hasCustomPrompt="1"/>
          </p:nvPr>
        </p:nvSpPr>
        <p:spPr>
          <a:xfrm>
            <a:off x="7533378" y="4361369"/>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3" name="Text Placeholder 49">
            <a:extLst>
              <a:ext uri="{FF2B5EF4-FFF2-40B4-BE49-F238E27FC236}">
                <a16:creationId xmlns:a16="http://schemas.microsoft.com/office/drawing/2014/main" id="{D2168063-C5AE-D59C-DE7C-17B224056CDD}"/>
              </a:ext>
            </a:extLst>
          </p:cNvPr>
          <p:cNvSpPr>
            <a:spLocks noGrp="1"/>
          </p:cNvSpPr>
          <p:nvPr>
            <p:ph type="body" sz="quarter" idx="31" hasCustomPrompt="1"/>
          </p:nvPr>
        </p:nvSpPr>
        <p:spPr>
          <a:xfrm>
            <a:off x="7553118" y="4072520"/>
            <a:ext cx="3700114" cy="282497"/>
          </a:xfrm>
        </p:spPr>
        <p:txBody>
          <a:bodyPr>
            <a:normAutofit/>
          </a:bodyPr>
          <a:lstStyle>
            <a:lvl1pPr algn="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150032350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ix point hexa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Six points - hex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2" name="Group 31">
            <a:extLst>
              <a:ext uri="{FF2B5EF4-FFF2-40B4-BE49-F238E27FC236}">
                <a16:creationId xmlns:a16="http://schemas.microsoft.com/office/drawing/2014/main" id="{529A6C24-BAAB-0684-EBE2-6759201829BB}"/>
              </a:ext>
            </a:extLst>
          </p:cNvPr>
          <p:cNvGrpSpPr/>
          <p:nvPr userDrawn="1"/>
        </p:nvGrpSpPr>
        <p:grpSpPr>
          <a:xfrm>
            <a:off x="815975" y="2337351"/>
            <a:ext cx="10620375" cy="3331825"/>
            <a:chOff x="815975" y="2032551"/>
            <a:chExt cx="10620375" cy="3331825"/>
          </a:xfrm>
        </p:grpSpPr>
        <p:cxnSp>
          <p:nvCxnSpPr>
            <p:cNvPr id="56" name="Straight Connector 55">
              <a:extLst>
                <a:ext uri="{FF2B5EF4-FFF2-40B4-BE49-F238E27FC236}">
                  <a16:creationId xmlns:a16="http://schemas.microsoft.com/office/drawing/2014/main" id="{84549077-8C63-7ADD-8836-74348AB7C9B1}"/>
                </a:ext>
              </a:extLst>
            </p:cNvPr>
            <p:cNvCxnSpPr>
              <a:cxnSpLocks/>
            </p:cNvCxnSpPr>
            <p:nvPr/>
          </p:nvCxnSpPr>
          <p:spPr>
            <a:xfrm flipV="1">
              <a:off x="6125454" y="2032551"/>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0B41AAA-CBBE-6DFA-984F-71E63893EFC9}"/>
                </a:ext>
              </a:extLst>
            </p:cNvPr>
            <p:cNvCxnSpPr>
              <a:cxnSpLocks/>
            </p:cNvCxnSpPr>
            <p:nvPr/>
          </p:nvCxnSpPr>
          <p:spPr>
            <a:xfrm>
              <a:off x="6995461" y="297749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A28389-8E31-2964-B966-7D40D456A575}"/>
                </a:ext>
              </a:extLst>
            </p:cNvPr>
            <p:cNvCxnSpPr>
              <a:cxnSpLocks/>
            </p:cNvCxnSpPr>
            <p:nvPr/>
          </p:nvCxnSpPr>
          <p:spPr>
            <a:xfrm flipH="1">
              <a:off x="815975" y="296346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CA30902-AB6E-3782-F9D4-4F41087E663B}"/>
                </a:ext>
              </a:extLst>
            </p:cNvPr>
            <p:cNvCxnSpPr>
              <a:cxnSpLocks/>
            </p:cNvCxnSpPr>
            <p:nvPr/>
          </p:nvCxnSpPr>
          <p:spPr>
            <a:xfrm>
              <a:off x="6145778" y="4268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6C31BE-013C-8689-C9DB-6BDA3EE6E339}"/>
                </a:ext>
              </a:extLst>
            </p:cNvPr>
            <p:cNvCxnSpPr>
              <a:cxnSpLocks/>
            </p:cNvCxnSpPr>
            <p:nvPr/>
          </p:nvCxnSpPr>
          <p:spPr>
            <a:xfrm>
              <a:off x="6995461" y="44095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BB17F0-0023-5B1E-E111-1BD43FF4F82A}"/>
                </a:ext>
              </a:extLst>
            </p:cNvPr>
            <p:cNvCxnSpPr>
              <a:cxnSpLocks/>
            </p:cNvCxnSpPr>
            <p:nvPr/>
          </p:nvCxnSpPr>
          <p:spPr>
            <a:xfrm flipH="1">
              <a:off x="815975" y="43955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5C5DA5BD-5C15-9FA7-6A21-DE4BCDEEBCC7}"/>
                </a:ext>
              </a:extLst>
            </p:cNvPr>
            <p:cNvGrpSpPr/>
            <p:nvPr/>
          </p:nvGrpSpPr>
          <p:grpSpPr>
            <a:xfrm>
              <a:off x="4561708" y="2277806"/>
              <a:ext cx="3168140" cy="2782036"/>
              <a:chOff x="7397879" y="730250"/>
              <a:chExt cx="1866261" cy="1638818"/>
            </a:xfrm>
          </p:grpSpPr>
          <p:sp>
            <p:nvSpPr>
              <p:cNvPr id="50" name="Freeform 49">
                <a:extLst>
                  <a:ext uri="{FF2B5EF4-FFF2-40B4-BE49-F238E27FC236}">
                    <a16:creationId xmlns:a16="http://schemas.microsoft.com/office/drawing/2014/main" id="{BF7E2AB7-E273-7D11-FF1E-686D88BB8DA2}"/>
                  </a:ext>
                </a:extLst>
              </p:cNvPr>
              <p:cNvSpPr/>
              <p:nvPr/>
            </p:nvSpPr>
            <p:spPr>
              <a:xfrm>
                <a:off x="8502365" y="752167"/>
                <a:ext cx="753882" cy="765743"/>
              </a:xfrm>
              <a:custGeom>
                <a:avLst/>
                <a:gdLst>
                  <a:gd name="connsiteX0" fmla="*/ 127258 w 753882"/>
                  <a:gd name="connsiteY0" fmla="*/ 765744 h 765743"/>
                  <a:gd name="connsiteX1" fmla="*/ 753882 w 753882"/>
                  <a:gd name="connsiteY1" fmla="*/ 764213 h 765743"/>
                  <a:gd name="connsiteX2" fmla="*/ 312909 w 753882"/>
                  <a:gd name="connsiteY2" fmla="*/ 0 h 765743"/>
                  <a:gd name="connsiteX3" fmla="*/ 0 w 753882"/>
                  <a:gd name="connsiteY3" fmla="*/ 545199 h 765743"/>
                  <a:gd name="connsiteX4" fmla="*/ 127258 w 753882"/>
                  <a:gd name="connsiteY4" fmla="*/ 765744 h 76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882" h="765743">
                    <a:moveTo>
                      <a:pt x="127258" y="765744"/>
                    </a:moveTo>
                    <a:lnTo>
                      <a:pt x="753882" y="764213"/>
                    </a:lnTo>
                    <a:lnTo>
                      <a:pt x="312909" y="0"/>
                    </a:lnTo>
                    <a:lnTo>
                      <a:pt x="0" y="545199"/>
                    </a:lnTo>
                    <a:lnTo>
                      <a:pt x="127258" y="765744"/>
                    </a:lnTo>
                    <a:close/>
                  </a:path>
                </a:pathLst>
              </a:custGeom>
              <a:solidFill>
                <a:schemeClr val="bg2"/>
              </a:solidFill>
              <a:ln w="805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DB611C49-D140-F25F-F43F-56E0012052A1}"/>
                  </a:ext>
                </a:extLst>
              </p:cNvPr>
              <p:cNvSpPr/>
              <p:nvPr/>
            </p:nvSpPr>
            <p:spPr>
              <a:xfrm>
                <a:off x="7400617" y="756679"/>
                <a:ext cx="755573" cy="764212"/>
              </a:xfrm>
              <a:custGeom>
                <a:avLst/>
                <a:gdLst>
                  <a:gd name="connsiteX0" fmla="*/ 755574 w 755573"/>
                  <a:gd name="connsiteY0" fmla="*/ 542137 h 764212"/>
                  <a:gd name="connsiteX1" fmla="*/ 440973 w 755573"/>
                  <a:gd name="connsiteY1" fmla="*/ 0 h 764212"/>
                  <a:gd name="connsiteX2" fmla="*/ 0 w 755573"/>
                  <a:gd name="connsiteY2" fmla="*/ 764213 h 764212"/>
                  <a:gd name="connsiteX3" fmla="*/ 628316 w 755573"/>
                  <a:gd name="connsiteY3" fmla="*/ 762682 h 764212"/>
                  <a:gd name="connsiteX4" fmla="*/ 755574 w 755573"/>
                  <a:gd name="connsiteY4" fmla="*/ 542137 h 764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573" h="764212">
                    <a:moveTo>
                      <a:pt x="755574" y="542137"/>
                    </a:moveTo>
                    <a:lnTo>
                      <a:pt x="440973" y="0"/>
                    </a:lnTo>
                    <a:lnTo>
                      <a:pt x="0" y="764213"/>
                    </a:lnTo>
                    <a:lnTo>
                      <a:pt x="628316" y="762682"/>
                    </a:lnTo>
                    <a:lnTo>
                      <a:pt x="755574" y="542137"/>
                    </a:lnTo>
                    <a:close/>
                  </a:path>
                </a:pathLst>
              </a:custGeom>
              <a:solidFill>
                <a:schemeClr val="accent4"/>
              </a:solidFill>
              <a:ln w="805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A3FD2F2-AC0C-F3EA-5956-6E969BC4963B}"/>
                  </a:ext>
                </a:extLst>
              </p:cNvPr>
              <p:cNvSpPr/>
              <p:nvPr/>
            </p:nvSpPr>
            <p:spPr>
              <a:xfrm>
                <a:off x="7887338" y="1825401"/>
                <a:ext cx="890000" cy="543667"/>
              </a:xfrm>
              <a:custGeom>
                <a:avLst/>
                <a:gdLst>
                  <a:gd name="connsiteX0" fmla="*/ 312024 w 890000"/>
                  <a:gd name="connsiteY0" fmla="*/ 0 h 543667"/>
                  <a:gd name="connsiteX1" fmla="*/ 0 w 890000"/>
                  <a:gd name="connsiteY1" fmla="*/ 543668 h 543667"/>
                  <a:gd name="connsiteX2" fmla="*/ 890000 w 890000"/>
                  <a:gd name="connsiteY2" fmla="*/ 543668 h 543667"/>
                  <a:gd name="connsiteX3" fmla="*/ 574513 w 890000"/>
                  <a:gd name="connsiteY3" fmla="*/ 0 h 543667"/>
                  <a:gd name="connsiteX4" fmla="*/ 312024 w 890000"/>
                  <a:gd name="connsiteY4" fmla="*/ 0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00" h="543667">
                    <a:moveTo>
                      <a:pt x="312024" y="0"/>
                    </a:moveTo>
                    <a:lnTo>
                      <a:pt x="0" y="543668"/>
                    </a:lnTo>
                    <a:lnTo>
                      <a:pt x="890000" y="543668"/>
                    </a:lnTo>
                    <a:lnTo>
                      <a:pt x="574513" y="0"/>
                    </a:lnTo>
                    <a:lnTo>
                      <a:pt x="312024" y="0"/>
                    </a:lnTo>
                    <a:close/>
                  </a:path>
                </a:pathLst>
              </a:custGeom>
              <a:solidFill>
                <a:schemeClr val="accent5"/>
              </a:solidFill>
              <a:ln w="805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71D90DE7-F2BF-D3B6-8ABA-753BB64C7217}"/>
                  </a:ext>
                </a:extLst>
              </p:cNvPr>
              <p:cNvSpPr/>
              <p:nvPr/>
            </p:nvSpPr>
            <p:spPr>
              <a:xfrm>
                <a:off x="7887419" y="730250"/>
                <a:ext cx="879449" cy="543667"/>
              </a:xfrm>
              <a:custGeom>
                <a:avLst/>
                <a:gdLst>
                  <a:gd name="connsiteX0" fmla="*/ 567426 w 879449"/>
                  <a:gd name="connsiteY0" fmla="*/ 543668 h 543667"/>
                  <a:gd name="connsiteX1" fmla="*/ 879449 w 879449"/>
                  <a:gd name="connsiteY1" fmla="*/ 0 h 543667"/>
                  <a:gd name="connsiteX2" fmla="*/ 0 w 879449"/>
                  <a:gd name="connsiteY2" fmla="*/ 0 h 543667"/>
                  <a:gd name="connsiteX3" fmla="*/ 315487 w 879449"/>
                  <a:gd name="connsiteY3" fmla="*/ 543668 h 543667"/>
                  <a:gd name="connsiteX4" fmla="*/ 567426 w 879449"/>
                  <a:gd name="connsiteY4" fmla="*/ 543668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449" h="543667">
                    <a:moveTo>
                      <a:pt x="567426" y="543668"/>
                    </a:moveTo>
                    <a:lnTo>
                      <a:pt x="879449" y="0"/>
                    </a:lnTo>
                    <a:lnTo>
                      <a:pt x="0" y="0"/>
                    </a:lnTo>
                    <a:lnTo>
                      <a:pt x="315487" y="543668"/>
                    </a:lnTo>
                    <a:lnTo>
                      <a:pt x="567426" y="543668"/>
                    </a:lnTo>
                    <a:close/>
                  </a:path>
                </a:pathLst>
              </a:custGeom>
              <a:solidFill>
                <a:schemeClr val="accent1"/>
              </a:solidFill>
              <a:ln w="8054"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5416BCBB-81E0-E746-F180-1105A68A77D8}"/>
                  </a:ext>
                </a:extLst>
              </p:cNvPr>
              <p:cNvSpPr/>
              <p:nvPr/>
            </p:nvSpPr>
            <p:spPr>
              <a:xfrm>
                <a:off x="7397879" y="1572302"/>
                <a:ext cx="756540" cy="770256"/>
              </a:xfrm>
              <a:custGeom>
                <a:avLst/>
                <a:gdLst>
                  <a:gd name="connsiteX0" fmla="*/ 626625 w 756540"/>
                  <a:gd name="connsiteY0" fmla="*/ 0 h 770256"/>
                  <a:gd name="connsiteX1" fmla="*/ 0 w 756540"/>
                  <a:gd name="connsiteY1" fmla="*/ 1531 h 770256"/>
                  <a:gd name="connsiteX2" fmla="*/ 443711 w 756540"/>
                  <a:gd name="connsiteY2" fmla="*/ 770256 h 770256"/>
                  <a:gd name="connsiteX3" fmla="*/ 756540 w 756540"/>
                  <a:gd name="connsiteY3" fmla="*/ 225138 h 770256"/>
                  <a:gd name="connsiteX4" fmla="*/ 626625 w 756540"/>
                  <a:gd name="connsiteY4" fmla="*/ 0 h 77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540" h="770256">
                    <a:moveTo>
                      <a:pt x="626625" y="0"/>
                    </a:moveTo>
                    <a:lnTo>
                      <a:pt x="0" y="1531"/>
                    </a:lnTo>
                    <a:lnTo>
                      <a:pt x="443711" y="770256"/>
                    </a:lnTo>
                    <a:lnTo>
                      <a:pt x="756540" y="225138"/>
                    </a:lnTo>
                    <a:lnTo>
                      <a:pt x="626625" y="0"/>
                    </a:lnTo>
                    <a:close/>
                  </a:path>
                </a:pathLst>
              </a:custGeom>
              <a:solidFill>
                <a:schemeClr val="tx2"/>
              </a:solidFill>
              <a:ln w="805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EF22FEBA-171F-5F35-FF8B-AEA93595A3A0}"/>
                  </a:ext>
                </a:extLst>
              </p:cNvPr>
              <p:cNvSpPr/>
              <p:nvPr/>
            </p:nvSpPr>
            <p:spPr>
              <a:xfrm>
                <a:off x="8505828" y="1569240"/>
                <a:ext cx="758312" cy="768805"/>
              </a:xfrm>
              <a:custGeom>
                <a:avLst/>
                <a:gdLst>
                  <a:gd name="connsiteX0" fmla="*/ 0 w 758312"/>
                  <a:gd name="connsiteY0" fmla="*/ 226669 h 768805"/>
                  <a:gd name="connsiteX1" fmla="*/ 314682 w 758312"/>
                  <a:gd name="connsiteY1" fmla="*/ 768806 h 768805"/>
                  <a:gd name="connsiteX2" fmla="*/ 758312 w 758312"/>
                  <a:gd name="connsiteY2" fmla="*/ 0 h 768805"/>
                  <a:gd name="connsiteX3" fmla="*/ 129916 w 758312"/>
                  <a:gd name="connsiteY3" fmla="*/ 1531 h 768805"/>
                  <a:gd name="connsiteX4" fmla="*/ 0 w 758312"/>
                  <a:gd name="connsiteY4" fmla="*/ 226669 h 768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12" h="768805">
                    <a:moveTo>
                      <a:pt x="0" y="226669"/>
                    </a:moveTo>
                    <a:lnTo>
                      <a:pt x="314682" y="768806"/>
                    </a:lnTo>
                    <a:lnTo>
                      <a:pt x="758312" y="0"/>
                    </a:lnTo>
                    <a:lnTo>
                      <a:pt x="129916" y="1531"/>
                    </a:lnTo>
                    <a:lnTo>
                      <a:pt x="0" y="226669"/>
                    </a:lnTo>
                    <a:close/>
                  </a:path>
                </a:pathLst>
              </a:custGeom>
              <a:solidFill>
                <a:schemeClr val="tx1"/>
              </a:solidFill>
              <a:ln w="8054" cap="flat">
                <a:noFill/>
                <a:prstDash val="solid"/>
                <a:miter/>
              </a:ln>
            </p:spPr>
            <p:txBody>
              <a:bodyPr rtlCol="0" anchor="ctr"/>
              <a:lstStyle/>
              <a:p>
                <a:endParaRPr lang="en-US"/>
              </a:p>
            </p:txBody>
          </p:sp>
        </p:grpSp>
      </p:grpSp>
      <p:sp>
        <p:nvSpPr>
          <p:cNvPr id="59" name="Text Placeholder 49">
            <a:extLst>
              <a:ext uri="{FF2B5EF4-FFF2-40B4-BE49-F238E27FC236}">
                <a16:creationId xmlns:a16="http://schemas.microsoft.com/office/drawing/2014/main" id="{8DC2517D-2170-2ED2-782C-2C421B8D0334}"/>
              </a:ext>
            </a:extLst>
          </p:cNvPr>
          <p:cNvSpPr>
            <a:spLocks noGrp="1"/>
          </p:cNvSpPr>
          <p:nvPr>
            <p:ph type="body" sz="quarter" idx="24" hasCustomPrompt="1"/>
          </p:nvPr>
        </p:nvSpPr>
        <p:spPr>
          <a:xfrm>
            <a:off x="955263" y="3281212"/>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0" name="Text Placeholder 49">
            <a:extLst>
              <a:ext uri="{FF2B5EF4-FFF2-40B4-BE49-F238E27FC236}">
                <a16:creationId xmlns:a16="http://schemas.microsoft.com/office/drawing/2014/main" id="{1A3EB3BA-2E32-CE01-73B6-7B1747104B14}"/>
              </a:ext>
            </a:extLst>
          </p:cNvPr>
          <p:cNvSpPr>
            <a:spLocks noGrp="1"/>
          </p:cNvSpPr>
          <p:nvPr>
            <p:ph type="body" sz="quarter" idx="25" hasCustomPrompt="1"/>
          </p:nvPr>
        </p:nvSpPr>
        <p:spPr>
          <a:xfrm>
            <a:off x="975003" y="2992363"/>
            <a:ext cx="3700114" cy="282497"/>
          </a:xfrm>
        </p:spPr>
        <p:txBody>
          <a:bodyPr>
            <a:normAutofit/>
          </a:bodyPr>
          <a:lstStyle>
            <a:lvl1pPr algn="l">
              <a:defRPr sz="1400" b="1">
                <a:solidFill>
                  <a:schemeClr val="tx1"/>
                </a:solidFill>
              </a:defRPr>
            </a:lvl1pPr>
          </a:lstStyle>
          <a:p>
            <a:pPr lvl="0"/>
            <a:r>
              <a:rPr lang="en-US"/>
              <a:t>Lorem ipsum dolor</a:t>
            </a:r>
          </a:p>
        </p:txBody>
      </p:sp>
      <p:sp>
        <p:nvSpPr>
          <p:cNvPr id="61" name="Text Placeholder 49">
            <a:extLst>
              <a:ext uri="{FF2B5EF4-FFF2-40B4-BE49-F238E27FC236}">
                <a16:creationId xmlns:a16="http://schemas.microsoft.com/office/drawing/2014/main" id="{48CD2EEA-03EE-6EA6-53E8-36DA32D6B213}"/>
              </a:ext>
            </a:extLst>
          </p:cNvPr>
          <p:cNvSpPr>
            <a:spLocks noGrp="1"/>
          </p:cNvSpPr>
          <p:nvPr>
            <p:ph type="body" sz="quarter" idx="26" hasCustomPrompt="1"/>
          </p:nvPr>
        </p:nvSpPr>
        <p:spPr>
          <a:xfrm>
            <a:off x="913974" y="4737568"/>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2" name="Text Placeholder 49">
            <a:extLst>
              <a:ext uri="{FF2B5EF4-FFF2-40B4-BE49-F238E27FC236}">
                <a16:creationId xmlns:a16="http://schemas.microsoft.com/office/drawing/2014/main" id="{A67F4953-ED25-FC75-A20A-7F3BC4396EF0}"/>
              </a:ext>
            </a:extLst>
          </p:cNvPr>
          <p:cNvSpPr>
            <a:spLocks noGrp="1"/>
          </p:cNvSpPr>
          <p:nvPr>
            <p:ph type="body" sz="quarter" idx="27" hasCustomPrompt="1"/>
          </p:nvPr>
        </p:nvSpPr>
        <p:spPr>
          <a:xfrm>
            <a:off x="933714" y="4448719"/>
            <a:ext cx="3700114" cy="282497"/>
          </a:xfrm>
        </p:spPr>
        <p:txBody>
          <a:bodyPr>
            <a:normAutofit/>
          </a:bodyPr>
          <a:lstStyle>
            <a:lvl1pPr algn="l">
              <a:defRPr sz="1400" b="1">
                <a:solidFill>
                  <a:schemeClr val="tx1"/>
                </a:solidFill>
              </a:defRPr>
            </a:lvl1pPr>
          </a:lstStyle>
          <a:p>
            <a:pPr lvl="0"/>
            <a:r>
              <a:rPr lang="en-US"/>
              <a:t>Lorem ipsum dolor</a:t>
            </a:r>
          </a:p>
        </p:txBody>
      </p:sp>
      <p:sp>
        <p:nvSpPr>
          <p:cNvPr id="63" name="Text Placeholder 49">
            <a:extLst>
              <a:ext uri="{FF2B5EF4-FFF2-40B4-BE49-F238E27FC236}">
                <a16:creationId xmlns:a16="http://schemas.microsoft.com/office/drawing/2014/main" id="{4963A2E7-8232-290D-2AC0-46C20EEA21F3}"/>
              </a:ext>
            </a:extLst>
          </p:cNvPr>
          <p:cNvSpPr>
            <a:spLocks noGrp="1"/>
          </p:cNvSpPr>
          <p:nvPr>
            <p:ph type="body" sz="quarter" idx="28" hasCustomPrompt="1"/>
          </p:nvPr>
        </p:nvSpPr>
        <p:spPr>
          <a:xfrm>
            <a:off x="7574667" y="3301994"/>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4" name="Text Placeholder 49">
            <a:extLst>
              <a:ext uri="{FF2B5EF4-FFF2-40B4-BE49-F238E27FC236}">
                <a16:creationId xmlns:a16="http://schemas.microsoft.com/office/drawing/2014/main" id="{00C17830-FBA9-2FD8-515E-EEAB08573018}"/>
              </a:ext>
            </a:extLst>
          </p:cNvPr>
          <p:cNvSpPr>
            <a:spLocks noGrp="1"/>
          </p:cNvSpPr>
          <p:nvPr>
            <p:ph type="body" sz="quarter" idx="29" hasCustomPrompt="1"/>
          </p:nvPr>
        </p:nvSpPr>
        <p:spPr>
          <a:xfrm>
            <a:off x="7594407" y="3013145"/>
            <a:ext cx="3700114" cy="282497"/>
          </a:xfrm>
        </p:spPr>
        <p:txBody>
          <a:bodyPr>
            <a:normAutofit/>
          </a:bodyPr>
          <a:lstStyle>
            <a:lvl1pPr algn="r">
              <a:defRPr sz="1400" b="1">
                <a:solidFill>
                  <a:schemeClr val="tx1"/>
                </a:solidFill>
              </a:defRPr>
            </a:lvl1pPr>
          </a:lstStyle>
          <a:p>
            <a:pPr lvl="0"/>
            <a:r>
              <a:rPr lang="en-US"/>
              <a:t>Lorem ipsum dolor</a:t>
            </a:r>
          </a:p>
        </p:txBody>
      </p:sp>
      <p:sp>
        <p:nvSpPr>
          <p:cNvPr id="65" name="Text Placeholder 49">
            <a:extLst>
              <a:ext uri="{FF2B5EF4-FFF2-40B4-BE49-F238E27FC236}">
                <a16:creationId xmlns:a16="http://schemas.microsoft.com/office/drawing/2014/main" id="{52270BF0-6BC5-68B8-66F7-05B9D5B61D5E}"/>
              </a:ext>
            </a:extLst>
          </p:cNvPr>
          <p:cNvSpPr>
            <a:spLocks noGrp="1"/>
          </p:cNvSpPr>
          <p:nvPr>
            <p:ph type="body" sz="quarter" idx="30" hasCustomPrompt="1"/>
          </p:nvPr>
        </p:nvSpPr>
        <p:spPr>
          <a:xfrm>
            <a:off x="7533378" y="4758350"/>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6" name="Text Placeholder 49">
            <a:extLst>
              <a:ext uri="{FF2B5EF4-FFF2-40B4-BE49-F238E27FC236}">
                <a16:creationId xmlns:a16="http://schemas.microsoft.com/office/drawing/2014/main" id="{C224497E-4393-BB1D-F792-E204F622C57B}"/>
              </a:ext>
            </a:extLst>
          </p:cNvPr>
          <p:cNvSpPr>
            <a:spLocks noGrp="1"/>
          </p:cNvSpPr>
          <p:nvPr>
            <p:ph type="body" sz="quarter" idx="31" hasCustomPrompt="1"/>
          </p:nvPr>
        </p:nvSpPr>
        <p:spPr>
          <a:xfrm>
            <a:off x="7553118" y="4469501"/>
            <a:ext cx="3700114" cy="282497"/>
          </a:xfrm>
        </p:spPr>
        <p:txBody>
          <a:bodyPr>
            <a:normAutofit/>
          </a:bodyPr>
          <a:lstStyle>
            <a:lvl1pPr algn="r">
              <a:defRPr sz="1400" b="1">
                <a:solidFill>
                  <a:schemeClr val="tx1"/>
                </a:solidFill>
              </a:defRPr>
            </a:lvl1pPr>
          </a:lstStyle>
          <a:p>
            <a:pPr lvl="0"/>
            <a:r>
              <a:rPr lang="en-US"/>
              <a:t>Lorem ipsum dolor</a:t>
            </a:r>
          </a:p>
        </p:txBody>
      </p:sp>
      <p:sp>
        <p:nvSpPr>
          <p:cNvPr id="67" name="Text Placeholder 49">
            <a:extLst>
              <a:ext uri="{FF2B5EF4-FFF2-40B4-BE49-F238E27FC236}">
                <a16:creationId xmlns:a16="http://schemas.microsoft.com/office/drawing/2014/main" id="{77B53CF5-08AB-0BF3-AA52-073EBB65322D}"/>
              </a:ext>
            </a:extLst>
          </p:cNvPr>
          <p:cNvSpPr>
            <a:spLocks noGrp="1"/>
          </p:cNvSpPr>
          <p:nvPr>
            <p:ph type="body" sz="quarter" idx="32" hasCustomPrompt="1"/>
          </p:nvPr>
        </p:nvSpPr>
        <p:spPr>
          <a:xfrm>
            <a:off x="4275981" y="6062642"/>
            <a:ext cx="3723337"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8" name="Text Placeholder 49">
            <a:extLst>
              <a:ext uri="{FF2B5EF4-FFF2-40B4-BE49-F238E27FC236}">
                <a16:creationId xmlns:a16="http://schemas.microsoft.com/office/drawing/2014/main" id="{53EE0B44-7239-F56A-C82D-9B26C7A3DD48}"/>
              </a:ext>
            </a:extLst>
          </p:cNvPr>
          <p:cNvSpPr>
            <a:spLocks noGrp="1"/>
          </p:cNvSpPr>
          <p:nvPr>
            <p:ph type="body" sz="quarter" idx="33" hasCustomPrompt="1"/>
          </p:nvPr>
        </p:nvSpPr>
        <p:spPr>
          <a:xfrm>
            <a:off x="4295721" y="5773793"/>
            <a:ext cx="3700114" cy="282497"/>
          </a:xfrm>
        </p:spPr>
        <p:txBody>
          <a:bodyPr>
            <a:normAutofit/>
          </a:bodyPr>
          <a:lstStyle>
            <a:lvl1pPr algn="ctr">
              <a:defRPr sz="1400" b="1">
                <a:solidFill>
                  <a:schemeClr val="tx1"/>
                </a:solidFill>
              </a:defRPr>
            </a:lvl1pPr>
          </a:lstStyle>
          <a:p>
            <a:pPr lvl="0"/>
            <a:r>
              <a:rPr lang="en-US"/>
              <a:t>Lorem ipsum dolor</a:t>
            </a:r>
          </a:p>
        </p:txBody>
      </p:sp>
      <p:sp>
        <p:nvSpPr>
          <p:cNvPr id="69" name="Text Placeholder 49">
            <a:extLst>
              <a:ext uri="{FF2B5EF4-FFF2-40B4-BE49-F238E27FC236}">
                <a16:creationId xmlns:a16="http://schemas.microsoft.com/office/drawing/2014/main" id="{6213677A-7643-5BC1-27AD-080FF456DB9A}"/>
              </a:ext>
            </a:extLst>
          </p:cNvPr>
          <p:cNvSpPr>
            <a:spLocks noGrp="1"/>
          </p:cNvSpPr>
          <p:nvPr>
            <p:ph type="body" sz="quarter" idx="34" hasCustomPrompt="1"/>
          </p:nvPr>
        </p:nvSpPr>
        <p:spPr>
          <a:xfrm>
            <a:off x="4204878" y="1965249"/>
            <a:ext cx="3723337"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70" name="Text Placeholder 49">
            <a:extLst>
              <a:ext uri="{FF2B5EF4-FFF2-40B4-BE49-F238E27FC236}">
                <a16:creationId xmlns:a16="http://schemas.microsoft.com/office/drawing/2014/main" id="{65E30090-D797-F8A4-3DAA-BF62BEC39ECA}"/>
              </a:ext>
            </a:extLst>
          </p:cNvPr>
          <p:cNvSpPr>
            <a:spLocks noGrp="1"/>
          </p:cNvSpPr>
          <p:nvPr>
            <p:ph type="body" sz="quarter" idx="35" hasCustomPrompt="1"/>
          </p:nvPr>
        </p:nvSpPr>
        <p:spPr>
          <a:xfrm>
            <a:off x="4224618" y="1676400"/>
            <a:ext cx="3700114" cy="282497"/>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424432775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ven point hepta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Seven points - hept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cxnSp>
        <p:nvCxnSpPr>
          <p:cNvPr id="3" name="Straight Connector 2">
            <a:extLst>
              <a:ext uri="{FF2B5EF4-FFF2-40B4-BE49-F238E27FC236}">
                <a16:creationId xmlns:a16="http://schemas.microsoft.com/office/drawing/2014/main" id="{349A2487-DBCA-454C-558B-E11C24991FA8}"/>
              </a:ext>
            </a:extLst>
          </p:cNvPr>
          <p:cNvCxnSpPr>
            <a:cxnSpLocks/>
          </p:cNvCxnSpPr>
          <p:nvPr userDrawn="1"/>
        </p:nvCxnSpPr>
        <p:spPr>
          <a:xfrm>
            <a:off x="6995461" y="354645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2BC4742-1624-94E2-E274-4B95E1AD9895}"/>
              </a:ext>
            </a:extLst>
          </p:cNvPr>
          <p:cNvCxnSpPr>
            <a:cxnSpLocks/>
          </p:cNvCxnSpPr>
          <p:nvPr userDrawn="1"/>
        </p:nvCxnSpPr>
        <p:spPr>
          <a:xfrm flipH="1">
            <a:off x="815975" y="353242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1AF4952-9541-057A-47CD-9045D7C1125B}"/>
              </a:ext>
            </a:extLst>
          </p:cNvPr>
          <p:cNvCxnSpPr>
            <a:cxnSpLocks/>
          </p:cNvCxnSpPr>
          <p:nvPr userDrawn="1"/>
        </p:nvCxnSpPr>
        <p:spPr>
          <a:xfrm>
            <a:off x="6995461" y="2384185"/>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204FF09-ADAF-8C0D-64ED-A54BEB062C95}"/>
              </a:ext>
            </a:extLst>
          </p:cNvPr>
          <p:cNvCxnSpPr>
            <a:cxnSpLocks/>
          </p:cNvCxnSpPr>
          <p:nvPr userDrawn="1"/>
        </p:nvCxnSpPr>
        <p:spPr>
          <a:xfrm flipH="1">
            <a:off x="815975" y="2370154"/>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CFC468F-D1F3-DCBB-5F7E-6EA12B99EB62}"/>
              </a:ext>
            </a:extLst>
          </p:cNvPr>
          <p:cNvCxnSpPr>
            <a:cxnSpLocks/>
          </p:cNvCxnSpPr>
          <p:nvPr userDrawn="1"/>
        </p:nvCxnSpPr>
        <p:spPr>
          <a:xfrm>
            <a:off x="6995461" y="4847874"/>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EA21A10-890F-3FCF-DC8F-A34CB366675C}"/>
              </a:ext>
            </a:extLst>
          </p:cNvPr>
          <p:cNvCxnSpPr>
            <a:cxnSpLocks/>
          </p:cNvCxnSpPr>
          <p:nvPr userDrawn="1"/>
        </p:nvCxnSpPr>
        <p:spPr>
          <a:xfrm flipH="1">
            <a:off x="815975" y="4833843"/>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D7E16F2-17F0-54B1-2611-BEDD72A1F5FE}"/>
              </a:ext>
            </a:extLst>
          </p:cNvPr>
          <p:cNvCxnSpPr>
            <a:cxnSpLocks/>
          </p:cNvCxnSpPr>
          <p:nvPr/>
        </p:nvCxnSpPr>
        <p:spPr>
          <a:xfrm>
            <a:off x="6145778" y="4669719"/>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023B16CF-61F0-D78A-F639-95BAA8063806}"/>
              </a:ext>
            </a:extLst>
          </p:cNvPr>
          <p:cNvGrpSpPr/>
          <p:nvPr userDrawn="1"/>
        </p:nvGrpSpPr>
        <p:grpSpPr>
          <a:xfrm>
            <a:off x="4394472" y="1972899"/>
            <a:ext cx="3461961" cy="3376214"/>
            <a:chOff x="7157927" y="2080000"/>
            <a:chExt cx="2622286" cy="2557336"/>
          </a:xfrm>
        </p:grpSpPr>
        <p:sp>
          <p:nvSpPr>
            <p:cNvPr id="65" name="Freeform 64">
              <a:extLst>
                <a:ext uri="{FF2B5EF4-FFF2-40B4-BE49-F238E27FC236}">
                  <a16:creationId xmlns:a16="http://schemas.microsoft.com/office/drawing/2014/main" id="{2A6F1CD8-1BAA-C0BB-0829-2582D8585A1D}"/>
                </a:ext>
              </a:extLst>
            </p:cNvPr>
            <p:cNvSpPr/>
            <p:nvPr/>
          </p:nvSpPr>
          <p:spPr>
            <a:xfrm>
              <a:off x="8511808" y="2080000"/>
              <a:ext cx="975293" cy="967644"/>
            </a:xfrm>
            <a:custGeom>
              <a:avLst/>
              <a:gdLst>
                <a:gd name="connsiteX0" fmla="*/ 165074 w 546470"/>
                <a:gd name="connsiteY0" fmla="*/ 542185 h 542184"/>
                <a:gd name="connsiteX1" fmla="*/ 546470 w 546470"/>
                <a:gd name="connsiteY1" fmla="*/ 263225 h 542184"/>
                <a:gd name="connsiteX2" fmla="*/ 0 w 546470"/>
                <a:gd name="connsiteY2" fmla="*/ 0 h 542184"/>
                <a:gd name="connsiteX3" fmla="*/ 0 w 546470"/>
                <a:gd name="connsiteY3" fmla="*/ 462672 h 542184"/>
                <a:gd name="connsiteX4" fmla="*/ 165074 w 546470"/>
                <a:gd name="connsiteY4" fmla="*/ 542185 h 54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470" h="542184">
                  <a:moveTo>
                    <a:pt x="165074" y="542185"/>
                  </a:moveTo>
                  <a:lnTo>
                    <a:pt x="546470" y="263225"/>
                  </a:lnTo>
                  <a:lnTo>
                    <a:pt x="0" y="0"/>
                  </a:lnTo>
                  <a:lnTo>
                    <a:pt x="0" y="462672"/>
                  </a:lnTo>
                  <a:lnTo>
                    <a:pt x="165074" y="542185"/>
                  </a:lnTo>
                  <a:close/>
                </a:path>
              </a:pathLst>
            </a:custGeom>
            <a:solidFill>
              <a:schemeClr val="accent4"/>
            </a:solidFill>
            <a:ln w="6992"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103DEB1F-8001-599C-019E-55C2AD4646DC}"/>
                </a:ext>
              </a:extLst>
            </p:cNvPr>
            <p:cNvSpPr/>
            <p:nvPr/>
          </p:nvSpPr>
          <p:spPr>
            <a:xfrm>
              <a:off x="7177891" y="3520170"/>
              <a:ext cx="1050286" cy="1079472"/>
            </a:xfrm>
            <a:custGeom>
              <a:avLst/>
              <a:gdLst>
                <a:gd name="connsiteX0" fmla="*/ 475085 w 588490"/>
                <a:gd name="connsiteY0" fmla="*/ 0 h 604843"/>
                <a:gd name="connsiteX1" fmla="*/ 0 w 588490"/>
                <a:gd name="connsiteY1" fmla="*/ 131682 h 604843"/>
                <a:gd name="connsiteX2" fmla="*/ 377272 w 588490"/>
                <a:gd name="connsiteY2" fmla="*/ 604844 h 604843"/>
                <a:gd name="connsiteX3" fmla="*/ 588490 w 588490"/>
                <a:gd name="connsiteY3" fmla="*/ 142242 h 604843"/>
                <a:gd name="connsiteX4" fmla="*/ 475085 w 588490"/>
                <a:gd name="connsiteY4" fmla="*/ 0 h 604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8490" h="604843">
                  <a:moveTo>
                    <a:pt x="475085" y="0"/>
                  </a:moveTo>
                  <a:lnTo>
                    <a:pt x="0" y="131682"/>
                  </a:lnTo>
                  <a:lnTo>
                    <a:pt x="377272" y="604844"/>
                  </a:lnTo>
                  <a:lnTo>
                    <a:pt x="588490" y="142242"/>
                  </a:lnTo>
                  <a:lnTo>
                    <a:pt x="475085" y="0"/>
                  </a:lnTo>
                  <a:close/>
                </a:path>
              </a:pathLst>
            </a:custGeom>
            <a:solidFill>
              <a:schemeClr val="accent6"/>
            </a:solidFill>
            <a:ln w="6992" cap="flat">
              <a:noFill/>
              <a:prstDash val="solid"/>
              <a:miter/>
            </a:ln>
          </p:spPr>
          <p:txBody>
            <a:bodyPr rtlCol="0" anchor="ctr"/>
            <a:lstStyle/>
            <a:p>
              <a:endParaRPr lang="en-GB"/>
            </a:p>
          </p:txBody>
        </p:sp>
        <p:sp>
          <p:nvSpPr>
            <p:cNvPr id="67" name="Freeform 66">
              <a:extLst>
                <a:ext uri="{FF2B5EF4-FFF2-40B4-BE49-F238E27FC236}">
                  <a16:creationId xmlns:a16="http://schemas.microsoft.com/office/drawing/2014/main" id="{CA2D056E-E06A-F09E-2654-EBDD04533020}"/>
                </a:ext>
              </a:extLst>
            </p:cNvPr>
            <p:cNvSpPr/>
            <p:nvPr/>
          </p:nvSpPr>
          <p:spPr>
            <a:xfrm>
              <a:off x="7157927" y="2615680"/>
              <a:ext cx="920638" cy="1057131"/>
            </a:xfrm>
            <a:custGeom>
              <a:avLst/>
              <a:gdLst>
                <a:gd name="connsiteX0" fmla="*/ 515847 w 515846"/>
                <a:gd name="connsiteY0" fmla="*/ 278470 h 592325"/>
                <a:gd name="connsiteX1" fmla="*/ 135149 w 515846"/>
                <a:gd name="connsiteY1" fmla="*/ 0 h 592325"/>
                <a:gd name="connsiteX2" fmla="*/ 0 w 515846"/>
                <a:gd name="connsiteY2" fmla="*/ 592326 h 592325"/>
                <a:gd name="connsiteX3" fmla="*/ 474246 w 515846"/>
                <a:gd name="connsiteY3" fmla="*/ 460853 h 592325"/>
                <a:gd name="connsiteX4" fmla="*/ 515847 w 515846"/>
                <a:gd name="connsiteY4" fmla="*/ 278470 h 59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846" h="592325">
                  <a:moveTo>
                    <a:pt x="515847" y="278470"/>
                  </a:moveTo>
                  <a:lnTo>
                    <a:pt x="135149" y="0"/>
                  </a:lnTo>
                  <a:lnTo>
                    <a:pt x="0" y="592326"/>
                  </a:lnTo>
                  <a:lnTo>
                    <a:pt x="474246" y="460853"/>
                  </a:lnTo>
                  <a:lnTo>
                    <a:pt x="515847" y="278470"/>
                  </a:lnTo>
                  <a:close/>
                </a:path>
              </a:pathLst>
            </a:custGeom>
            <a:solidFill>
              <a:schemeClr val="tx2"/>
            </a:solidFill>
            <a:ln w="6992" cap="flat">
              <a:noFill/>
              <a:prstDash val="solid"/>
              <a:miter/>
            </a:ln>
          </p:spPr>
          <p:txBody>
            <a:bodyPr rtlCol="0" anchor="ctr"/>
            <a:lstStyle/>
            <a:p>
              <a:endParaRPr lang="en-GB"/>
            </a:p>
          </p:txBody>
        </p:sp>
        <p:sp>
          <p:nvSpPr>
            <p:cNvPr id="68" name="Freeform 67">
              <a:extLst>
                <a:ext uri="{FF2B5EF4-FFF2-40B4-BE49-F238E27FC236}">
                  <a16:creationId xmlns:a16="http://schemas.microsoft.com/office/drawing/2014/main" id="{641BC662-DB0C-1919-9B35-096EFCD28B43}"/>
                </a:ext>
              </a:extLst>
            </p:cNvPr>
            <p:cNvSpPr/>
            <p:nvPr/>
          </p:nvSpPr>
          <p:spPr>
            <a:xfrm>
              <a:off x="7452285" y="2080000"/>
              <a:ext cx="974793" cy="967394"/>
            </a:xfrm>
            <a:custGeom>
              <a:avLst/>
              <a:gdLst>
                <a:gd name="connsiteX0" fmla="*/ 546191 w 546190"/>
                <a:gd name="connsiteY0" fmla="*/ 462672 h 542044"/>
                <a:gd name="connsiteX1" fmla="*/ 546191 w 546190"/>
                <a:gd name="connsiteY1" fmla="*/ 0 h 542044"/>
                <a:gd name="connsiteX2" fmla="*/ 0 w 546190"/>
                <a:gd name="connsiteY2" fmla="*/ 263085 h 542044"/>
                <a:gd name="connsiteX3" fmla="*/ 381397 w 546190"/>
                <a:gd name="connsiteY3" fmla="*/ 542045 h 542044"/>
                <a:gd name="connsiteX4" fmla="*/ 546191 w 546190"/>
                <a:gd name="connsiteY4" fmla="*/ 462672 h 54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190" h="542044">
                  <a:moveTo>
                    <a:pt x="546191" y="462672"/>
                  </a:moveTo>
                  <a:lnTo>
                    <a:pt x="546191" y="0"/>
                  </a:lnTo>
                  <a:lnTo>
                    <a:pt x="0" y="263085"/>
                  </a:lnTo>
                  <a:lnTo>
                    <a:pt x="381397" y="542045"/>
                  </a:lnTo>
                  <a:lnTo>
                    <a:pt x="546191" y="462672"/>
                  </a:lnTo>
                  <a:close/>
                </a:path>
              </a:pathLst>
            </a:custGeom>
            <a:solidFill>
              <a:schemeClr val="accent1"/>
            </a:solidFill>
            <a:ln w="6992"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F1B945D9-01F1-AC30-D1A1-3221F669682F}"/>
                </a:ext>
              </a:extLst>
            </p:cNvPr>
            <p:cNvSpPr/>
            <p:nvPr/>
          </p:nvSpPr>
          <p:spPr>
            <a:xfrm>
              <a:off x="8712581" y="3517425"/>
              <a:ext cx="1050661" cy="1079847"/>
            </a:xfrm>
            <a:custGeom>
              <a:avLst/>
              <a:gdLst>
                <a:gd name="connsiteX0" fmla="*/ 113615 w 588700"/>
                <a:gd name="connsiteY0" fmla="*/ 0 h 605053"/>
                <a:gd name="connsiteX1" fmla="*/ 0 w 588700"/>
                <a:gd name="connsiteY1" fmla="*/ 142452 h 605053"/>
                <a:gd name="connsiteX2" fmla="*/ 211219 w 588700"/>
                <a:gd name="connsiteY2" fmla="*/ 605054 h 605053"/>
                <a:gd name="connsiteX3" fmla="*/ 588700 w 588700"/>
                <a:gd name="connsiteY3" fmla="*/ 131613 h 605053"/>
                <a:gd name="connsiteX4" fmla="*/ 113615 w 588700"/>
                <a:gd name="connsiteY4" fmla="*/ 0 h 605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8700" h="605053">
                  <a:moveTo>
                    <a:pt x="113615" y="0"/>
                  </a:moveTo>
                  <a:lnTo>
                    <a:pt x="0" y="142452"/>
                  </a:lnTo>
                  <a:lnTo>
                    <a:pt x="211219" y="605054"/>
                  </a:lnTo>
                  <a:lnTo>
                    <a:pt x="588700" y="131613"/>
                  </a:lnTo>
                  <a:lnTo>
                    <a:pt x="113615" y="0"/>
                  </a:lnTo>
                  <a:close/>
                </a:path>
              </a:pathLst>
            </a:custGeom>
            <a:solidFill>
              <a:srgbClr val="8BC385"/>
            </a:solidFill>
            <a:ln w="6992"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6EF56AF7-C74C-C98C-FAAD-DFB1DD79DB45}"/>
                </a:ext>
              </a:extLst>
            </p:cNvPr>
            <p:cNvSpPr/>
            <p:nvPr/>
          </p:nvSpPr>
          <p:spPr>
            <a:xfrm>
              <a:off x="8860448" y="2616178"/>
              <a:ext cx="919765" cy="1053014"/>
            </a:xfrm>
            <a:custGeom>
              <a:avLst/>
              <a:gdLst>
                <a:gd name="connsiteX0" fmla="*/ 41111 w 515357"/>
                <a:gd name="connsiteY0" fmla="*/ 458546 h 590018"/>
                <a:gd name="connsiteX1" fmla="*/ 515357 w 515357"/>
                <a:gd name="connsiteY1" fmla="*/ 590018 h 590018"/>
                <a:gd name="connsiteX2" fmla="*/ 380697 w 515357"/>
                <a:gd name="connsiteY2" fmla="*/ 0 h 590018"/>
                <a:gd name="connsiteX3" fmla="*/ 0 w 515357"/>
                <a:gd name="connsiteY3" fmla="*/ 278400 h 590018"/>
                <a:gd name="connsiteX4" fmla="*/ 41111 w 515357"/>
                <a:gd name="connsiteY4" fmla="*/ 458546 h 590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357" h="590018">
                  <a:moveTo>
                    <a:pt x="41111" y="458546"/>
                  </a:moveTo>
                  <a:lnTo>
                    <a:pt x="515357" y="590018"/>
                  </a:lnTo>
                  <a:lnTo>
                    <a:pt x="380697" y="0"/>
                  </a:lnTo>
                  <a:lnTo>
                    <a:pt x="0" y="278400"/>
                  </a:lnTo>
                  <a:lnTo>
                    <a:pt x="41111" y="458546"/>
                  </a:lnTo>
                  <a:close/>
                </a:path>
              </a:pathLst>
            </a:custGeom>
            <a:solidFill>
              <a:schemeClr val="bg2"/>
            </a:solidFill>
            <a:ln w="6992"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EF54BFB1-3031-43A3-42E8-1D448E2DD656}"/>
                </a:ext>
              </a:extLst>
            </p:cNvPr>
            <p:cNvSpPr/>
            <p:nvPr/>
          </p:nvSpPr>
          <p:spPr>
            <a:xfrm>
              <a:off x="7927205" y="3811600"/>
              <a:ext cx="1087471" cy="825736"/>
            </a:xfrm>
            <a:custGeom>
              <a:avLst/>
              <a:gdLst>
                <a:gd name="connsiteX0" fmla="*/ 211219 w 609325"/>
                <a:gd name="connsiteY0" fmla="*/ 0 h 462671"/>
                <a:gd name="connsiteX1" fmla="*/ 0 w 609325"/>
                <a:gd name="connsiteY1" fmla="*/ 462672 h 462671"/>
                <a:gd name="connsiteX2" fmla="*/ 609326 w 609325"/>
                <a:gd name="connsiteY2" fmla="*/ 462672 h 462671"/>
                <a:gd name="connsiteX3" fmla="*/ 398037 w 609325"/>
                <a:gd name="connsiteY3" fmla="*/ 0 h 462671"/>
                <a:gd name="connsiteX4" fmla="*/ 211219 w 609325"/>
                <a:gd name="connsiteY4" fmla="*/ 0 h 462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25" h="462671">
                  <a:moveTo>
                    <a:pt x="211219" y="0"/>
                  </a:moveTo>
                  <a:lnTo>
                    <a:pt x="0" y="462672"/>
                  </a:lnTo>
                  <a:lnTo>
                    <a:pt x="609326" y="462672"/>
                  </a:lnTo>
                  <a:lnTo>
                    <a:pt x="398037" y="0"/>
                  </a:lnTo>
                  <a:lnTo>
                    <a:pt x="211219" y="0"/>
                  </a:lnTo>
                  <a:close/>
                </a:path>
              </a:pathLst>
            </a:custGeom>
            <a:solidFill>
              <a:schemeClr val="accent5"/>
            </a:solidFill>
            <a:ln w="6992" cap="flat">
              <a:noFill/>
              <a:prstDash val="solid"/>
              <a:miter/>
            </a:ln>
          </p:spPr>
          <p:txBody>
            <a:bodyPr rtlCol="0" anchor="ctr"/>
            <a:lstStyle/>
            <a:p>
              <a:endParaRPr lang="en-GB"/>
            </a:p>
          </p:txBody>
        </p:sp>
      </p:grpSp>
      <p:sp>
        <p:nvSpPr>
          <p:cNvPr id="72" name="Text Placeholder 49">
            <a:extLst>
              <a:ext uri="{FF2B5EF4-FFF2-40B4-BE49-F238E27FC236}">
                <a16:creationId xmlns:a16="http://schemas.microsoft.com/office/drawing/2014/main" id="{B56DD148-99E1-467F-C77E-EEA17B1C3287}"/>
              </a:ext>
            </a:extLst>
          </p:cNvPr>
          <p:cNvSpPr>
            <a:spLocks noGrp="1"/>
          </p:cNvSpPr>
          <p:nvPr>
            <p:ph type="body" sz="quarter" idx="30" hasCustomPrompt="1"/>
          </p:nvPr>
        </p:nvSpPr>
        <p:spPr>
          <a:xfrm>
            <a:off x="7542481" y="4845000"/>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73" name="Text Placeholder 49">
            <a:extLst>
              <a:ext uri="{FF2B5EF4-FFF2-40B4-BE49-F238E27FC236}">
                <a16:creationId xmlns:a16="http://schemas.microsoft.com/office/drawing/2014/main" id="{59902B88-01F1-152A-1CD0-AA1CA568D140}"/>
              </a:ext>
            </a:extLst>
          </p:cNvPr>
          <p:cNvSpPr>
            <a:spLocks noGrp="1"/>
          </p:cNvSpPr>
          <p:nvPr>
            <p:ph type="body" sz="quarter" idx="31" hasCustomPrompt="1"/>
          </p:nvPr>
        </p:nvSpPr>
        <p:spPr>
          <a:xfrm>
            <a:off x="7562221" y="4556151"/>
            <a:ext cx="3700114" cy="282497"/>
          </a:xfrm>
        </p:spPr>
        <p:txBody>
          <a:bodyPr>
            <a:normAutofit/>
          </a:bodyPr>
          <a:lstStyle>
            <a:lvl1pPr algn="r">
              <a:defRPr sz="1400" b="1">
                <a:solidFill>
                  <a:schemeClr val="tx1"/>
                </a:solidFill>
              </a:defRPr>
            </a:lvl1pPr>
          </a:lstStyle>
          <a:p>
            <a:pPr lvl="0"/>
            <a:r>
              <a:rPr lang="en-US"/>
              <a:t>Lorem ipsum dolor</a:t>
            </a:r>
          </a:p>
        </p:txBody>
      </p:sp>
      <p:sp>
        <p:nvSpPr>
          <p:cNvPr id="74" name="Text Placeholder 49">
            <a:extLst>
              <a:ext uri="{FF2B5EF4-FFF2-40B4-BE49-F238E27FC236}">
                <a16:creationId xmlns:a16="http://schemas.microsoft.com/office/drawing/2014/main" id="{9AC0D4CD-DC15-36FD-426B-64A1D4390A50}"/>
              </a:ext>
            </a:extLst>
          </p:cNvPr>
          <p:cNvSpPr>
            <a:spLocks noGrp="1"/>
          </p:cNvSpPr>
          <p:nvPr>
            <p:ph type="body" sz="quarter" idx="32" hasCustomPrompt="1"/>
          </p:nvPr>
        </p:nvSpPr>
        <p:spPr>
          <a:xfrm>
            <a:off x="7542481" y="3541477"/>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75" name="Text Placeholder 49">
            <a:extLst>
              <a:ext uri="{FF2B5EF4-FFF2-40B4-BE49-F238E27FC236}">
                <a16:creationId xmlns:a16="http://schemas.microsoft.com/office/drawing/2014/main" id="{00A419F7-05DB-2DD8-8F15-98D50D5AD7A7}"/>
              </a:ext>
            </a:extLst>
          </p:cNvPr>
          <p:cNvSpPr>
            <a:spLocks noGrp="1"/>
          </p:cNvSpPr>
          <p:nvPr>
            <p:ph type="body" sz="quarter" idx="33" hasCustomPrompt="1"/>
          </p:nvPr>
        </p:nvSpPr>
        <p:spPr>
          <a:xfrm>
            <a:off x="7562221" y="3252628"/>
            <a:ext cx="3700114" cy="282497"/>
          </a:xfrm>
        </p:spPr>
        <p:txBody>
          <a:bodyPr>
            <a:normAutofit/>
          </a:bodyPr>
          <a:lstStyle>
            <a:lvl1pPr algn="r">
              <a:defRPr sz="1400" b="1">
                <a:solidFill>
                  <a:schemeClr val="tx1"/>
                </a:solidFill>
              </a:defRPr>
            </a:lvl1pPr>
          </a:lstStyle>
          <a:p>
            <a:pPr lvl="0"/>
            <a:r>
              <a:rPr lang="en-US"/>
              <a:t>Lorem ipsum dolor</a:t>
            </a:r>
          </a:p>
        </p:txBody>
      </p:sp>
      <p:sp>
        <p:nvSpPr>
          <p:cNvPr id="76" name="Text Placeholder 49">
            <a:extLst>
              <a:ext uri="{FF2B5EF4-FFF2-40B4-BE49-F238E27FC236}">
                <a16:creationId xmlns:a16="http://schemas.microsoft.com/office/drawing/2014/main" id="{7B211A0F-F9AE-A248-6CB4-A7C51BFF9991}"/>
              </a:ext>
            </a:extLst>
          </p:cNvPr>
          <p:cNvSpPr>
            <a:spLocks noGrp="1"/>
          </p:cNvSpPr>
          <p:nvPr>
            <p:ph type="body" sz="quarter" idx="34" hasCustomPrompt="1"/>
          </p:nvPr>
        </p:nvSpPr>
        <p:spPr>
          <a:xfrm>
            <a:off x="7538998" y="2405213"/>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77" name="Text Placeholder 49">
            <a:extLst>
              <a:ext uri="{FF2B5EF4-FFF2-40B4-BE49-F238E27FC236}">
                <a16:creationId xmlns:a16="http://schemas.microsoft.com/office/drawing/2014/main" id="{37D351D6-42A8-8A15-0894-CE3521428D4E}"/>
              </a:ext>
            </a:extLst>
          </p:cNvPr>
          <p:cNvSpPr>
            <a:spLocks noGrp="1"/>
          </p:cNvSpPr>
          <p:nvPr>
            <p:ph type="body" sz="quarter" idx="35" hasCustomPrompt="1"/>
          </p:nvPr>
        </p:nvSpPr>
        <p:spPr>
          <a:xfrm>
            <a:off x="7558738" y="2116364"/>
            <a:ext cx="3700114" cy="282497"/>
          </a:xfrm>
        </p:spPr>
        <p:txBody>
          <a:bodyPr>
            <a:normAutofit/>
          </a:bodyPr>
          <a:lstStyle>
            <a:lvl1pPr algn="r">
              <a:defRPr sz="1400" b="1">
                <a:solidFill>
                  <a:schemeClr val="tx1"/>
                </a:solidFill>
              </a:defRPr>
            </a:lvl1pPr>
          </a:lstStyle>
          <a:p>
            <a:pPr lvl="0"/>
            <a:r>
              <a:rPr lang="en-US"/>
              <a:t>Lorem ipsum dolor</a:t>
            </a:r>
          </a:p>
        </p:txBody>
      </p:sp>
      <p:sp>
        <p:nvSpPr>
          <p:cNvPr id="78" name="Text Placeholder 49">
            <a:extLst>
              <a:ext uri="{FF2B5EF4-FFF2-40B4-BE49-F238E27FC236}">
                <a16:creationId xmlns:a16="http://schemas.microsoft.com/office/drawing/2014/main" id="{37B19D1B-135F-C4F5-A6F0-9477254395A8}"/>
              </a:ext>
            </a:extLst>
          </p:cNvPr>
          <p:cNvSpPr>
            <a:spLocks noGrp="1"/>
          </p:cNvSpPr>
          <p:nvPr>
            <p:ph type="body" sz="quarter" idx="36" hasCustomPrompt="1"/>
          </p:nvPr>
        </p:nvSpPr>
        <p:spPr>
          <a:xfrm>
            <a:off x="953325" y="4845000"/>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79" name="Text Placeholder 49">
            <a:extLst>
              <a:ext uri="{FF2B5EF4-FFF2-40B4-BE49-F238E27FC236}">
                <a16:creationId xmlns:a16="http://schemas.microsoft.com/office/drawing/2014/main" id="{B7D1C3AC-9FDF-0CDD-38C8-3D79C321727A}"/>
              </a:ext>
            </a:extLst>
          </p:cNvPr>
          <p:cNvSpPr>
            <a:spLocks noGrp="1"/>
          </p:cNvSpPr>
          <p:nvPr>
            <p:ph type="body" sz="quarter" idx="37" hasCustomPrompt="1"/>
          </p:nvPr>
        </p:nvSpPr>
        <p:spPr>
          <a:xfrm>
            <a:off x="973065" y="4556151"/>
            <a:ext cx="3700114" cy="282497"/>
          </a:xfrm>
        </p:spPr>
        <p:txBody>
          <a:bodyPr>
            <a:normAutofit/>
          </a:bodyPr>
          <a:lstStyle>
            <a:lvl1pPr algn="l">
              <a:defRPr sz="1400" b="1">
                <a:solidFill>
                  <a:schemeClr val="tx1"/>
                </a:solidFill>
              </a:defRPr>
            </a:lvl1pPr>
          </a:lstStyle>
          <a:p>
            <a:pPr lvl="0"/>
            <a:r>
              <a:rPr lang="en-US"/>
              <a:t>Lorem ipsum dolor</a:t>
            </a:r>
          </a:p>
        </p:txBody>
      </p:sp>
      <p:sp>
        <p:nvSpPr>
          <p:cNvPr id="80" name="Text Placeholder 49">
            <a:extLst>
              <a:ext uri="{FF2B5EF4-FFF2-40B4-BE49-F238E27FC236}">
                <a16:creationId xmlns:a16="http://schemas.microsoft.com/office/drawing/2014/main" id="{9C673682-1090-2897-5941-F0D8D0955357}"/>
              </a:ext>
            </a:extLst>
          </p:cNvPr>
          <p:cNvSpPr>
            <a:spLocks noGrp="1"/>
          </p:cNvSpPr>
          <p:nvPr>
            <p:ph type="body" sz="quarter" idx="38" hasCustomPrompt="1"/>
          </p:nvPr>
        </p:nvSpPr>
        <p:spPr>
          <a:xfrm>
            <a:off x="953325" y="3541477"/>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1" name="Text Placeholder 49">
            <a:extLst>
              <a:ext uri="{FF2B5EF4-FFF2-40B4-BE49-F238E27FC236}">
                <a16:creationId xmlns:a16="http://schemas.microsoft.com/office/drawing/2014/main" id="{12985641-DB2A-61A3-3323-D6122EB9E719}"/>
              </a:ext>
            </a:extLst>
          </p:cNvPr>
          <p:cNvSpPr>
            <a:spLocks noGrp="1"/>
          </p:cNvSpPr>
          <p:nvPr>
            <p:ph type="body" sz="quarter" idx="39" hasCustomPrompt="1"/>
          </p:nvPr>
        </p:nvSpPr>
        <p:spPr>
          <a:xfrm>
            <a:off x="973065" y="3252628"/>
            <a:ext cx="3700114" cy="282497"/>
          </a:xfrm>
        </p:spPr>
        <p:txBody>
          <a:bodyPr>
            <a:normAutofit/>
          </a:bodyPr>
          <a:lstStyle>
            <a:lvl1pPr algn="l">
              <a:defRPr sz="1400" b="1">
                <a:solidFill>
                  <a:schemeClr val="tx1"/>
                </a:solidFill>
              </a:defRPr>
            </a:lvl1pPr>
          </a:lstStyle>
          <a:p>
            <a:pPr lvl="0"/>
            <a:r>
              <a:rPr lang="en-US"/>
              <a:t>Lorem ipsum dolor</a:t>
            </a:r>
          </a:p>
        </p:txBody>
      </p:sp>
      <p:sp>
        <p:nvSpPr>
          <p:cNvPr id="82" name="Text Placeholder 49">
            <a:extLst>
              <a:ext uri="{FF2B5EF4-FFF2-40B4-BE49-F238E27FC236}">
                <a16:creationId xmlns:a16="http://schemas.microsoft.com/office/drawing/2014/main" id="{A018B9EC-EEF4-C6B3-A1BE-779C51459651}"/>
              </a:ext>
            </a:extLst>
          </p:cNvPr>
          <p:cNvSpPr>
            <a:spLocks noGrp="1"/>
          </p:cNvSpPr>
          <p:nvPr>
            <p:ph type="body" sz="quarter" idx="40" hasCustomPrompt="1"/>
          </p:nvPr>
        </p:nvSpPr>
        <p:spPr>
          <a:xfrm>
            <a:off x="949842" y="2405213"/>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3" name="Text Placeholder 49">
            <a:extLst>
              <a:ext uri="{FF2B5EF4-FFF2-40B4-BE49-F238E27FC236}">
                <a16:creationId xmlns:a16="http://schemas.microsoft.com/office/drawing/2014/main" id="{51737313-F4C3-F70A-523B-3D59DDC8D1AF}"/>
              </a:ext>
            </a:extLst>
          </p:cNvPr>
          <p:cNvSpPr>
            <a:spLocks noGrp="1"/>
          </p:cNvSpPr>
          <p:nvPr>
            <p:ph type="body" sz="quarter" idx="41" hasCustomPrompt="1"/>
          </p:nvPr>
        </p:nvSpPr>
        <p:spPr>
          <a:xfrm>
            <a:off x="969582" y="2116364"/>
            <a:ext cx="3700114" cy="282497"/>
          </a:xfrm>
        </p:spPr>
        <p:txBody>
          <a:bodyPr>
            <a:normAutofit/>
          </a:bodyPr>
          <a:lstStyle>
            <a:lvl1pPr algn="l">
              <a:defRPr sz="1400" b="1">
                <a:solidFill>
                  <a:schemeClr val="tx1"/>
                </a:solidFill>
              </a:defRPr>
            </a:lvl1pPr>
          </a:lstStyle>
          <a:p>
            <a:pPr lvl="0"/>
            <a:r>
              <a:rPr lang="en-US"/>
              <a:t>Lorem ipsum dolor</a:t>
            </a:r>
          </a:p>
        </p:txBody>
      </p:sp>
      <p:sp>
        <p:nvSpPr>
          <p:cNvPr id="84" name="Text Placeholder 49">
            <a:extLst>
              <a:ext uri="{FF2B5EF4-FFF2-40B4-BE49-F238E27FC236}">
                <a16:creationId xmlns:a16="http://schemas.microsoft.com/office/drawing/2014/main" id="{E2814225-0143-C5C2-84E6-4BAF0504B5CB}"/>
              </a:ext>
            </a:extLst>
          </p:cNvPr>
          <p:cNvSpPr>
            <a:spLocks noGrp="1"/>
          </p:cNvSpPr>
          <p:nvPr>
            <p:ph type="body" sz="quarter" idx="42" hasCustomPrompt="1"/>
          </p:nvPr>
        </p:nvSpPr>
        <p:spPr>
          <a:xfrm>
            <a:off x="4320207" y="6129950"/>
            <a:ext cx="3723337"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5" name="Text Placeholder 49">
            <a:extLst>
              <a:ext uri="{FF2B5EF4-FFF2-40B4-BE49-F238E27FC236}">
                <a16:creationId xmlns:a16="http://schemas.microsoft.com/office/drawing/2014/main" id="{D671E37F-8E9D-BFBF-3B42-164829C2658E}"/>
              </a:ext>
            </a:extLst>
          </p:cNvPr>
          <p:cNvSpPr>
            <a:spLocks noGrp="1"/>
          </p:cNvSpPr>
          <p:nvPr>
            <p:ph type="body" sz="quarter" idx="43" hasCustomPrompt="1"/>
          </p:nvPr>
        </p:nvSpPr>
        <p:spPr>
          <a:xfrm>
            <a:off x="4339947" y="5841101"/>
            <a:ext cx="3700114" cy="282497"/>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19347599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Eight point octo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Eight points - </a:t>
            </a:r>
            <a:r>
              <a:rPr lang="en-US" err="1"/>
              <a:t>octo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2" name="Group 31">
            <a:extLst>
              <a:ext uri="{FF2B5EF4-FFF2-40B4-BE49-F238E27FC236}">
                <a16:creationId xmlns:a16="http://schemas.microsoft.com/office/drawing/2014/main" id="{2C7C0640-FD08-BAA0-0238-ECB4401CB7B8}"/>
              </a:ext>
            </a:extLst>
          </p:cNvPr>
          <p:cNvGrpSpPr/>
          <p:nvPr userDrawn="1"/>
        </p:nvGrpSpPr>
        <p:grpSpPr>
          <a:xfrm>
            <a:off x="815975" y="2173623"/>
            <a:ext cx="10620375" cy="3656890"/>
            <a:chOff x="815975" y="1685350"/>
            <a:chExt cx="10620375" cy="3656890"/>
          </a:xfrm>
        </p:grpSpPr>
        <p:cxnSp>
          <p:nvCxnSpPr>
            <p:cNvPr id="79" name="Straight Connector 78">
              <a:extLst>
                <a:ext uri="{FF2B5EF4-FFF2-40B4-BE49-F238E27FC236}">
                  <a16:creationId xmlns:a16="http://schemas.microsoft.com/office/drawing/2014/main" id="{74F885BC-07E2-7E2D-0D3E-D9ABCAD6AD4F}"/>
                </a:ext>
              </a:extLst>
            </p:cNvPr>
            <p:cNvCxnSpPr>
              <a:cxnSpLocks/>
            </p:cNvCxnSpPr>
            <p:nvPr/>
          </p:nvCxnSpPr>
          <p:spPr>
            <a:xfrm flipV="1">
              <a:off x="6108285" y="1685350"/>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D831F97C-0251-B25D-EC1A-9FF05B9CE38F}"/>
                </a:ext>
              </a:extLst>
            </p:cNvPr>
            <p:cNvGrpSpPr/>
            <p:nvPr/>
          </p:nvGrpSpPr>
          <p:grpSpPr>
            <a:xfrm>
              <a:off x="815975" y="2386279"/>
              <a:ext cx="10620375" cy="2477720"/>
              <a:chOff x="815975" y="2386279"/>
              <a:chExt cx="10620375" cy="2477720"/>
            </a:xfrm>
          </p:grpSpPr>
          <p:cxnSp>
            <p:nvCxnSpPr>
              <p:cNvPr id="48" name="Straight Connector 47">
                <a:extLst>
                  <a:ext uri="{FF2B5EF4-FFF2-40B4-BE49-F238E27FC236}">
                    <a16:creationId xmlns:a16="http://schemas.microsoft.com/office/drawing/2014/main" id="{0A742BB4-4CF6-E2D3-AEF2-87D19004C559}"/>
                  </a:ext>
                </a:extLst>
              </p:cNvPr>
              <p:cNvCxnSpPr>
                <a:cxnSpLocks/>
              </p:cNvCxnSpPr>
              <p:nvPr/>
            </p:nvCxnSpPr>
            <p:spPr>
              <a:xfrm>
                <a:off x="6995461" y="3562584"/>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73F8AB8-34F2-CFC0-1A39-46137EFCFF90}"/>
                  </a:ext>
                </a:extLst>
              </p:cNvPr>
              <p:cNvCxnSpPr>
                <a:cxnSpLocks/>
              </p:cNvCxnSpPr>
              <p:nvPr/>
            </p:nvCxnSpPr>
            <p:spPr>
              <a:xfrm flipH="1">
                <a:off x="815975" y="3548553"/>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53EBAF6-F49F-156D-A9DF-83D1B607F3BE}"/>
                  </a:ext>
                </a:extLst>
              </p:cNvPr>
              <p:cNvCxnSpPr>
                <a:cxnSpLocks/>
              </p:cNvCxnSpPr>
              <p:nvPr/>
            </p:nvCxnSpPr>
            <p:spPr>
              <a:xfrm>
                <a:off x="6995461" y="240031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04B8745-F3D1-4C9F-E273-5CA070BE71C4}"/>
                  </a:ext>
                </a:extLst>
              </p:cNvPr>
              <p:cNvCxnSpPr>
                <a:cxnSpLocks/>
              </p:cNvCxnSpPr>
              <p:nvPr/>
            </p:nvCxnSpPr>
            <p:spPr>
              <a:xfrm flipH="1">
                <a:off x="815975" y="238627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5A44EB6-47BD-09E4-2B4C-95106C242093}"/>
                  </a:ext>
                </a:extLst>
              </p:cNvPr>
              <p:cNvCxnSpPr>
                <a:cxnSpLocks/>
              </p:cNvCxnSpPr>
              <p:nvPr/>
            </p:nvCxnSpPr>
            <p:spPr>
              <a:xfrm>
                <a:off x="6995461" y="486399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74B9C96-7D3D-7545-E658-ACA76A49C4D7}"/>
                  </a:ext>
                </a:extLst>
              </p:cNvPr>
              <p:cNvCxnSpPr>
                <a:cxnSpLocks/>
              </p:cNvCxnSpPr>
              <p:nvPr/>
            </p:nvCxnSpPr>
            <p:spPr>
              <a:xfrm flipH="1">
                <a:off x="815975" y="484996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cxnSp>
          <p:nvCxnSpPr>
            <p:cNvPr id="45" name="Straight Connector 44">
              <a:extLst>
                <a:ext uri="{FF2B5EF4-FFF2-40B4-BE49-F238E27FC236}">
                  <a16:creationId xmlns:a16="http://schemas.microsoft.com/office/drawing/2014/main" id="{D6D81F84-ED62-C783-A6D9-31792C6A1473}"/>
                </a:ext>
              </a:extLst>
            </p:cNvPr>
            <p:cNvCxnSpPr>
              <a:cxnSpLocks/>
            </p:cNvCxnSpPr>
            <p:nvPr/>
          </p:nvCxnSpPr>
          <p:spPr>
            <a:xfrm>
              <a:off x="6085210" y="4246850"/>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36" name="Content Placeholder 7">
              <a:extLst>
                <a:ext uri="{FF2B5EF4-FFF2-40B4-BE49-F238E27FC236}">
                  <a16:creationId xmlns:a16="http://schemas.microsoft.com/office/drawing/2014/main" id="{DC6C5EA2-1AF2-3EAE-579D-32B2CDFD234D}"/>
                </a:ext>
              </a:extLst>
            </p:cNvPr>
            <p:cNvGrpSpPr/>
            <p:nvPr/>
          </p:nvGrpSpPr>
          <p:grpSpPr>
            <a:xfrm>
              <a:off x="4437958" y="1861432"/>
              <a:ext cx="3316083" cy="3316811"/>
              <a:chOff x="2745890" y="3360439"/>
              <a:chExt cx="1421969" cy="1422281"/>
            </a:xfrm>
            <a:solidFill>
              <a:schemeClr val="bg2"/>
            </a:solidFill>
          </p:grpSpPr>
          <p:sp>
            <p:nvSpPr>
              <p:cNvPr id="37" name="Freeform 36">
                <a:extLst>
                  <a:ext uri="{FF2B5EF4-FFF2-40B4-BE49-F238E27FC236}">
                    <a16:creationId xmlns:a16="http://schemas.microsoft.com/office/drawing/2014/main" id="{D1713B52-DAAE-196E-EE62-44190D6C9FE1}"/>
                  </a:ext>
                </a:extLst>
              </p:cNvPr>
              <p:cNvSpPr/>
              <p:nvPr/>
            </p:nvSpPr>
            <p:spPr>
              <a:xfrm>
                <a:off x="2763440" y="3377992"/>
                <a:ext cx="562621" cy="562674"/>
              </a:xfrm>
              <a:custGeom>
                <a:avLst/>
                <a:gdLst>
                  <a:gd name="connsiteX0" fmla="*/ 562621 w 562621"/>
                  <a:gd name="connsiteY0" fmla="*/ 437566 h 562674"/>
                  <a:gd name="connsiteX1" fmla="*/ 381397 w 562621"/>
                  <a:gd name="connsiteY1" fmla="*/ 0 h 562674"/>
                  <a:gd name="connsiteX2" fmla="*/ 0 w 562621"/>
                  <a:gd name="connsiteY2" fmla="*/ 381480 h 562674"/>
                  <a:gd name="connsiteX3" fmla="*/ 437470 w 562621"/>
                  <a:gd name="connsiteY3" fmla="*/ 562675 h 562674"/>
                  <a:gd name="connsiteX4" fmla="*/ 562621 w 562621"/>
                  <a:gd name="connsiteY4" fmla="*/ 437566 h 562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21" h="562674">
                    <a:moveTo>
                      <a:pt x="562621" y="437566"/>
                    </a:moveTo>
                    <a:lnTo>
                      <a:pt x="381397" y="0"/>
                    </a:lnTo>
                    <a:lnTo>
                      <a:pt x="0" y="381480"/>
                    </a:lnTo>
                    <a:lnTo>
                      <a:pt x="437470" y="562675"/>
                    </a:lnTo>
                    <a:lnTo>
                      <a:pt x="562621" y="437566"/>
                    </a:lnTo>
                    <a:close/>
                  </a:path>
                </a:pathLst>
              </a:custGeom>
              <a:solidFill>
                <a:schemeClr val="accent6"/>
              </a:solidFill>
              <a:ln w="6992"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9CDD3511-5C13-FBCD-7178-771AEA793173}"/>
                  </a:ext>
                </a:extLst>
              </p:cNvPr>
              <p:cNvSpPr/>
              <p:nvPr/>
            </p:nvSpPr>
            <p:spPr>
              <a:xfrm>
                <a:off x="3730390" y="3801851"/>
                <a:ext cx="437470" cy="539457"/>
              </a:xfrm>
              <a:custGeom>
                <a:avLst/>
                <a:gdLst>
                  <a:gd name="connsiteX0" fmla="*/ 0 w 437470"/>
                  <a:gd name="connsiteY0" fmla="*/ 358193 h 539457"/>
                  <a:gd name="connsiteX1" fmla="*/ 437470 w 437470"/>
                  <a:gd name="connsiteY1" fmla="*/ 539457 h 539457"/>
                  <a:gd name="connsiteX2" fmla="*/ 437470 w 437470"/>
                  <a:gd name="connsiteY2" fmla="*/ 0 h 539457"/>
                  <a:gd name="connsiteX3" fmla="*/ 0 w 437470"/>
                  <a:gd name="connsiteY3" fmla="*/ 181194 h 539457"/>
                  <a:gd name="connsiteX4" fmla="*/ 0 w 437470"/>
                  <a:gd name="connsiteY4" fmla="*/ 358193 h 539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470" h="539457">
                    <a:moveTo>
                      <a:pt x="0" y="358193"/>
                    </a:moveTo>
                    <a:lnTo>
                      <a:pt x="437470" y="539457"/>
                    </a:lnTo>
                    <a:lnTo>
                      <a:pt x="437470" y="0"/>
                    </a:lnTo>
                    <a:lnTo>
                      <a:pt x="0" y="181194"/>
                    </a:lnTo>
                    <a:lnTo>
                      <a:pt x="0" y="358193"/>
                    </a:lnTo>
                    <a:close/>
                  </a:path>
                </a:pathLst>
              </a:custGeom>
              <a:solidFill>
                <a:schemeClr val="accent5"/>
              </a:solidFill>
              <a:ln w="6992"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FB2802A2-7940-DD5D-FCAA-CFCFABCDEE5C}"/>
                  </a:ext>
                </a:extLst>
              </p:cNvPr>
              <p:cNvSpPr/>
              <p:nvPr/>
            </p:nvSpPr>
            <p:spPr>
              <a:xfrm>
                <a:off x="3187206" y="3360439"/>
                <a:ext cx="539338" cy="437565"/>
              </a:xfrm>
              <a:custGeom>
                <a:avLst/>
                <a:gdLst>
                  <a:gd name="connsiteX0" fmla="*/ 358114 w 539338"/>
                  <a:gd name="connsiteY0" fmla="*/ 437566 h 437565"/>
                  <a:gd name="connsiteX1" fmla="*/ 539339 w 539338"/>
                  <a:gd name="connsiteY1" fmla="*/ 0 h 437565"/>
                  <a:gd name="connsiteX2" fmla="*/ 0 w 539338"/>
                  <a:gd name="connsiteY2" fmla="*/ 0 h 437565"/>
                  <a:gd name="connsiteX3" fmla="*/ 181225 w 539338"/>
                  <a:gd name="connsiteY3" fmla="*/ 437566 h 437565"/>
                  <a:gd name="connsiteX4" fmla="*/ 358114 w 539338"/>
                  <a:gd name="connsiteY4" fmla="*/ 437566 h 437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338" h="437565">
                    <a:moveTo>
                      <a:pt x="358114" y="437566"/>
                    </a:moveTo>
                    <a:lnTo>
                      <a:pt x="539339" y="0"/>
                    </a:lnTo>
                    <a:lnTo>
                      <a:pt x="0" y="0"/>
                    </a:lnTo>
                    <a:lnTo>
                      <a:pt x="181225" y="437566"/>
                    </a:lnTo>
                    <a:lnTo>
                      <a:pt x="358114" y="437566"/>
                    </a:lnTo>
                    <a:close/>
                  </a:path>
                </a:pathLst>
              </a:custGeom>
              <a:solidFill>
                <a:schemeClr val="tx2"/>
              </a:solidFill>
              <a:ln w="6992"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8C8B093A-A94C-271D-AAD1-16E576842D80}"/>
                  </a:ext>
                </a:extLst>
              </p:cNvPr>
              <p:cNvSpPr/>
              <p:nvPr/>
            </p:nvSpPr>
            <p:spPr>
              <a:xfrm>
                <a:off x="3587760" y="3377992"/>
                <a:ext cx="562551" cy="562674"/>
              </a:xfrm>
              <a:custGeom>
                <a:avLst/>
                <a:gdLst>
                  <a:gd name="connsiteX0" fmla="*/ 125081 w 562551"/>
                  <a:gd name="connsiteY0" fmla="*/ 562675 h 562674"/>
                  <a:gd name="connsiteX1" fmla="*/ 562551 w 562551"/>
                  <a:gd name="connsiteY1" fmla="*/ 381480 h 562674"/>
                  <a:gd name="connsiteX2" fmla="*/ 181155 w 562551"/>
                  <a:gd name="connsiteY2" fmla="*/ 0 h 562674"/>
                  <a:gd name="connsiteX3" fmla="*/ 0 w 562551"/>
                  <a:gd name="connsiteY3" fmla="*/ 437566 h 562674"/>
                  <a:gd name="connsiteX4" fmla="*/ 125081 w 562551"/>
                  <a:gd name="connsiteY4" fmla="*/ 562675 h 562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51" h="562674">
                    <a:moveTo>
                      <a:pt x="125081" y="562675"/>
                    </a:moveTo>
                    <a:lnTo>
                      <a:pt x="562551" y="381480"/>
                    </a:lnTo>
                    <a:lnTo>
                      <a:pt x="181155" y="0"/>
                    </a:lnTo>
                    <a:lnTo>
                      <a:pt x="0" y="437566"/>
                    </a:lnTo>
                    <a:lnTo>
                      <a:pt x="125081" y="562675"/>
                    </a:lnTo>
                    <a:close/>
                  </a:path>
                </a:pathLst>
              </a:custGeom>
              <a:solidFill>
                <a:srgbClr val="66C3EB"/>
              </a:solidFill>
              <a:ln w="6992"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1560EC26-B6D0-E076-276C-17681272E948}"/>
                  </a:ext>
                </a:extLst>
              </p:cNvPr>
              <p:cNvSpPr/>
              <p:nvPr/>
            </p:nvSpPr>
            <p:spPr>
              <a:xfrm>
                <a:off x="2745890" y="3801851"/>
                <a:ext cx="437470" cy="539457"/>
              </a:xfrm>
              <a:custGeom>
                <a:avLst/>
                <a:gdLst>
                  <a:gd name="connsiteX0" fmla="*/ 437470 w 437470"/>
                  <a:gd name="connsiteY0" fmla="*/ 181194 h 539457"/>
                  <a:gd name="connsiteX1" fmla="*/ 0 w 437470"/>
                  <a:gd name="connsiteY1" fmla="*/ 0 h 539457"/>
                  <a:gd name="connsiteX2" fmla="*/ 0 w 437470"/>
                  <a:gd name="connsiteY2" fmla="*/ 539457 h 539457"/>
                  <a:gd name="connsiteX3" fmla="*/ 437470 w 437470"/>
                  <a:gd name="connsiteY3" fmla="*/ 358193 h 539457"/>
                  <a:gd name="connsiteX4" fmla="*/ 437470 w 437470"/>
                  <a:gd name="connsiteY4" fmla="*/ 181194 h 539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470" h="539457">
                    <a:moveTo>
                      <a:pt x="437470" y="181194"/>
                    </a:moveTo>
                    <a:lnTo>
                      <a:pt x="0" y="0"/>
                    </a:lnTo>
                    <a:lnTo>
                      <a:pt x="0" y="539457"/>
                    </a:lnTo>
                    <a:lnTo>
                      <a:pt x="437470" y="358193"/>
                    </a:lnTo>
                    <a:lnTo>
                      <a:pt x="437470" y="181194"/>
                    </a:lnTo>
                    <a:close/>
                  </a:path>
                </a:pathLst>
              </a:custGeom>
              <a:solidFill>
                <a:schemeClr val="accent4"/>
              </a:solidFill>
              <a:ln w="6992"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0CBAD68E-3DBC-0DAD-B7D3-86AE23A57051}"/>
                  </a:ext>
                </a:extLst>
              </p:cNvPr>
              <p:cNvSpPr/>
              <p:nvPr/>
            </p:nvSpPr>
            <p:spPr>
              <a:xfrm>
                <a:off x="3187206" y="4345155"/>
                <a:ext cx="539338" cy="437565"/>
              </a:xfrm>
              <a:custGeom>
                <a:avLst/>
                <a:gdLst>
                  <a:gd name="connsiteX0" fmla="*/ 181225 w 539338"/>
                  <a:gd name="connsiteY0" fmla="*/ 0 h 437565"/>
                  <a:gd name="connsiteX1" fmla="*/ 0 w 539338"/>
                  <a:gd name="connsiteY1" fmla="*/ 437566 h 437565"/>
                  <a:gd name="connsiteX2" fmla="*/ 539339 w 539338"/>
                  <a:gd name="connsiteY2" fmla="*/ 437566 h 437565"/>
                  <a:gd name="connsiteX3" fmla="*/ 358114 w 539338"/>
                  <a:gd name="connsiteY3" fmla="*/ 0 h 437565"/>
                  <a:gd name="connsiteX4" fmla="*/ 181225 w 539338"/>
                  <a:gd name="connsiteY4" fmla="*/ 0 h 437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338" h="437565">
                    <a:moveTo>
                      <a:pt x="181225" y="0"/>
                    </a:moveTo>
                    <a:lnTo>
                      <a:pt x="0" y="437566"/>
                    </a:lnTo>
                    <a:lnTo>
                      <a:pt x="539339" y="437566"/>
                    </a:lnTo>
                    <a:lnTo>
                      <a:pt x="358114" y="0"/>
                    </a:lnTo>
                    <a:lnTo>
                      <a:pt x="181225" y="0"/>
                    </a:lnTo>
                    <a:close/>
                  </a:path>
                </a:pathLst>
              </a:custGeom>
              <a:grpFill/>
              <a:ln w="6992"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30E138EB-B85F-ADCC-D56F-5DA2B493D32A}"/>
                  </a:ext>
                </a:extLst>
              </p:cNvPr>
              <p:cNvSpPr/>
              <p:nvPr/>
            </p:nvSpPr>
            <p:spPr>
              <a:xfrm>
                <a:off x="3587760" y="4202423"/>
                <a:ext cx="562551" cy="562744"/>
              </a:xfrm>
              <a:custGeom>
                <a:avLst/>
                <a:gdLst>
                  <a:gd name="connsiteX0" fmla="*/ 0 w 562551"/>
                  <a:gd name="connsiteY0" fmla="*/ 125179 h 562744"/>
                  <a:gd name="connsiteX1" fmla="*/ 181155 w 562551"/>
                  <a:gd name="connsiteY1" fmla="*/ 562745 h 562744"/>
                  <a:gd name="connsiteX2" fmla="*/ 562551 w 562551"/>
                  <a:gd name="connsiteY2" fmla="*/ 181264 h 562744"/>
                  <a:gd name="connsiteX3" fmla="*/ 125081 w 562551"/>
                  <a:gd name="connsiteY3" fmla="*/ 0 h 562744"/>
                  <a:gd name="connsiteX4" fmla="*/ 0 w 562551"/>
                  <a:gd name="connsiteY4" fmla="*/ 125179 h 56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51" h="562744">
                    <a:moveTo>
                      <a:pt x="0" y="125179"/>
                    </a:moveTo>
                    <a:lnTo>
                      <a:pt x="181155" y="562745"/>
                    </a:lnTo>
                    <a:lnTo>
                      <a:pt x="562551" y="181264"/>
                    </a:lnTo>
                    <a:lnTo>
                      <a:pt x="125081" y="0"/>
                    </a:lnTo>
                    <a:lnTo>
                      <a:pt x="0" y="125179"/>
                    </a:lnTo>
                    <a:close/>
                  </a:path>
                </a:pathLst>
              </a:custGeom>
              <a:solidFill>
                <a:schemeClr val="accent1"/>
              </a:solidFill>
              <a:ln w="6992"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4A5C43AE-69DC-2FAE-D6B3-FA21D03BFBB6}"/>
                  </a:ext>
                </a:extLst>
              </p:cNvPr>
              <p:cNvSpPr/>
              <p:nvPr/>
            </p:nvSpPr>
            <p:spPr>
              <a:xfrm>
                <a:off x="2763440" y="4202423"/>
                <a:ext cx="562621" cy="562744"/>
              </a:xfrm>
              <a:custGeom>
                <a:avLst/>
                <a:gdLst>
                  <a:gd name="connsiteX0" fmla="*/ 437470 w 562621"/>
                  <a:gd name="connsiteY0" fmla="*/ 0 h 562744"/>
                  <a:gd name="connsiteX1" fmla="*/ 0 w 562621"/>
                  <a:gd name="connsiteY1" fmla="*/ 181264 h 562744"/>
                  <a:gd name="connsiteX2" fmla="*/ 381397 w 562621"/>
                  <a:gd name="connsiteY2" fmla="*/ 562745 h 562744"/>
                  <a:gd name="connsiteX3" fmla="*/ 562621 w 562621"/>
                  <a:gd name="connsiteY3" fmla="*/ 125179 h 562744"/>
                  <a:gd name="connsiteX4" fmla="*/ 437470 w 562621"/>
                  <a:gd name="connsiteY4" fmla="*/ 0 h 562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21" h="562744">
                    <a:moveTo>
                      <a:pt x="437470" y="0"/>
                    </a:moveTo>
                    <a:lnTo>
                      <a:pt x="0" y="181264"/>
                    </a:lnTo>
                    <a:lnTo>
                      <a:pt x="381397" y="562745"/>
                    </a:lnTo>
                    <a:lnTo>
                      <a:pt x="562621" y="125179"/>
                    </a:lnTo>
                    <a:lnTo>
                      <a:pt x="437470" y="0"/>
                    </a:lnTo>
                    <a:close/>
                  </a:path>
                </a:pathLst>
              </a:custGeom>
              <a:solidFill>
                <a:srgbClr val="8BC385"/>
              </a:solidFill>
              <a:ln w="6992" cap="flat">
                <a:noFill/>
                <a:prstDash val="solid"/>
                <a:miter/>
              </a:ln>
            </p:spPr>
            <p:txBody>
              <a:bodyPr rtlCol="0" anchor="ctr"/>
              <a:lstStyle/>
              <a:p>
                <a:endParaRPr lang="en-GB"/>
              </a:p>
            </p:txBody>
          </p:sp>
        </p:grpSp>
      </p:grpSp>
      <p:sp>
        <p:nvSpPr>
          <p:cNvPr id="119" name="Text Placeholder 49">
            <a:extLst>
              <a:ext uri="{FF2B5EF4-FFF2-40B4-BE49-F238E27FC236}">
                <a16:creationId xmlns:a16="http://schemas.microsoft.com/office/drawing/2014/main" id="{85145F70-9B5F-0CA0-88E9-F3E37D4C2D68}"/>
              </a:ext>
            </a:extLst>
          </p:cNvPr>
          <p:cNvSpPr>
            <a:spLocks noGrp="1"/>
          </p:cNvSpPr>
          <p:nvPr>
            <p:ph type="body" sz="quarter" idx="30" hasCustomPrompt="1"/>
          </p:nvPr>
        </p:nvSpPr>
        <p:spPr>
          <a:xfrm>
            <a:off x="7542481" y="5367950"/>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20" name="Text Placeholder 49">
            <a:extLst>
              <a:ext uri="{FF2B5EF4-FFF2-40B4-BE49-F238E27FC236}">
                <a16:creationId xmlns:a16="http://schemas.microsoft.com/office/drawing/2014/main" id="{67DD4038-1D97-3443-98F3-6EE5120D056C}"/>
              </a:ext>
            </a:extLst>
          </p:cNvPr>
          <p:cNvSpPr>
            <a:spLocks noGrp="1"/>
          </p:cNvSpPr>
          <p:nvPr>
            <p:ph type="body" sz="quarter" idx="31" hasCustomPrompt="1"/>
          </p:nvPr>
        </p:nvSpPr>
        <p:spPr>
          <a:xfrm>
            <a:off x="7562221" y="5079101"/>
            <a:ext cx="3700114" cy="282497"/>
          </a:xfrm>
        </p:spPr>
        <p:txBody>
          <a:bodyPr>
            <a:normAutofit/>
          </a:bodyPr>
          <a:lstStyle>
            <a:lvl1pPr algn="r">
              <a:defRPr sz="1400" b="1">
                <a:solidFill>
                  <a:schemeClr val="tx1"/>
                </a:solidFill>
              </a:defRPr>
            </a:lvl1pPr>
          </a:lstStyle>
          <a:p>
            <a:pPr lvl="0"/>
            <a:r>
              <a:rPr lang="en-US"/>
              <a:t>Lorem ipsum dolor</a:t>
            </a:r>
          </a:p>
        </p:txBody>
      </p:sp>
      <p:sp>
        <p:nvSpPr>
          <p:cNvPr id="121" name="Text Placeholder 49">
            <a:extLst>
              <a:ext uri="{FF2B5EF4-FFF2-40B4-BE49-F238E27FC236}">
                <a16:creationId xmlns:a16="http://schemas.microsoft.com/office/drawing/2014/main" id="{F235488A-4725-7AC8-4CCE-FA0D0BD044AF}"/>
              </a:ext>
            </a:extLst>
          </p:cNvPr>
          <p:cNvSpPr>
            <a:spLocks noGrp="1"/>
          </p:cNvSpPr>
          <p:nvPr>
            <p:ph type="body" sz="quarter" idx="32" hasCustomPrompt="1"/>
          </p:nvPr>
        </p:nvSpPr>
        <p:spPr>
          <a:xfrm>
            <a:off x="7542481" y="4064427"/>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22" name="Text Placeholder 49">
            <a:extLst>
              <a:ext uri="{FF2B5EF4-FFF2-40B4-BE49-F238E27FC236}">
                <a16:creationId xmlns:a16="http://schemas.microsoft.com/office/drawing/2014/main" id="{3AEDD39F-3128-998C-02AE-F2569E8ACADA}"/>
              </a:ext>
            </a:extLst>
          </p:cNvPr>
          <p:cNvSpPr>
            <a:spLocks noGrp="1"/>
          </p:cNvSpPr>
          <p:nvPr>
            <p:ph type="body" sz="quarter" idx="33" hasCustomPrompt="1"/>
          </p:nvPr>
        </p:nvSpPr>
        <p:spPr>
          <a:xfrm>
            <a:off x="7562221" y="3775578"/>
            <a:ext cx="3700114" cy="282497"/>
          </a:xfrm>
        </p:spPr>
        <p:txBody>
          <a:bodyPr>
            <a:normAutofit/>
          </a:bodyPr>
          <a:lstStyle>
            <a:lvl1pPr algn="r">
              <a:defRPr sz="1400" b="1">
                <a:solidFill>
                  <a:schemeClr val="tx1"/>
                </a:solidFill>
              </a:defRPr>
            </a:lvl1pPr>
          </a:lstStyle>
          <a:p>
            <a:pPr lvl="0"/>
            <a:r>
              <a:rPr lang="en-US"/>
              <a:t>Lorem ipsum dolor</a:t>
            </a:r>
          </a:p>
        </p:txBody>
      </p:sp>
      <p:sp>
        <p:nvSpPr>
          <p:cNvPr id="123" name="Text Placeholder 49">
            <a:extLst>
              <a:ext uri="{FF2B5EF4-FFF2-40B4-BE49-F238E27FC236}">
                <a16:creationId xmlns:a16="http://schemas.microsoft.com/office/drawing/2014/main" id="{A7D3A178-CDD3-CA9A-70E8-D9824BACE681}"/>
              </a:ext>
            </a:extLst>
          </p:cNvPr>
          <p:cNvSpPr>
            <a:spLocks noGrp="1"/>
          </p:cNvSpPr>
          <p:nvPr>
            <p:ph type="body" sz="quarter" idx="34" hasCustomPrompt="1"/>
          </p:nvPr>
        </p:nvSpPr>
        <p:spPr>
          <a:xfrm>
            <a:off x="7538998" y="2928163"/>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24" name="Text Placeholder 49">
            <a:extLst>
              <a:ext uri="{FF2B5EF4-FFF2-40B4-BE49-F238E27FC236}">
                <a16:creationId xmlns:a16="http://schemas.microsoft.com/office/drawing/2014/main" id="{65F50024-37DB-AAC0-9A84-CD8EC4932608}"/>
              </a:ext>
            </a:extLst>
          </p:cNvPr>
          <p:cNvSpPr>
            <a:spLocks noGrp="1"/>
          </p:cNvSpPr>
          <p:nvPr>
            <p:ph type="body" sz="quarter" idx="35" hasCustomPrompt="1"/>
          </p:nvPr>
        </p:nvSpPr>
        <p:spPr>
          <a:xfrm>
            <a:off x="7558738" y="2639314"/>
            <a:ext cx="3700114" cy="282497"/>
          </a:xfrm>
        </p:spPr>
        <p:txBody>
          <a:bodyPr>
            <a:normAutofit/>
          </a:bodyPr>
          <a:lstStyle>
            <a:lvl1pPr algn="r">
              <a:defRPr sz="1400" b="1">
                <a:solidFill>
                  <a:schemeClr val="tx1"/>
                </a:solidFill>
              </a:defRPr>
            </a:lvl1pPr>
          </a:lstStyle>
          <a:p>
            <a:pPr lvl="0"/>
            <a:r>
              <a:rPr lang="en-US"/>
              <a:t>Lorem ipsum dolor</a:t>
            </a:r>
          </a:p>
        </p:txBody>
      </p:sp>
      <p:sp>
        <p:nvSpPr>
          <p:cNvPr id="125" name="Text Placeholder 49">
            <a:extLst>
              <a:ext uri="{FF2B5EF4-FFF2-40B4-BE49-F238E27FC236}">
                <a16:creationId xmlns:a16="http://schemas.microsoft.com/office/drawing/2014/main" id="{FD51DCB3-168E-6A65-D35B-0AB3FD575207}"/>
              </a:ext>
            </a:extLst>
          </p:cNvPr>
          <p:cNvSpPr>
            <a:spLocks noGrp="1"/>
          </p:cNvSpPr>
          <p:nvPr>
            <p:ph type="body" sz="quarter" idx="36" hasCustomPrompt="1"/>
          </p:nvPr>
        </p:nvSpPr>
        <p:spPr>
          <a:xfrm>
            <a:off x="953325" y="5367950"/>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26" name="Text Placeholder 49">
            <a:extLst>
              <a:ext uri="{FF2B5EF4-FFF2-40B4-BE49-F238E27FC236}">
                <a16:creationId xmlns:a16="http://schemas.microsoft.com/office/drawing/2014/main" id="{F576DD64-212C-17EE-BB02-C8D1B29B93F3}"/>
              </a:ext>
            </a:extLst>
          </p:cNvPr>
          <p:cNvSpPr>
            <a:spLocks noGrp="1"/>
          </p:cNvSpPr>
          <p:nvPr>
            <p:ph type="body" sz="quarter" idx="37" hasCustomPrompt="1"/>
          </p:nvPr>
        </p:nvSpPr>
        <p:spPr>
          <a:xfrm>
            <a:off x="973065" y="5079101"/>
            <a:ext cx="3700114" cy="282497"/>
          </a:xfrm>
        </p:spPr>
        <p:txBody>
          <a:bodyPr>
            <a:normAutofit/>
          </a:bodyPr>
          <a:lstStyle>
            <a:lvl1pPr algn="l">
              <a:defRPr sz="1400" b="1">
                <a:solidFill>
                  <a:schemeClr val="tx1"/>
                </a:solidFill>
              </a:defRPr>
            </a:lvl1pPr>
          </a:lstStyle>
          <a:p>
            <a:pPr lvl="0"/>
            <a:r>
              <a:rPr lang="en-US"/>
              <a:t>Lorem ipsum dolor</a:t>
            </a:r>
          </a:p>
        </p:txBody>
      </p:sp>
      <p:sp>
        <p:nvSpPr>
          <p:cNvPr id="127" name="Text Placeholder 49">
            <a:extLst>
              <a:ext uri="{FF2B5EF4-FFF2-40B4-BE49-F238E27FC236}">
                <a16:creationId xmlns:a16="http://schemas.microsoft.com/office/drawing/2014/main" id="{1673091D-BA74-4EEB-2B71-A57866E016BB}"/>
              </a:ext>
            </a:extLst>
          </p:cNvPr>
          <p:cNvSpPr>
            <a:spLocks noGrp="1"/>
          </p:cNvSpPr>
          <p:nvPr>
            <p:ph type="body" sz="quarter" idx="38" hasCustomPrompt="1"/>
          </p:nvPr>
        </p:nvSpPr>
        <p:spPr>
          <a:xfrm>
            <a:off x="953325" y="4064427"/>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28" name="Text Placeholder 49">
            <a:extLst>
              <a:ext uri="{FF2B5EF4-FFF2-40B4-BE49-F238E27FC236}">
                <a16:creationId xmlns:a16="http://schemas.microsoft.com/office/drawing/2014/main" id="{CD8B11C3-A56D-830C-B9B6-3F8E4F4DEDE9}"/>
              </a:ext>
            </a:extLst>
          </p:cNvPr>
          <p:cNvSpPr>
            <a:spLocks noGrp="1"/>
          </p:cNvSpPr>
          <p:nvPr>
            <p:ph type="body" sz="quarter" idx="39" hasCustomPrompt="1"/>
          </p:nvPr>
        </p:nvSpPr>
        <p:spPr>
          <a:xfrm>
            <a:off x="973065" y="3775578"/>
            <a:ext cx="3700114" cy="282497"/>
          </a:xfrm>
        </p:spPr>
        <p:txBody>
          <a:bodyPr>
            <a:normAutofit/>
          </a:bodyPr>
          <a:lstStyle>
            <a:lvl1pPr algn="l">
              <a:defRPr sz="1400" b="1">
                <a:solidFill>
                  <a:schemeClr val="tx1"/>
                </a:solidFill>
              </a:defRPr>
            </a:lvl1pPr>
          </a:lstStyle>
          <a:p>
            <a:pPr lvl="0"/>
            <a:r>
              <a:rPr lang="en-US"/>
              <a:t>Lorem ipsum dolor</a:t>
            </a:r>
          </a:p>
        </p:txBody>
      </p:sp>
      <p:sp>
        <p:nvSpPr>
          <p:cNvPr id="129" name="Text Placeholder 49">
            <a:extLst>
              <a:ext uri="{FF2B5EF4-FFF2-40B4-BE49-F238E27FC236}">
                <a16:creationId xmlns:a16="http://schemas.microsoft.com/office/drawing/2014/main" id="{24705172-DAD0-453F-0B17-AE788DA4BEEC}"/>
              </a:ext>
            </a:extLst>
          </p:cNvPr>
          <p:cNvSpPr>
            <a:spLocks noGrp="1"/>
          </p:cNvSpPr>
          <p:nvPr>
            <p:ph type="body" sz="quarter" idx="40" hasCustomPrompt="1"/>
          </p:nvPr>
        </p:nvSpPr>
        <p:spPr>
          <a:xfrm>
            <a:off x="949842" y="2928163"/>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30" name="Text Placeholder 49">
            <a:extLst>
              <a:ext uri="{FF2B5EF4-FFF2-40B4-BE49-F238E27FC236}">
                <a16:creationId xmlns:a16="http://schemas.microsoft.com/office/drawing/2014/main" id="{E1733428-3347-A6A3-6E90-E089A869134A}"/>
              </a:ext>
            </a:extLst>
          </p:cNvPr>
          <p:cNvSpPr>
            <a:spLocks noGrp="1"/>
          </p:cNvSpPr>
          <p:nvPr>
            <p:ph type="body" sz="quarter" idx="41" hasCustomPrompt="1"/>
          </p:nvPr>
        </p:nvSpPr>
        <p:spPr>
          <a:xfrm>
            <a:off x="969582" y="2639314"/>
            <a:ext cx="3700114" cy="282497"/>
          </a:xfrm>
        </p:spPr>
        <p:txBody>
          <a:bodyPr>
            <a:normAutofit/>
          </a:bodyPr>
          <a:lstStyle>
            <a:lvl1pPr algn="l">
              <a:defRPr sz="1400" b="1">
                <a:solidFill>
                  <a:schemeClr val="tx1"/>
                </a:solidFill>
              </a:defRPr>
            </a:lvl1pPr>
          </a:lstStyle>
          <a:p>
            <a:pPr lvl="0"/>
            <a:r>
              <a:rPr lang="en-US"/>
              <a:t>Lorem ipsum dolor</a:t>
            </a:r>
          </a:p>
        </p:txBody>
      </p:sp>
      <p:sp>
        <p:nvSpPr>
          <p:cNvPr id="131" name="Text Placeholder 49">
            <a:extLst>
              <a:ext uri="{FF2B5EF4-FFF2-40B4-BE49-F238E27FC236}">
                <a16:creationId xmlns:a16="http://schemas.microsoft.com/office/drawing/2014/main" id="{779ECE54-18C7-5B56-BED4-7F47520E5285}"/>
              </a:ext>
            </a:extLst>
          </p:cNvPr>
          <p:cNvSpPr>
            <a:spLocks noGrp="1"/>
          </p:cNvSpPr>
          <p:nvPr>
            <p:ph type="body" sz="quarter" idx="42" hasCustomPrompt="1"/>
          </p:nvPr>
        </p:nvSpPr>
        <p:spPr>
          <a:xfrm>
            <a:off x="4320207" y="6206150"/>
            <a:ext cx="3723337"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32" name="Text Placeholder 49">
            <a:extLst>
              <a:ext uri="{FF2B5EF4-FFF2-40B4-BE49-F238E27FC236}">
                <a16:creationId xmlns:a16="http://schemas.microsoft.com/office/drawing/2014/main" id="{E44A73AC-8DD9-088B-D330-E680C6C320AF}"/>
              </a:ext>
            </a:extLst>
          </p:cNvPr>
          <p:cNvSpPr>
            <a:spLocks noGrp="1"/>
          </p:cNvSpPr>
          <p:nvPr>
            <p:ph type="body" sz="quarter" idx="43" hasCustomPrompt="1"/>
          </p:nvPr>
        </p:nvSpPr>
        <p:spPr>
          <a:xfrm>
            <a:off x="4339947" y="5917301"/>
            <a:ext cx="3700114" cy="282497"/>
          </a:xfrm>
        </p:spPr>
        <p:txBody>
          <a:bodyPr>
            <a:normAutofit/>
          </a:bodyPr>
          <a:lstStyle>
            <a:lvl1pPr algn="ctr">
              <a:defRPr sz="1400" b="1">
                <a:solidFill>
                  <a:schemeClr val="tx1"/>
                </a:solidFill>
              </a:defRPr>
            </a:lvl1pPr>
          </a:lstStyle>
          <a:p>
            <a:pPr lvl="0"/>
            <a:r>
              <a:rPr lang="en-US"/>
              <a:t>Lorem ipsum dolor</a:t>
            </a:r>
          </a:p>
        </p:txBody>
      </p:sp>
      <p:sp>
        <p:nvSpPr>
          <p:cNvPr id="133" name="Text Placeholder 49">
            <a:extLst>
              <a:ext uri="{FF2B5EF4-FFF2-40B4-BE49-F238E27FC236}">
                <a16:creationId xmlns:a16="http://schemas.microsoft.com/office/drawing/2014/main" id="{CA3C92A7-3D46-C715-2D6C-8FBFA98A69F1}"/>
              </a:ext>
            </a:extLst>
          </p:cNvPr>
          <p:cNvSpPr>
            <a:spLocks noGrp="1"/>
          </p:cNvSpPr>
          <p:nvPr>
            <p:ph type="body" sz="quarter" idx="44" hasCustomPrompt="1"/>
          </p:nvPr>
        </p:nvSpPr>
        <p:spPr>
          <a:xfrm>
            <a:off x="4316724" y="1767902"/>
            <a:ext cx="3723337"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134" name="Text Placeholder 49">
            <a:extLst>
              <a:ext uri="{FF2B5EF4-FFF2-40B4-BE49-F238E27FC236}">
                <a16:creationId xmlns:a16="http://schemas.microsoft.com/office/drawing/2014/main" id="{F43AF11B-B2B5-2248-4186-DC4065A4299D}"/>
              </a:ext>
            </a:extLst>
          </p:cNvPr>
          <p:cNvSpPr>
            <a:spLocks noGrp="1"/>
          </p:cNvSpPr>
          <p:nvPr>
            <p:ph type="body" sz="quarter" idx="45" hasCustomPrompt="1"/>
          </p:nvPr>
        </p:nvSpPr>
        <p:spPr>
          <a:xfrm>
            <a:off x="4336464" y="1479053"/>
            <a:ext cx="3700114" cy="282497"/>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99420276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Nine point nona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Nine points - non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cxnSp>
        <p:nvCxnSpPr>
          <p:cNvPr id="32" name="Straight Connector 31">
            <a:extLst>
              <a:ext uri="{FF2B5EF4-FFF2-40B4-BE49-F238E27FC236}">
                <a16:creationId xmlns:a16="http://schemas.microsoft.com/office/drawing/2014/main" id="{A342991C-CBF1-2909-42DB-45332DB751B7}"/>
              </a:ext>
            </a:extLst>
          </p:cNvPr>
          <p:cNvCxnSpPr>
            <a:cxnSpLocks/>
          </p:cNvCxnSpPr>
          <p:nvPr userDrawn="1"/>
        </p:nvCxnSpPr>
        <p:spPr>
          <a:xfrm>
            <a:off x="6631904" y="2160314"/>
            <a:ext cx="4804446"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E45F91-5EC7-82FD-FDE5-18E7907992AD}"/>
              </a:ext>
            </a:extLst>
          </p:cNvPr>
          <p:cNvCxnSpPr>
            <a:cxnSpLocks/>
          </p:cNvCxnSpPr>
          <p:nvPr userDrawn="1"/>
        </p:nvCxnSpPr>
        <p:spPr>
          <a:xfrm flipH="1">
            <a:off x="815975" y="2146283"/>
            <a:ext cx="48502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F8AB7AE-98E8-FE5D-99B3-ADF17E9C6D4B}"/>
              </a:ext>
            </a:extLst>
          </p:cNvPr>
          <p:cNvCxnSpPr>
            <a:cxnSpLocks/>
          </p:cNvCxnSpPr>
          <p:nvPr userDrawn="1"/>
        </p:nvCxnSpPr>
        <p:spPr>
          <a:xfrm>
            <a:off x="6995461" y="3844016"/>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5BFF921-CB86-5879-77D1-8771182BFD5A}"/>
              </a:ext>
            </a:extLst>
          </p:cNvPr>
          <p:cNvCxnSpPr>
            <a:cxnSpLocks/>
          </p:cNvCxnSpPr>
          <p:nvPr userDrawn="1"/>
        </p:nvCxnSpPr>
        <p:spPr>
          <a:xfrm flipH="1">
            <a:off x="815975" y="3829985"/>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FAE2D7-1852-9101-F0BC-4562FF2816FE}"/>
              </a:ext>
            </a:extLst>
          </p:cNvPr>
          <p:cNvCxnSpPr>
            <a:cxnSpLocks/>
          </p:cNvCxnSpPr>
          <p:nvPr userDrawn="1"/>
        </p:nvCxnSpPr>
        <p:spPr>
          <a:xfrm>
            <a:off x="6995461" y="300030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C21B3F9-0F2A-9570-BB2B-0E56FB312D4D}"/>
              </a:ext>
            </a:extLst>
          </p:cNvPr>
          <p:cNvCxnSpPr>
            <a:cxnSpLocks/>
          </p:cNvCxnSpPr>
          <p:nvPr userDrawn="1"/>
        </p:nvCxnSpPr>
        <p:spPr>
          <a:xfrm flipH="1">
            <a:off x="815975" y="298626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3B2175E-DD49-ECA9-01D6-C6C9619466F8}"/>
              </a:ext>
            </a:extLst>
          </p:cNvPr>
          <p:cNvCxnSpPr>
            <a:cxnSpLocks/>
          </p:cNvCxnSpPr>
          <p:nvPr userDrawn="1"/>
        </p:nvCxnSpPr>
        <p:spPr>
          <a:xfrm>
            <a:off x="6995461" y="4740271"/>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EE3F9DC-54FB-37D7-8E2E-D2418BD59BFF}"/>
              </a:ext>
            </a:extLst>
          </p:cNvPr>
          <p:cNvCxnSpPr>
            <a:cxnSpLocks/>
          </p:cNvCxnSpPr>
          <p:nvPr userDrawn="1"/>
        </p:nvCxnSpPr>
        <p:spPr>
          <a:xfrm flipH="1">
            <a:off x="815975" y="4726240"/>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AC4AA87-B5E0-BF0B-B962-9A444AA1A021}"/>
              </a:ext>
            </a:extLst>
          </p:cNvPr>
          <p:cNvCxnSpPr>
            <a:cxnSpLocks/>
          </p:cNvCxnSpPr>
          <p:nvPr userDrawn="1"/>
        </p:nvCxnSpPr>
        <p:spPr>
          <a:xfrm>
            <a:off x="6125454" y="4388984"/>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55" name="Content Placeholder 7">
            <a:extLst>
              <a:ext uri="{FF2B5EF4-FFF2-40B4-BE49-F238E27FC236}">
                <a16:creationId xmlns:a16="http://schemas.microsoft.com/office/drawing/2014/main" id="{9196FEF9-9255-849D-60AB-FFA1FF27D7B9}"/>
              </a:ext>
            </a:extLst>
          </p:cNvPr>
          <p:cNvGrpSpPr/>
          <p:nvPr userDrawn="1"/>
        </p:nvGrpSpPr>
        <p:grpSpPr>
          <a:xfrm>
            <a:off x="4485694" y="1926065"/>
            <a:ext cx="3308953" cy="3259983"/>
            <a:chOff x="4472208" y="3364355"/>
            <a:chExt cx="1438819" cy="1417526"/>
          </a:xfrm>
          <a:solidFill>
            <a:schemeClr val="bg2"/>
          </a:solidFill>
        </p:grpSpPr>
        <p:sp>
          <p:nvSpPr>
            <p:cNvPr id="56" name="Freeform 55">
              <a:extLst>
                <a:ext uri="{FF2B5EF4-FFF2-40B4-BE49-F238E27FC236}">
                  <a16:creationId xmlns:a16="http://schemas.microsoft.com/office/drawing/2014/main" id="{1AD587DA-16A9-A1BB-3195-6194DE587353}"/>
                </a:ext>
              </a:extLst>
            </p:cNvPr>
            <p:cNvSpPr/>
            <p:nvPr/>
          </p:nvSpPr>
          <p:spPr>
            <a:xfrm>
              <a:off x="4743905" y="3364355"/>
              <a:ext cx="426073" cy="494910"/>
            </a:xfrm>
            <a:custGeom>
              <a:avLst/>
              <a:gdLst>
                <a:gd name="connsiteX0" fmla="*/ 426074 w 426073"/>
                <a:gd name="connsiteY0" fmla="*/ 443580 h 494910"/>
                <a:gd name="connsiteX1" fmla="*/ 426074 w 426073"/>
                <a:gd name="connsiteY1" fmla="*/ 0 h 494910"/>
                <a:gd name="connsiteX2" fmla="*/ 0 w 426073"/>
                <a:gd name="connsiteY2" fmla="*/ 155110 h 494910"/>
                <a:gd name="connsiteX3" fmla="*/ 285051 w 426073"/>
                <a:gd name="connsiteY3" fmla="*/ 494910 h 494910"/>
                <a:gd name="connsiteX4" fmla="*/ 426074 w 426073"/>
                <a:gd name="connsiteY4" fmla="*/ 443580 h 494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73" h="494910">
                  <a:moveTo>
                    <a:pt x="426074" y="443580"/>
                  </a:moveTo>
                  <a:lnTo>
                    <a:pt x="426074" y="0"/>
                  </a:lnTo>
                  <a:lnTo>
                    <a:pt x="0" y="155110"/>
                  </a:lnTo>
                  <a:lnTo>
                    <a:pt x="285051" y="494910"/>
                  </a:lnTo>
                  <a:lnTo>
                    <a:pt x="426074" y="443580"/>
                  </a:lnTo>
                  <a:close/>
                </a:path>
              </a:pathLst>
            </a:custGeom>
            <a:solidFill>
              <a:schemeClr val="tx2"/>
            </a:solidFill>
            <a:ln w="6992" cap="flat">
              <a:no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DD1EFABE-173A-FD63-765F-7DB11EA7DD5B}"/>
                </a:ext>
              </a:extLst>
            </p:cNvPr>
            <p:cNvSpPr/>
            <p:nvPr/>
          </p:nvSpPr>
          <p:spPr>
            <a:xfrm>
              <a:off x="4963164" y="4338301"/>
              <a:ext cx="454110" cy="443580"/>
            </a:xfrm>
            <a:custGeom>
              <a:avLst/>
              <a:gdLst>
                <a:gd name="connsiteX0" fmla="*/ 161438 w 454110"/>
                <a:gd name="connsiteY0" fmla="*/ 0 h 443580"/>
                <a:gd name="connsiteX1" fmla="*/ 0 w 454110"/>
                <a:gd name="connsiteY1" fmla="*/ 443580 h 443580"/>
                <a:gd name="connsiteX2" fmla="*/ 454110 w 454110"/>
                <a:gd name="connsiteY2" fmla="*/ 443580 h 443580"/>
                <a:gd name="connsiteX3" fmla="*/ 292672 w 454110"/>
                <a:gd name="connsiteY3" fmla="*/ 0 h 443580"/>
                <a:gd name="connsiteX4" fmla="*/ 161438 w 454110"/>
                <a:gd name="connsiteY4" fmla="*/ 0 h 4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10" h="443580">
                  <a:moveTo>
                    <a:pt x="161438" y="0"/>
                  </a:moveTo>
                  <a:lnTo>
                    <a:pt x="0" y="443580"/>
                  </a:lnTo>
                  <a:lnTo>
                    <a:pt x="454110" y="443580"/>
                  </a:lnTo>
                  <a:lnTo>
                    <a:pt x="292672" y="0"/>
                  </a:lnTo>
                  <a:lnTo>
                    <a:pt x="161438" y="0"/>
                  </a:lnTo>
                  <a:close/>
                </a:path>
              </a:pathLst>
            </a:custGeom>
            <a:solidFill>
              <a:schemeClr val="accent1"/>
            </a:solidFill>
            <a:ln w="6992"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0D80F7FA-8B98-FDFA-3517-AABDDD9D5831}"/>
                </a:ext>
              </a:extLst>
            </p:cNvPr>
            <p:cNvSpPr/>
            <p:nvPr/>
          </p:nvSpPr>
          <p:spPr>
            <a:xfrm>
              <a:off x="5215844" y="3365195"/>
              <a:ext cx="426143" cy="494910"/>
            </a:xfrm>
            <a:custGeom>
              <a:avLst/>
              <a:gdLst>
                <a:gd name="connsiteX0" fmla="*/ 141092 w 426143"/>
                <a:gd name="connsiteY0" fmla="*/ 494910 h 494910"/>
                <a:gd name="connsiteX1" fmla="*/ 426144 w 426143"/>
                <a:gd name="connsiteY1" fmla="*/ 155110 h 494910"/>
                <a:gd name="connsiteX2" fmla="*/ 0 w 426143"/>
                <a:gd name="connsiteY2" fmla="*/ 0 h 494910"/>
                <a:gd name="connsiteX3" fmla="*/ 0 w 426143"/>
                <a:gd name="connsiteY3" fmla="*/ 443580 h 494910"/>
                <a:gd name="connsiteX4" fmla="*/ 141092 w 426143"/>
                <a:gd name="connsiteY4" fmla="*/ 494910 h 494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143" h="494910">
                  <a:moveTo>
                    <a:pt x="141092" y="494910"/>
                  </a:moveTo>
                  <a:lnTo>
                    <a:pt x="426144" y="155110"/>
                  </a:lnTo>
                  <a:lnTo>
                    <a:pt x="0" y="0"/>
                  </a:lnTo>
                  <a:lnTo>
                    <a:pt x="0" y="443580"/>
                  </a:lnTo>
                  <a:lnTo>
                    <a:pt x="141092" y="494910"/>
                  </a:lnTo>
                  <a:close/>
                </a:path>
              </a:pathLst>
            </a:custGeom>
            <a:solidFill>
              <a:schemeClr val="accent4"/>
            </a:solidFill>
            <a:ln w="6992"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38A64B4F-4ED0-4502-3E60-CB88C6F242CD}"/>
                </a:ext>
              </a:extLst>
            </p:cNvPr>
            <p:cNvSpPr/>
            <p:nvPr/>
          </p:nvSpPr>
          <p:spPr>
            <a:xfrm>
              <a:off x="5433915" y="3988640"/>
              <a:ext cx="477112" cy="447146"/>
            </a:xfrm>
            <a:custGeom>
              <a:avLst/>
              <a:gdLst>
                <a:gd name="connsiteX0" fmla="*/ 0 w 477112"/>
                <a:gd name="connsiteY0" fmla="*/ 217209 h 447146"/>
                <a:gd name="connsiteX1" fmla="*/ 398247 w 477112"/>
                <a:gd name="connsiteY1" fmla="*/ 447147 h 447146"/>
                <a:gd name="connsiteX2" fmla="*/ 477113 w 477112"/>
                <a:gd name="connsiteY2" fmla="*/ 0 h 447146"/>
                <a:gd name="connsiteX3" fmla="*/ 24261 w 477112"/>
                <a:gd name="connsiteY3" fmla="*/ 79863 h 447146"/>
                <a:gd name="connsiteX4" fmla="*/ 0 w 477112"/>
                <a:gd name="connsiteY4" fmla="*/ 217209 h 447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112" h="447146">
                  <a:moveTo>
                    <a:pt x="0" y="217209"/>
                  </a:moveTo>
                  <a:lnTo>
                    <a:pt x="398247" y="447147"/>
                  </a:lnTo>
                  <a:lnTo>
                    <a:pt x="477113" y="0"/>
                  </a:lnTo>
                  <a:lnTo>
                    <a:pt x="24261" y="79863"/>
                  </a:lnTo>
                  <a:lnTo>
                    <a:pt x="0" y="217209"/>
                  </a:lnTo>
                  <a:close/>
                </a:path>
              </a:pathLst>
            </a:custGeom>
            <a:solidFill>
              <a:srgbClr val="8BC385"/>
            </a:solidFill>
            <a:ln w="6992"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657E34F9-F40E-DBE2-830A-98033D0E0B6C}"/>
                </a:ext>
              </a:extLst>
            </p:cNvPr>
            <p:cNvSpPr/>
            <p:nvPr/>
          </p:nvSpPr>
          <p:spPr>
            <a:xfrm>
              <a:off x="4572819" y="4238858"/>
              <a:ext cx="507945" cy="526170"/>
            </a:xfrm>
            <a:custGeom>
              <a:avLst/>
              <a:gdLst>
                <a:gd name="connsiteX0" fmla="*/ 405727 w 507945"/>
                <a:gd name="connsiteY0" fmla="*/ 0 h 526170"/>
                <a:gd name="connsiteX1" fmla="*/ 0 w 507945"/>
                <a:gd name="connsiteY1" fmla="*/ 234343 h 526170"/>
                <a:gd name="connsiteX2" fmla="*/ 347697 w 507945"/>
                <a:gd name="connsiteY2" fmla="*/ 526170 h 526170"/>
                <a:gd name="connsiteX3" fmla="*/ 507946 w 507945"/>
                <a:gd name="connsiteY3" fmla="*/ 85807 h 526170"/>
                <a:gd name="connsiteX4" fmla="*/ 405727 w 507945"/>
                <a:gd name="connsiteY4" fmla="*/ 0 h 52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945" h="526170">
                  <a:moveTo>
                    <a:pt x="405727" y="0"/>
                  </a:moveTo>
                  <a:lnTo>
                    <a:pt x="0" y="234343"/>
                  </a:lnTo>
                  <a:lnTo>
                    <a:pt x="347697" y="526170"/>
                  </a:lnTo>
                  <a:lnTo>
                    <a:pt x="507946" y="85807"/>
                  </a:lnTo>
                  <a:lnTo>
                    <a:pt x="405727" y="0"/>
                  </a:lnTo>
                  <a:close/>
                </a:path>
              </a:pathLst>
            </a:custGeom>
            <a:solidFill>
              <a:srgbClr val="B2D7AE"/>
            </a:solidFill>
            <a:ln w="6992"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B47B1838-53D0-B9D5-EC06-0DFB1847C3C6}"/>
                </a:ext>
              </a:extLst>
            </p:cNvPr>
            <p:cNvSpPr/>
            <p:nvPr/>
          </p:nvSpPr>
          <p:spPr>
            <a:xfrm>
              <a:off x="4472208" y="3985983"/>
              <a:ext cx="476972" cy="446797"/>
            </a:xfrm>
            <a:custGeom>
              <a:avLst/>
              <a:gdLst>
                <a:gd name="connsiteX0" fmla="*/ 452852 w 476972"/>
                <a:gd name="connsiteY0" fmla="*/ 79863 h 446797"/>
                <a:gd name="connsiteX1" fmla="*/ 0 w 476972"/>
                <a:gd name="connsiteY1" fmla="*/ 0 h 446797"/>
                <a:gd name="connsiteX2" fmla="*/ 78796 w 476972"/>
                <a:gd name="connsiteY2" fmla="*/ 446797 h 446797"/>
                <a:gd name="connsiteX3" fmla="*/ 476973 w 476972"/>
                <a:gd name="connsiteY3" fmla="*/ 216860 h 446797"/>
                <a:gd name="connsiteX4" fmla="*/ 452852 w 476972"/>
                <a:gd name="connsiteY4" fmla="*/ 79863 h 446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972" h="446797">
                  <a:moveTo>
                    <a:pt x="452852" y="79863"/>
                  </a:moveTo>
                  <a:lnTo>
                    <a:pt x="0" y="0"/>
                  </a:lnTo>
                  <a:lnTo>
                    <a:pt x="78796" y="446797"/>
                  </a:lnTo>
                  <a:lnTo>
                    <a:pt x="476973" y="216860"/>
                  </a:lnTo>
                  <a:lnTo>
                    <a:pt x="452852" y="79863"/>
                  </a:lnTo>
                  <a:close/>
                </a:path>
              </a:pathLst>
            </a:custGeom>
            <a:solidFill>
              <a:srgbClr val="66C3EB"/>
            </a:solidFill>
            <a:ln w="6992"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2D21B6E3-3D67-6FE5-2ED9-A5F40E5E3839}"/>
                </a:ext>
              </a:extLst>
            </p:cNvPr>
            <p:cNvSpPr/>
            <p:nvPr/>
          </p:nvSpPr>
          <p:spPr>
            <a:xfrm>
              <a:off x="4481367" y="3548207"/>
              <a:ext cx="515986" cy="470923"/>
            </a:xfrm>
            <a:custGeom>
              <a:avLst/>
              <a:gdLst>
                <a:gd name="connsiteX0" fmla="*/ 515987 w 515986"/>
                <a:gd name="connsiteY0" fmla="*/ 344696 h 470923"/>
                <a:gd name="connsiteX1" fmla="*/ 226740 w 515986"/>
                <a:gd name="connsiteY1" fmla="*/ 0 h 470923"/>
                <a:gd name="connsiteX2" fmla="*/ 0 w 515986"/>
                <a:gd name="connsiteY2" fmla="*/ 392809 h 470923"/>
                <a:gd name="connsiteX3" fmla="*/ 443133 w 515986"/>
                <a:gd name="connsiteY3" fmla="*/ 470924 h 470923"/>
                <a:gd name="connsiteX4" fmla="*/ 515987 w 515986"/>
                <a:gd name="connsiteY4" fmla="*/ 344696 h 470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986" h="470923">
                  <a:moveTo>
                    <a:pt x="515987" y="344696"/>
                  </a:moveTo>
                  <a:lnTo>
                    <a:pt x="226740" y="0"/>
                  </a:lnTo>
                  <a:lnTo>
                    <a:pt x="0" y="392809"/>
                  </a:lnTo>
                  <a:lnTo>
                    <a:pt x="443133" y="470924"/>
                  </a:lnTo>
                  <a:lnTo>
                    <a:pt x="515987" y="344696"/>
                  </a:lnTo>
                  <a:close/>
                </a:path>
              </a:pathLst>
            </a:custGeom>
            <a:solidFill>
              <a:schemeClr val="accent5"/>
            </a:solidFill>
            <a:ln w="6992"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6853A39E-4801-3C93-E635-008BEAD47D41}"/>
                </a:ext>
              </a:extLst>
            </p:cNvPr>
            <p:cNvSpPr/>
            <p:nvPr/>
          </p:nvSpPr>
          <p:spPr>
            <a:xfrm>
              <a:off x="5387560" y="3550305"/>
              <a:ext cx="516056" cy="471133"/>
            </a:xfrm>
            <a:custGeom>
              <a:avLst/>
              <a:gdLst>
                <a:gd name="connsiteX0" fmla="*/ 72993 w 516056"/>
                <a:gd name="connsiteY0" fmla="*/ 471133 h 471133"/>
                <a:gd name="connsiteX1" fmla="*/ 516057 w 516056"/>
                <a:gd name="connsiteY1" fmla="*/ 393019 h 471133"/>
                <a:gd name="connsiteX2" fmla="*/ 289176 w 516056"/>
                <a:gd name="connsiteY2" fmla="*/ 0 h 471133"/>
                <a:gd name="connsiteX3" fmla="*/ 0 w 516056"/>
                <a:gd name="connsiteY3" fmla="*/ 344696 h 471133"/>
                <a:gd name="connsiteX4" fmla="*/ 72993 w 516056"/>
                <a:gd name="connsiteY4" fmla="*/ 471133 h 471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056" h="471133">
                  <a:moveTo>
                    <a:pt x="72993" y="471133"/>
                  </a:moveTo>
                  <a:lnTo>
                    <a:pt x="516057" y="393019"/>
                  </a:lnTo>
                  <a:lnTo>
                    <a:pt x="289176" y="0"/>
                  </a:lnTo>
                  <a:lnTo>
                    <a:pt x="0" y="344696"/>
                  </a:lnTo>
                  <a:lnTo>
                    <a:pt x="72993" y="471133"/>
                  </a:lnTo>
                  <a:close/>
                </a:path>
              </a:pathLst>
            </a:custGeom>
            <a:grpFill/>
            <a:ln w="6992"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7AD1A003-1AC2-6214-4218-88C2D98323A2}"/>
                </a:ext>
              </a:extLst>
            </p:cNvPr>
            <p:cNvSpPr/>
            <p:nvPr/>
          </p:nvSpPr>
          <p:spPr>
            <a:xfrm>
              <a:off x="5300444" y="4240816"/>
              <a:ext cx="508155" cy="526310"/>
            </a:xfrm>
            <a:custGeom>
              <a:avLst/>
              <a:gdLst>
                <a:gd name="connsiteX0" fmla="*/ 0 w 508155"/>
                <a:gd name="connsiteY0" fmla="*/ 85947 h 526310"/>
                <a:gd name="connsiteX1" fmla="*/ 160249 w 508155"/>
                <a:gd name="connsiteY1" fmla="*/ 526310 h 526310"/>
                <a:gd name="connsiteX2" fmla="*/ 508156 w 508155"/>
                <a:gd name="connsiteY2" fmla="*/ 234343 h 526310"/>
                <a:gd name="connsiteX3" fmla="*/ 102358 w 508155"/>
                <a:gd name="connsiteY3" fmla="*/ 0 h 526310"/>
                <a:gd name="connsiteX4" fmla="*/ 0 w 508155"/>
                <a:gd name="connsiteY4" fmla="*/ 85947 h 526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155" h="526310">
                  <a:moveTo>
                    <a:pt x="0" y="85947"/>
                  </a:moveTo>
                  <a:lnTo>
                    <a:pt x="160249" y="526310"/>
                  </a:lnTo>
                  <a:lnTo>
                    <a:pt x="508156" y="234343"/>
                  </a:lnTo>
                  <a:lnTo>
                    <a:pt x="102358" y="0"/>
                  </a:lnTo>
                  <a:lnTo>
                    <a:pt x="0" y="85947"/>
                  </a:lnTo>
                  <a:close/>
                </a:path>
              </a:pathLst>
            </a:custGeom>
            <a:solidFill>
              <a:schemeClr val="accent6"/>
            </a:solidFill>
            <a:ln w="6992" cap="flat">
              <a:noFill/>
              <a:prstDash val="solid"/>
              <a:miter/>
            </a:ln>
          </p:spPr>
          <p:txBody>
            <a:bodyPr rtlCol="0" anchor="ctr"/>
            <a:lstStyle/>
            <a:p>
              <a:endParaRPr lang="en-GB"/>
            </a:p>
          </p:txBody>
        </p:sp>
      </p:grpSp>
      <p:sp>
        <p:nvSpPr>
          <p:cNvPr id="82" name="Text Placeholder 49">
            <a:extLst>
              <a:ext uri="{FF2B5EF4-FFF2-40B4-BE49-F238E27FC236}">
                <a16:creationId xmlns:a16="http://schemas.microsoft.com/office/drawing/2014/main" id="{D64B084B-EB9E-C4EE-6D51-1FD7E000FB74}"/>
              </a:ext>
            </a:extLst>
          </p:cNvPr>
          <p:cNvSpPr>
            <a:spLocks noGrp="1"/>
          </p:cNvSpPr>
          <p:nvPr>
            <p:ph type="body" sz="quarter" idx="42" hasCustomPrompt="1"/>
          </p:nvPr>
        </p:nvSpPr>
        <p:spPr>
          <a:xfrm>
            <a:off x="4255657" y="5842337"/>
            <a:ext cx="3723337"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3" name="Text Placeholder 49">
            <a:extLst>
              <a:ext uri="{FF2B5EF4-FFF2-40B4-BE49-F238E27FC236}">
                <a16:creationId xmlns:a16="http://schemas.microsoft.com/office/drawing/2014/main" id="{0C915E70-527B-2AB2-C329-FA9644031B6C}"/>
              </a:ext>
            </a:extLst>
          </p:cNvPr>
          <p:cNvSpPr>
            <a:spLocks noGrp="1"/>
          </p:cNvSpPr>
          <p:nvPr>
            <p:ph type="body" sz="quarter" idx="43" hasCustomPrompt="1"/>
          </p:nvPr>
        </p:nvSpPr>
        <p:spPr>
          <a:xfrm>
            <a:off x="4275397" y="5553488"/>
            <a:ext cx="3700114" cy="282497"/>
          </a:xfrm>
        </p:spPr>
        <p:txBody>
          <a:bodyPr>
            <a:normAutofit/>
          </a:bodyPr>
          <a:lstStyle>
            <a:lvl1pPr algn="ctr">
              <a:defRPr sz="1400" b="1">
                <a:solidFill>
                  <a:schemeClr val="tx1"/>
                </a:solidFill>
              </a:defRPr>
            </a:lvl1pPr>
          </a:lstStyle>
          <a:p>
            <a:pPr lvl="0"/>
            <a:r>
              <a:rPr lang="en-US"/>
              <a:t>Lorem ipsum dolor</a:t>
            </a:r>
          </a:p>
        </p:txBody>
      </p:sp>
      <p:sp>
        <p:nvSpPr>
          <p:cNvPr id="84" name="Text Placeholder 49">
            <a:extLst>
              <a:ext uri="{FF2B5EF4-FFF2-40B4-BE49-F238E27FC236}">
                <a16:creationId xmlns:a16="http://schemas.microsoft.com/office/drawing/2014/main" id="{B7A09BF4-6950-69B1-FB99-D389462E5C02}"/>
              </a:ext>
            </a:extLst>
          </p:cNvPr>
          <p:cNvSpPr>
            <a:spLocks noGrp="1"/>
          </p:cNvSpPr>
          <p:nvPr>
            <p:ph type="body" sz="quarter" idx="30" hasCustomPrompt="1"/>
          </p:nvPr>
        </p:nvSpPr>
        <p:spPr>
          <a:xfrm>
            <a:off x="7542481" y="4724400"/>
            <a:ext cx="3723337" cy="438839"/>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5" name="Text Placeholder 49">
            <a:extLst>
              <a:ext uri="{FF2B5EF4-FFF2-40B4-BE49-F238E27FC236}">
                <a16:creationId xmlns:a16="http://schemas.microsoft.com/office/drawing/2014/main" id="{11FA15C5-97F8-1D45-BB15-B5A38E53BED3}"/>
              </a:ext>
            </a:extLst>
          </p:cNvPr>
          <p:cNvSpPr>
            <a:spLocks noGrp="1"/>
          </p:cNvSpPr>
          <p:nvPr>
            <p:ph type="body" sz="quarter" idx="31" hasCustomPrompt="1"/>
          </p:nvPr>
        </p:nvSpPr>
        <p:spPr>
          <a:xfrm>
            <a:off x="7562221" y="4441903"/>
            <a:ext cx="3700114" cy="282497"/>
          </a:xfrm>
        </p:spPr>
        <p:txBody>
          <a:bodyPr>
            <a:normAutofit/>
          </a:bodyPr>
          <a:lstStyle>
            <a:lvl1pPr algn="r">
              <a:defRPr sz="1400" b="1">
                <a:solidFill>
                  <a:schemeClr val="tx1"/>
                </a:solidFill>
              </a:defRPr>
            </a:lvl1pPr>
          </a:lstStyle>
          <a:p>
            <a:pPr lvl="0"/>
            <a:r>
              <a:rPr lang="en-US"/>
              <a:t>Lorem ipsum dolor</a:t>
            </a:r>
          </a:p>
        </p:txBody>
      </p:sp>
      <p:sp>
        <p:nvSpPr>
          <p:cNvPr id="86" name="Text Placeholder 49">
            <a:extLst>
              <a:ext uri="{FF2B5EF4-FFF2-40B4-BE49-F238E27FC236}">
                <a16:creationId xmlns:a16="http://schemas.microsoft.com/office/drawing/2014/main" id="{7200DE18-6B0A-5801-B166-EF0D6DCDCF57}"/>
              </a:ext>
            </a:extLst>
          </p:cNvPr>
          <p:cNvSpPr>
            <a:spLocks noGrp="1"/>
          </p:cNvSpPr>
          <p:nvPr>
            <p:ph type="body" sz="quarter" idx="32" hasCustomPrompt="1"/>
          </p:nvPr>
        </p:nvSpPr>
        <p:spPr>
          <a:xfrm>
            <a:off x="7542481" y="3870249"/>
            <a:ext cx="3723337" cy="399846"/>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7" name="Text Placeholder 49">
            <a:extLst>
              <a:ext uri="{FF2B5EF4-FFF2-40B4-BE49-F238E27FC236}">
                <a16:creationId xmlns:a16="http://schemas.microsoft.com/office/drawing/2014/main" id="{0EC0D076-98B0-EEB6-0464-83EADADE0BE9}"/>
              </a:ext>
            </a:extLst>
          </p:cNvPr>
          <p:cNvSpPr>
            <a:spLocks noGrp="1"/>
          </p:cNvSpPr>
          <p:nvPr>
            <p:ph type="body" sz="quarter" idx="33" hasCustomPrompt="1"/>
          </p:nvPr>
        </p:nvSpPr>
        <p:spPr>
          <a:xfrm>
            <a:off x="7562221" y="3581400"/>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Text Placeholder 49">
            <a:extLst>
              <a:ext uri="{FF2B5EF4-FFF2-40B4-BE49-F238E27FC236}">
                <a16:creationId xmlns:a16="http://schemas.microsoft.com/office/drawing/2014/main" id="{A7912418-3BAA-B594-BE9F-2B5D14A5B0AB}"/>
              </a:ext>
            </a:extLst>
          </p:cNvPr>
          <p:cNvSpPr>
            <a:spLocks noGrp="1"/>
          </p:cNvSpPr>
          <p:nvPr>
            <p:ph type="body" sz="quarter" idx="34" hasCustomPrompt="1"/>
          </p:nvPr>
        </p:nvSpPr>
        <p:spPr>
          <a:xfrm>
            <a:off x="7538998" y="3004363"/>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89" name="Text Placeholder 49">
            <a:extLst>
              <a:ext uri="{FF2B5EF4-FFF2-40B4-BE49-F238E27FC236}">
                <a16:creationId xmlns:a16="http://schemas.microsoft.com/office/drawing/2014/main" id="{FC6A60CD-410C-E829-0813-DCBE42115D41}"/>
              </a:ext>
            </a:extLst>
          </p:cNvPr>
          <p:cNvSpPr>
            <a:spLocks noGrp="1"/>
          </p:cNvSpPr>
          <p:nvPr>
            <p:ph type="body" sz="quarter" idx="35" hasCustomPrompt="1"/>
          </p:nvPr>
        </p:nvSpPr>
        <p:spPr>
          <a:xfrm>
            <a:off x="7558738" y="2715514"/>
            <a:ext cx="3700114" cy="282497"/>
          </a:xfrm>
        </p:spPr>
        <p:txBody>
          <a:bodyPr>
            <a:normAutofit/>
          </a:bodyPr>
          <a:lstStyle>
            <a:lvl1pPr algn="r">
              <a:defRPr sz="1400" b="1">
                <a:solidFill>
                  <a:schemeClr val="tx1"/>
                </a:solidFill>
              </a:defRPr>
            </a:lvl1pPr>
          </a:lstStyle>
          <a:p>
            <a:pPr lvl="0"/>
            <a:r>
              <a:rPr lang="en-US"/>
              <a:t>Lorem ipsum dolor</a:t>
            </a:r>
          </a:p>
        </p:txBody>
      </p:sp>
      <p:sp>
        <p:nvSpPr>
          <p:cNvPr id="90" name="Text Placeholder 49">
            <a:extLst>
              <a:ext uri="{FF2B5EF4-FFF2-40B4-BE49-F238E27FC236}">
                <a16:creationId xmlns:a16="http://schemas.microsoft.com/office/drawing/2014/main" id="{606A7EAF-BDC9-443B-774A-206223D2FD0F}"/>
              </a:ext>
            </a:extLst>
          </p:cNvPr>
          <p:cNvSpPr>
            <a:spLocks noGrp="1"/>
          </p:cNvSpPr>
          <p:nvPr>
            <p:ph type="body" sz="quarter" idx="36" hasCustomPrompt="1"/>
          </p:nvPr>
        </p:nvSpPr>
        <p:spPr>
          <a:xfrm>
            <a:off x="953325" y="4708449"/>
            <a:ext cx="3723337" cy="438839"/>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1" name="Text Placeholder 49">
            <a:extLst>
              <a:ext uri="{FF2B5EF4-FFF2-40B4-BE49-F238E27FC236}">
                <a16:creationId xmlns:a16="http://schemas.microsoft.com/office/drawing/2014/main" id="{4C0AB5AA-5146-0A00-2E37-91CEB47768BA}"/>
              </a:ext>
            </a:extLst>
          </p:cNvPr>
          <p:cNvSpPr>
            <a:spLocks noGrp="1"/>
          </p:cNvSpPr>
          <p:nvPr>
            <p:ph type="body" sz="quarter" idx="37" hasCustomPrompt="1"/>
          </p:nvPr>
        </p:nvSpPr>
        <p:spPr>
          <a:xfrm>
            <a:off x="973065" y="4419600"/>
            <a:ext cx="3700114" cy="282497"/>
          </a:xfrm>
        </p:spPr>
        <p:txBody>
          <a:bodyPr>
            <a:normAutofit/>
          </a:bodyPr>
          <a:lstStyle>
            <a:lvl1pPr algn="l">
              <a:defRPr sz="1400" b="1">
                <a:solidFill>
                  <a:schemeClr val="tx1"/>
                </a:solidFill>
              </a:defRPr>
            </a:lvl1pPr>
          </a:lstStyle>
          <a:p>
            <a:pPr lvl="0"/>
            <a:r>
              <a:rPr lang="en-US"/>
              <a:t>Lorem ipsum dolor</a:t>
            </a:r>
          </a:p>
        </p:txBody>
      </p:sp>
      <p:sp>
        <p:nvSpPr>
          <p:cNvPr id="92" name="Text Placeholder 49">
            <a:extLst>
              <a:ext uri="{FF2B5EF4-FFF2-40B4-BE49-F238E27FC236}">
                <a16:creationId xmlns:a16="http://schemas.microsoft.com/office/drawing/2014/main" id="{5ED40823-424C-C564-F3A7-99CAF47B026F}"/>
              </a:ext>
            </a:extLst>
          </p:cNvPr>
          <p:cNvSpPr>
            <a:spLocks noGrp="1"/>
          </p:cNvSpPr>
          <p:nvPr>
            <p:ph type="body" sz="quarter" idx="38" hasCustomPrompt="1"/>
          </p:nvPr>
        </p:nvSpPr>
        <p:spPr>
          <a:xfrm>
            <a:off x="953325" y="3870249"/>
            <a:ext cx="3723337" cy="388893"/>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3" name="Text Placeholder 49">
            <a:extLst>
              <a:ext uri="{FF2B5EF4-FFF2-40B4-BE49-F238E27FC236}">
                <a16:creationId xmlns:a16="http://schemas.microsoft.com/office/drawing/2014/main" id="{89F421E3-AAAF-E438-F281-9BADFC4FCC24}"/>
              </a:ext>
            </a:extLst>
          </p:cNvPr>
          <p:cNvSpPr>
            <a:spLocks noGrp="1"/>
          </p:cNvSpPr>
          <p:nvPr>
            <p:ph type="body" sz="quarter" idx="39" hasCustomPrompt="1"/>
          </p:nvPr>
        </p:nvSpPr>
        <p:spPr>
          <a:xfrm>
            <a:off x="973065" y="3581400"/>
            <a:ext cx="3700114" cy="282497"/>
          </a:xfrm>
        </p:spPr>
        <p:txBody>
          <a:bodyPr>
            <a:normAutofit/>
          </a:bodyPr>
          <a:lstStyle>
            <a:lvl1pPr algn="l">
              <a:defRPr sz="1400" b="1">
                <a:solidFill>
                  <a:schemeClr val="tx1"/>
                </a:solidFill>
              </a:defRPr>
            </a:lvl1pPr>
          </a:lstStyle>
          <a:p>
            <a:pPr lvl="0"/>
            <a:r>
              <a:rPr lang="en-US"/>
              <a:t>Lorem ipsum dolor</a:t>
            </a:r>
          </a:p>
        </p:txBody>
      </p:sp>
      <p:sp>
        <p:nvSpPr>
          <p:cNvPr id="94" name="Text Placeholder 49">
            <a:extLst>
              <a:ext uri="{FF2B5EF4-FFF2-40B4-BE49-F238E27FC236}">
                <a16:creationId xmlns:a16="http://schemas.microsoft.com/office/drawing/2014/main" id="{0ED5A0C1-96D3-9EE5-138B-F766C9690C37}"/>
              </a:ext>
            </a:extLst>
          </p:cNvPr>
          <p:cNvSpPr>
            <a:spLocks noGrp="1"/>
          </p:cNvSpPr>
          <p:nvPr>
            <p:ph type="body" sz="quarter" idx="40" hasCustomPrompt="1"/>
          </p:nvPr>
        </p:nvSpPr>
        <p:spPr>
          <a:xfrm>
            <a:off x="949842" y="3004363"/>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5" name="Text Placeholder 49">
            <a:extLst>
              <a:ext uri="{FF2B5EF4-FFF2-40B4-BE49-F238E27FC236}">
                <a16:creationId xmlns:a16="http://schemas.microsoft.com/office/drawing/2014/main" id="{D13DF6C5-450A-D74B-B862-3A7F08507244}"/>
              </a:ext>
            </a:extLst>
          </p:cNvPr>
          <p:cNvSpPr>
            <a:spLocks noGrp="1"/>
          </p:cNvSpPr>
          <p:nvPr>
            <p:ph type="body" sz="quarter" idx="41" hasCustomPrompt="1"/>
          </p:nvPr>
        </p:nvSpPr>
        <p:spPr>
          <a:xfrm>
            <a:off x="969582" y="2715514"/>
            <a:ext cx="3700114" cy="282497"/>
          </a:xfrm>
        </p:spPr>
        <p:txBody>
          <a:bodyPr>
            <a:normAutofit/>
          </a:bodyPr>
          <a:lstStyle>
            <a:lvl1pPr algn="l">
              <a:defRPr sz="1400" b="1">
                <a:solidFill>
                  <a:schemeClr val="tx1"/>
                </a:solidFill>
              </a:defRPr>
            </a:lvl1pPr>
          </a:lstStyle>
          <a:p>
            <a:pPr lvl="0"/>
            <a:r>
              <a:rPr lang="en-US"/>
              <a:t>Lorem ipsum dolor</a:t>
            </a:r>
          </a:p>
        </p:txBody>
      </p:sp>
      <p:sp>
        <p:nvSpPr>
          <p:cNvPr id="96" name="Text Placeholder 49">
            <a:extLst>
              <a:ext uri="{FF2B5EF4-FFF2-40B4-BE49-F238E27FC236}">
                <a16:creationId xmlns:a16="http://schemas.microsoft.com/office/drawing/2014/main" id="{B0A1D91E-6F11-6EC1-FC1E-8050A9762F2E}"/>
              </a:ext>
            </a:extLst>
          </p:cNvPr>
          <p:cNvSpPr>
            <a:spLocks noGrp="1"/>
          </p:cNvSpPr>
          <p:nvPr>
            <p:ph type="body" sz="quarter" idx="44" hasCustomPrompt="1"/>
          </p:nvPr>
        </p:nvSpPr>
        <p:spPr>
          <a:xfrm>
            <a:off x="7558738" y="2184904"/>
            <a:ext cx="3723337" cy="452203"/>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7" name="Text Placeholder 49">
            <a:extLst>
              <a:ext uri="{FF2B5EF4-FFF2-40B4-BE49-F238E27FC236}">
                <a16:creationId xmlns:a16="http://schemas.microsoft.com/office/drawing/2014/main" id="{39DC607D-9F3F-8EC7-4105-17F449F87D94}"/>
              </a:ext>
            </a:extLst>
          </p:cNvPr>
          <p:cNvSpPr>
            <a:spLocks noGrp="1"/>
          </p:cNvSpPr>
          <p:nvPr>
            <p:ph type="body" sz="quarter" idx="45" hasCustomPrompt="1"/>
          </p:nvPr>
        </p:nvSpPr>
        <p:spPr>
          <a:xfrm>
            <a:off x="7578478" y="1896055"/>
            <a:ext cx="3700114" cy="282497"/>
          </a:xfrm>
        </p:spPr>
        <p:txBody>
          <a:bodyPr>
            <a:normAutofit/>
          </a:bodyPr>
          <a:lstStyle>
            <a:lvl1pPr algn="r">
              <a:defRPr sz="1400" b="1">
                <a:solidFill>
                  <a:schemeClr val="tx1"/>
                </a:solidFill>
              </a:defRPr>
            </a:lvl1pPr>
          </a:lstStyle>
          <a:p>
            <a:pPr lvl="0"/>
            <a:r>
              <a:rPr lang="en-US"/>
              <a:t>Lorem ipsum dolor</a:t>
            </a:r>
          </a:p>
        </p:txBody>
      </p:sp>
      <p:sp>
        <p:nvSpPr>
          <p:cNvPr id="98" name="Text Placeholder 49">
            <a:extLst>
              <a:ext uri="{FF2B5EF4-FFF2-40B4-BE49-F238E27FC236}">
                <a16:creationId xmlns:a16="http://schemas.microsoft.com/office/drawing/2014/main" id="{8BD4C518-88B0-DC06-8DED-A09B16909563}"/>
              </a:ext>
            </a:extLst>
          </p:cNvPr>
          <p:cNvSpPr>
            <a:spLocks noGrp="1"/>
          </p:cNvSpPr>
          <p:nvPr>
            <p:ph type="body" sz="quarter" idx="46" hasCustomPrompt="1"/>
          </p:nvPr>
        </p:nvSpPr>
        <p:spPr>
          <a:xfrm>
            <a:off x="969582" y="2184904"/>
            <a:ext cx="3723337" cy="391737"/>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99" name="Text Placeholder 49">
            <a:extLst>
              <a:ext uri="{FF2B5EF4-FFF2-40B4-BE49-F238E27FC236}">
                <a16:creationId xmlns:a16="http://schemas.microsoft.com/office/drawing/2014/main" id="{05822F8E-1160-C4A7-2E86-3DA6FDBD048A}"/>
              </a:ext>
            </a:extLst>
          </p:cNvPr>
          <p:cNvSpPr>
            <a:spLocks noGrp="1"/>
          </p:cNvSpPr>
          <p:nvPr>
            <p:ph type="body" sz="quarter" idx="47" hasCustomPrompt="1"/>
          </p:nvPr>
        </p:nvSpPr>
        <p:spPr>
          <a:xfrm>
            <a:off x="989322" y="1896055"/>
            <a:ext cx="3700114" cy="282497"/>
          </a:xfrm>
        </p:spPr>
        <p:txBody>
          <a:bodyPr>
            <a:normAutofit/>
          </a:bodyPr>
          <a:lstStyle>
            <a:lvl1pPr algn="l">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21139568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4189064C-0A44-4657-9615-5AB7444DA03C}"/>
              </a:ext>
            </a:extLst>
          </p:cNvPr>
          <p:cNvSpPr>
            <a:spLocks noGrp="1"/>
          </p:cNvSpPr>
          <p:nvPr>
            <p:ph type="sldNum" sz="quarter" idx="10"/>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403179233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n point deca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en points - dec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 name="Slide Number Placeholder 4">
            <a:extLst>
              <a:ext uri="{FF2B5EF4-FFF2-40B4-BE49-F238E27FC236}">
                <a16:creationId xmlns:a16="http://schemas.microsoft.com/office/drawing/2014/main" id="{570F4A7E-C7FB-65E1-69C4-B3E8135DB648}"/>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10" name="Group 9">
            <a:extLst>
              <a:ext uri="{FF2B5EF4-FFF2-40B4-BE49-F238E27FC236}">
                <a16:creationId xmlns:a16="http://schemas.microsoft.com/office/drawing/2014/main" id="{E3170512-149A-D4D5-5E0C-97A44A053741}"/>
              </a:ext>
            </a:extLst>
          </p:cNvPr>
          <p:cNvGrpSpPr/>
          <p:nvPr userDrawn="1"/>
        </p:nvGrpSpPr>
        <p:grpSpPr>
          <a:xfrm>
            <a:off x="815975" y="1981200"/>
            <a:ext cx="10620375" cy="4315589"/>
            <a:chOff x="815975" y="1758106"/>
            <a:chExt cx="10620375" cy="4315589"/>
          </a:xfrm>
        </p:grpSpPr>
        <p:cxnSp>
          <p:nvCxnSpPr>
            <p:cNvPr id="84" name="Straight Connector 83">
              <a:extLst>
                <a:ext uri="{FF2B5EF4-FFF2-40B4-BE49-F238E27FC236}">
                  <a16:creationId xmlns:a16="http://schemas.microsoft.com/office/drawing/2014/main" id="{E5331291-98E3-7D4F-E32F-031AF48159CE}"/>
                </a:ext>
              </a:extLst>
            </p:cNvPr>
            <p:cNvCxnSpPr>
              <a:cxnSpLocks/>
            </p:cNvCxnSpPr>
            <p:nvPr/>
          </p:nvCxnSpPr>
          <p:spPr>
            <a:xfrm flipV="1">
              <a:off x="6132569" y="1758106"/>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3230932-05C9-ED4E-9584-F23447F49698}"/>
                </a:ext>
              </a:extLst>
            </p:cNvPr>
            <p:cNvCxnSpPr>
              <a:cxnSpLocks/>
            </p:cNvCxnSpPr>
            <p:nvPr/>
          </p:nvCxnSpPr>
          <p:spPr>
            <a:xfrm>
              <a:off x="6631904" y="2589014"/>
              <a:ext cx="4804446"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7619380-E496-8BD9-230B-99FCC7523897}"/>
                </a:ext>
              </a:extLst>
            </p:cNvPr>
            <p:cNvCxnSpPr>
              <a:cxnSpLocks/>
            </p:cNvCxnSpPr>
            <p:nvPr userDrawn="1"/>
          </p:nvCxnSpPr>
          <p:spPr>
            <a:xfrm flipH="1">
              <a:off x="815975" y="2574983"/>
              <a:ext cx="48502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8938FFE-5D9D-F936-BF2B-568D6F6B5E1A}"/>
                </a:ext>
              </a:extLst>
            </p:cNvPr>
            <p:cNvCxnSpPr>
              <a:cxnSpLocks/>
            </p:cNvCxnSpPr>
            <p:nvPr/>
          </p:nvCxnSpPr>
          <p:spPr>
            <a:xfrm>
              <a:off x="6995461" y="432027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944027A-1E3A-1FC4-215C-A3874CD5AB8D}"/>
                </a:ext>
              </a:extLst>
            </p:cNvPr>
            <p:cNvCxnSpPr>
              <a:cxnSpLocks/>
            </p:cNvCxnSpPr>
            <p:nvPr/>
          </p:nvCxnSpPr>
          <p:spPr>
            <a:xfrm flipH="1">
              <a:off x="815975" y="430624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DEA02A4-95AD-2C09-8DF2-DF6CCB812D96}"/>
                </a:ext>
              </a:extLst>
            </p:cNvPr>
            <p:cNvCxnSpPr>
              <a:cxnSpLocks/>
            </p:cNvCxnSpPr>
            <p:nvPr/>
          </p:nvCxnSpPr>
          <p:spPr>
            <a:xfrm>
              <a:off x="6995461" y="342900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87CD107-10D7-DE67-5A43-97AC3D76A050}"/>
                </a:ext>
              </a:extLst>
            </p:cNvPr>
            <p:cNvCxnSpPr>
              <a:cxnSpLocks/>
            </p:cNvCxnSpPr>
            <p:nvPr/>
          </p:nvCxnSpPr>
          <p:spPr>
            <a:xfrm flipH="1">
              <a:off x="815975" y="341496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507E4E-F8EA-304D-84A8-E4D371677BC9}"/>
                </a:ext>
              </a:extLst>
            </p:cNvPr>
            <p:cNvCxnSpPr>
              <a:cxnSpLocks/>
            </p:cNvCxnSpPr>
            <p:nvPr/>
          </p:nvCxnSpPr>
          <p:spPr>
            <a:xfrm>
              <a:off x="6995461" y="528896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B2C5F5A-C803-42FB-B347-9AF6A22D381D}"/>
                </a:ext>
              </a:extLst>
            </p:cNvPr>
            <p:cNvCxnSpPr>
              <a:cxnSpLocks/>
            </p:cNvCxnSpPr>
            <p:nvPr/>
          </p:nvCxnSpPr>
          <p:spPr>
            <a:xfrm flipH="1">
              <a:off x="815975" y="527493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2B3FF93-FD2E-BF36-D431-8925EFFE1373}"/>
                </a:ext>
              </a:extLst>
            </p:cNvPr>
            <p:cNvCxnSpPr>
              <a:cxnSpLocks/>
            </p:cNvCxnSpPr>
            <p:nvPr/>
          </p:nvCxnSpPr>
          <p:spPr>
            <a:xfrm>
              <a:off x="6125454" y="4978305"/>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0496373-8968-936C-FC1B-43DF5260210D}"/>
                </a:ext>
              </a:extLst>
            </p:cNvPr>
            <p:cNvGrpSpPr/>
            <p:nvPr/>
          </p:nvGrpSpPr>
          <p:grpSpPr>
            <a:xfrm>
              <a:off x="4087766" y="1918988"/>
              <a:ext cx="4080234" cy="3920433"/>
              <a:chOff x="6180767" y="3313445"/>
              <a:chExt cx="1473777" cy="1416057"/>
            </a:xfrm>
          </p:grpSpPr>
          <p:sp>
            <p:nvSpPr>
              <p:cNvPr id="64" name="Freeform 63">
                <a:extLst>
                  <a:ext uri="{FF2B5EF4-FFF2-40B4-BE49-F238E27FC236}">
                    <a16:creationId xmlns:a16="http://schemas.microsoft.com/office/drawing/2014/main" id="{92C7A649-37D3-C9DF-07CC-EC9DDA6BDFA0}"/>
                  </a:ext>
                </a:extLst>
              </p:cNvPr>
              <p:cNvSpPr/>
              <p:nvPr/>
            </p:nvSpPr>
            <p:spPr>
              <a:xfrm>
                <a:off x="7025922" y="4204381"/>
                <a:ext cx="474455" cy="510924"/>
              </a:xfrm>
              <a:custGeom>
                <a:avLst/>
                <a:gdLst>
                  <a:gd name="connsiteX0" fmla="*/ 0 w 474455"/>
                  <a:gd name="connsiteY0" fmla="*/ 75946 h 510924"/>
                  <a:gd name="connsiteX1" fmla="*/ 141302 w 474455"/>
                  <a:gd name="connsiteY1" fmla="*/ 510925 h 510924"/>
                  <a:gd name="connsiteX2" fmla="*/ 474456 w 474455"/>
                  <a:gd name="connsiteY2" fmla="*/ 268820 h 510924"/>
                  <a:gd name="connsiteX3" fmla="*/ 104526 w 474455"/>
                  <a:gd name="connsiteY3" fmla="*/ 0 h 510924"/>
                  <a:gd name="connsiteX4" fmla="*/ 0 w 474455"/>
                  <a:gd name="connsiteY4" fmla="*/ 75946 h 510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55" h="510924">
                    <a:moveTo>
                      <a:pt x="0" y="75946"/>
                    </a:moveTo>
                    <a:lnTo>
                      <a:pt x="141302" y="510925"/>
                    </a:lnTo>
                    <a:lnTo>
                      <a:pt x="474456" y="268820"/>
                    </a:lnTo>
                    <a:lnTo>
                      <a:pt x="104526" y="0"/>
                    </a:lnTo>
                    <a:lnTo>
                      <a:pt x="0" y="75946"/>
                    </a:lnTo>
                    <a:close/>
                  </a:path>
                </a:pathLst>
              </a:custGeom>
              <a:solidFill>
                <a:srgbClr val="66C3EB"/>
              </a:solidFill>
              <a:ln w="6992" cap="flat">
                <a:noFill/>
                <a:prstDash val="solid"/>
                <a:miter/>
              </a:ln>
            </p:spPr>
            <p:txBody>
              <a:bodyPr rtlCol="0" anchor="ctr"/>
              <a:lstStyle/>
              <a:p>
                <a:endParaRPr lang="en-GB" sz="1400"/>
              </a:p>
            </p:txBody>
          </p:sp>
          <p:sp>
            <p:nvSpPr>
              <p:cNvPr id="65" name="Freeform 64">
                <a:extLst>
                  <a:ext uri="{FF2B5EF4-FFF2-40B4-BE49-F238E27FC236}">
                    <a16:creationId xmlns:a16="http://schemas.microsoft.com/office/drawing/2014/main" id="{0AE14F2D-E487-02B7-0BA9-9A3D0FD15A4A}"/>
                  </a:ext>
                </a:extLst>
              </p:cNvPr>
              <p:cNvSpPr/>
              <p:nvPr/>
            </p:nvSpPr>
            <p:spPr>
              <a:xfrm>
                <a:off x="6180767" y="3606880"/>
                <a:ext cx="497178" cy="391690"/>
              </a:xfrm>
              <a:custGeom>
                <a:avLst/>
                <a:gdLst>
                  <a:gd name="connsiteX0" fmla="*/ 497179 w 497178"/>
                  <a:gd name="connsiteY0" fmla="*/ 268820 h 391690"/>
                  <a:gd name="connsiteX1" fmla="*/ 127249 w 497178"/>
                  <a:gd name="connsiteY1" fmla="*/ 0 h 391690"/>
                  <a:gd name="connsiteX2" fmla="*/ 0 w 497178"/>
                  <a:gd name="connsiteY2" fmla="*/ 391690 h 391690"/>
                  <a:gd name="connsiteX3" fmla="*/ 457257 w 497178"/>
                  <a:gd name="connsiteY3" fmla="*/ 391690 h 391690"/>
                  <a:gd name="connsiteX4" fmla="*/ 497179 w 497178"/>
                  <a:gd name="connsiteY4" fmla="*/ 268820 h 39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178" h="391690">
                    <a:moveTo>
                      <a:pt x="497179" y="268820"/>
                    </a:moveTo>
                    <a:lnTo>
                      <a:pt x="127249" y="0"/>
                    </a:lnTo>
                    <a:lnTo>
                      <a:pt x="0" y="391690"/>
                    </a:lnTo>
                    <a:lnTo>
                      <a:pt x="457257" y="391690"/>
                    </a:lnTo>
                    <a:lnTo>
                      <a:pt x="497179" y="268820"/>
                    </a:lnTo>
                    <a:close/>
                  </a:path>
                </a:pathLst>
              </a:custGeom>
              <a:solidFill>
                <a:srgbClr val="8BC385"/>
              </a:solidFill>
              <a:ln w="6992" cap="flat">
                <a:noFill/>
                <a:prstDash val="solid"/>
                <a:miter/>
              </a:ln>
            </p:spPr>
            <p:txBody>
              <a:bodyPr rtlCol="0" anchor="ctr"/>
              <a:lstStyle/>
              <a:p>
                <a:endParaRPr lang="en-GB" sz="1400"/>
              </a:p>
            </p:txBody>
          </p:sp>
          <p:sp>
            <p:nvSpPr>
              <p:cNvPr id="66" name="Freeform 65">
                <a:extLst>
                  <a:ext uri="{FF2B5EF4-FFF2-40B4-BE49-F238E27FC236}">
                    <a16:creationId xmlns:a16="http://schemas.microsoft.com/office/drawing/2014/main" id="{B48AE4A4-BD52-2D3F-C662-96689334F60D}"/>
                  </a:ext>
                </a:extLst>
              </p:cNvPr>
              <p:cNvSpPr/>
              <p:nvPr/>
            </p:nvSpPr>
            <p:spPr>
              <a:xfrm>
                <a:off x="6335074" y="4204451"/>
                <a:ext cx="474455" cy="510924"/>
              </a:xfrm>
              <a:custGeom>
                <a:avLst/>
                <a:gdLst>
                  <a:gd name="connsiteX0" fmla="*/ 369930 w 474455"/>
                  <a:gd name="connsiteY0" fmla="*/ 0 h 510924"/>
                  <a:gd name="connsiteX1" fmla="*/ 0 w 474455"/>
                  <a:gd name="connsiteY1" fmla="*/ 268820 h 510924"/>
                  <a:gd name="connsiteX2" fmla="*/ 333154 w 474455"/>
                  <a:gd name="connsiteY2" fmla="*/ 510925 h 510924"/>
                  <a:gd name="connsiteX3" fmla="*/ 474456 w 474455"/>
                  <a:gd name="connsiteY3" fmla="*/ 75946 h 510924"/>
                  <a:gd name="connsiteX4" fmla="*/ 369930 w 474455"/>
                  <a:gd name="connsiteY4" fmla="*/ 0 h 510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55" h="510924">
                    <a:moveTo>
                      <a:pt x="369930" y="0"/>
                    </a:moveTo>
                    <a:lnTo>
                      <a:pt x="0" y="268820"/>
                    </a:lnTo>
                    <a:lnTo>
                      <a:pt x="333154" y="510925"/>
                    </a:lnTo>
                    <a:lnTo>
                      <a:pt x="474456" y="75946"/>
                    </a:lnTo>
                    <a:lnTo>
                      <a:pt x="369930" y="0"/>
                    </a:lnTo>
                    <a:close/>
                  </a:path>
                </a:pathLst>
              </a:custGeom>
              <a:solidFill>
                <a:schemeClr val="accent6"/>
              </a:solidFill>
              <a:ln w="6992" cap="flat">
                <a:noFill/>
                <a:prstDash val="solid"/>
                <a:miter/>
              </a:ln>
            </p:spPr>
            <p:txBody>
              <a:bodyPr rtlCol="0" anchor="ctr"/>
              <a:lstStyle/>
              <a:p>
                <a:endParaRPr lang="en-GB" sz="1400"/>
              </a:p>
            </p:txBody>
          </p:sp>
          <p:sp>
            <p:nvSpPr>
              <p:cNvPr id="67" name="Freeform 66">
                <a:extLst>
                  <a:ext uri="{FF2B5EF4-FFF2-40B4-BE49-F238E27FC236}">
                    <a16:creationId xmlns:a16="http://schemas.microsoft.com/office/drawing/2014/main" id="{4BD52D89-D59A-CD5A-250A-BB07BAFA5D32}"/>
                  </a:ext>
                </a:extLst>
              </p:cNvPr>
              <p:cNvSpPr/>
              <p:nvPr/>
            </p:nvSpPr>
            <p:spPr>
              <a:xfrm>
                <a:off x="6334934" y="3327641"/>
                <a:ext cx="474455" cy="510924"/>
              </a:xfrm>
              <a:custGeom>
                <a:avLst/>
                <a:gdLst>
                  <a:gd name="connsiteX0" fmla="*/ 474456 w 474455"/>
                  <a:gd name="connsiteY0" fmla="*/ 434978 h 510924"/>
                  <a:gd name="connsiteX1" fmla="*/ 333154 w 474455"/>
                  <a:gd name="connsiteY1" fmla="*/ 0 h 510924"/>
                  <a:gd name="connsiteX2" fmla="*/ 0 w 474455"/>
                  <a:gd name="connsiteY2" fmla="*/ 242105 h 510924"/>
                  <a:gd name="connsiteX3" fmla="*/ 369930 w 474455"/>
                  <a:gd name="connsiteY3" fmla="*/ 510925 h 510924"/>
                  <a:gd name="connsiteX4" fmla="*/ 474456 w 474455"/>
                  <a:gd name="connsiteY4" fmla="*/ 434978 h 510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55" h="510924">
                    <a:moveTo>
                      <a:pt x="474456" y="434978"/>
                    </a:moveTo>
                    <a:lnTo>
                      <a:pt x="333154" y="0"/>
                    </a:lnTo>
                    <a:lnTo>
                      <a:pt x="0" y="242105"/>
                    </a:lnTo>
                    <a:lnTo>
                      <a:pt x="369930" y="510925"/>
                    </a:lnTo>
                    <a:lnTo>
                      <a:pt x="474456" y="434978"/>
                    </a:lnTo>
                    <a:close/>
                  </a:path>
                </a:pathLst>
              </a:custGeom>
              <a:solidFill>
                <a:schemeClr val="accent5"/>
              </a:solidFill>
              <a:ln w="6992" cap="flat">
                <a:noFill/>
                <a:prstDash val="solid"/>
                <a:miter/>
              </a:ln>
            </p:spPr>
            <p:txBody>
              <a:bodyPr rtlCol="0" anchor="ctr"/>
              <a:lstStyle/>
              <a:p>
                <a:endParaRPr lang="en-GB" sz="1400"/>
              </a:p>
            </p:txBody>
          </p:sp>
          <p:sp>
            <p:nvSpPr>
              <p:cNvPr id="68" name="Freeform 67">
                <a:extLst>
                  <a:ext uri="{FF2B5EF4-FFF2-40B4-BE49-F238E27FC236}">
                    <a16:creationId xmlns:a16="http://schemas.microsoft.com/office/drawing/2014/main" id="{2C740016-BB3D-675E-350B-A9CBF2DE6F65}"/>
                  </a:ext>
                </a:extLst>
              </p:cNvPr>
              <p:cNvSpPr/>
              <p:nvPr/>
            </p:nvSpPr>
            <p:spPr>
              <a:xfrm>
                <a:off x="6711716" y="3313445"/>
                <a:ext cx="411810" cy="434978"/>
              </a:xfrm>
              <a:custGeom>
                <a:avLst/>
                <a:gdLst>
                  <a:gd name="connsiteX0" fmla="*/ 270508 w 411810"/>
                  <a:gd name="connsiteY0" fmla="*/ 434978 h 434978"/>
                  <a:gd name="connsiteX1" fmla="*/ 411811 w 411810"/>
                  <a:gd name="connsiteY1" fmla="*/ 0 h 434978"/>
                  <a:gd name="connsiteX2" fmla="*/ 0 w 411810"/>
                  <a:gd name="connsiteY2" fmla="*/ 0 h 434978"/>
                  <a:gd name="connsiteX3" fmla="*/ 141302 w 411810"/>
                  <a:gd name="connsiteY3" fmla="*/ 434978 h 434978"/>
                  <a:gd name="connsiteX4" fmla="*/ 270508 w 411810"/>
                  <a:gd name="connsiteY4" fmla="*/ 434978 h 434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810" h="434978">
                    <a:moveTo>
                      <a:pt x="270508" y="434978"/>
                    </a:moveTo>
                    <a:lnTo>
                      <a:pt x="411811" y="0"/>
                    </a:lnTo>
                    <a:lnTo>
                      <a:pt x="0" y="0"/>
                    </a:lnTo>
                    <a:lnTo>
                      <a:pt x="141302" y="434978"/>
                    </a:lnTo>
                    <a:lnTo>
                      <a:pt x="270508" y="434978"/>
                    </a:lnTo>
                    <a:close/>
                  </a:path>
                </a:pathLst>
              </a:custGeom>
              <a:solidFill>
                <a:schemeClr val="accent4"/>
              </a:solidFill>
              <a:ln w="6992" cap="flat">
                <a:noFill/>
                <a:prstDash val="solid"/>
                <a:miter/>
              </a:ln>
            </p:spPr>
            <p:txBody>
              <a:bodyPr rtlCol="0" anchor="ctr"/>
              <a:lstStyle/>
              <a:p>
                <a:endParaRPr lang="en-GB" sz="1400"/>
              </a:p>
            </p:txBody>
          </p:sp>
          <p:sp>
            <p:nvSpPr>
              <p:cNvPr id="69" name="Freeform 68">
                <a:extLst>
                  <a:ext uri="{FF2B5EF4-FFF2-40B4-BE49-F238E27FC236}">
                    <a16:creationId xmlns:a16="http://schemas.microsoft.com/office/drawing/2014/main" id="{0744935B-D2E7-F36B-6187-DE2265A10D87}"/>
                  </a:ext>
                </a:extLst>
              </p:cNvPr>
              <p:cNvSpPr/>
              <p:nvPr/>
            </p:nvSpPr>
            <p:spPr>
              <a:xfrm>
                <a:off x="7157366" y="4044376"/>
                <a:ext cx="497178" cy="391690"/>
              </a:xfrm>
              <a:custGeom>
                <a:avLst/>
                <a:gdLst>
                  <a:gd name="connsiteX0" fmla="*/ 0 w 497178"/>
                  <a:gd name="connsiteY0" fmla="*/ 122871 h 391690"/>
                  <a:gd name="connsiteX1" fmla="*/ 369930 w 497178"/>
                  <a:gd name="connsiteY1" fmla="*/ 391690 h 391690"/>
                  <a:gd name="connsiteX2" fmla="*/ 497179 w 497178"/>
                  <a:gd name="connsiteY2" fmla="*/ 0 h 391690"/>
                  <a:gd name="connsiteX3" fmla="*/ 39923 w 497178"/>
                  <a:gd name="connsiteY3" fmla="*/ 0 h 391690"/>
                  <a:gd name="connsiteX4" fmla="*/ 0 w 497178"/>
                  <a:gd name="connsiteY4" fmla="*/ 122871 h 39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178" h="391690">
                    <a:moveTo>
                      <a:pt x="0" y="122871"/>
                    </a:moveTo>
                    <a:lnTo>
                      <a:pt x="369930" y="391690"/>
                    </a:lnTo>
                    <a:lnTo>
                      <a:pt x="497179" y="0"/>
                    </a:lnTo>
                    <a:lnTo>
                      <a:pt x="39923" y="0"/>
                    </a:lnTo>
                    <a:lnTo>
                      <a:pt x="0" y="122871"/>
                    </a:lnTo>
                    <a:close/>
                  </a:path>
                </a:pathLst>
              </a:custGeom>
              <a:solidFill>
                <a:schemeClr val="bg2"/>
              </a:solidFill>
              <a:ln w="6992" cap="flat">
                <a:noFill/>
                <a:prstDash val="solid"/>
                <a:miter/>
              </a:ln>
            </p:spPr>
            <p:txBody>
              <a:bodyPr rtlCol="0" anchor="ctr"/>
              <a:lstStyle/>
              <a:p>
                <a:endParaRPr lang="en-GB" sz="1400"/>
              </a:p>
            </p:txBody>
          </p:sp>
          <p:sp>
            <p:nvSpPr>
              <p:cNvPr id="70" name="Freeform 69">
                <a:extLst>
                  <a:ext uri="{FF2B5EF4-FFF2-40B4-BE49-F238E27FC236}">
                    <a16:creationId xmlns:a16="http://schemas.microsoft.com/office/drawing/2014/main" id="{EFF5E4E0-0522-D37B-37EB-DD333EFEAABD}"/>
                  </a:ext>
                </a:extLst>
              </p:cNvPr>
              <p:cNvSpPr/>
              <p:nvPr/>
            </p:nvSpPr>
            <p:spPr>
              <a:xfrm>
                <a:off x="7157366" y="3606740"/>
                <a:ext cx="497178" cy="391760"/>
              </a:xfrm>
              <a:custGeom>
                <a:avLst/>
                <a:gdLst>
                  <a:gd name="connsiteX0" fmla="*/ 39923 w 497178"/>
                  <a:gd name="connsiteY0" fmla="*/ 391760 h 391760"/>
                  <a:gd name="connsiteX1" fmla="*/ 497179 w 497178"/>
                  <a:gd name="connsiteY1" fmla="*/ 391760 h 391760"/>
                  <a:gd name="connsiteX2" fmla="*/ 369930 w 497178"/>
                  <a:gd name="connsiteY2" fmla="*/ 0 h 391760"/>
                  <a:gd name="connsiteX3" fmla="*/ 0 w 497178"/>
                  <a:gd name="connsiteY3" fmla="*/ 268819 h 391760"/>
                  <a:gd name="connsiteX4" fmla="*/ 39923 w 497178"/>
                  <a:gd name="connsiteY4" fmla="*/ 391760 h 391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178" h="391760">
                    <a:moveTo>
                      <a:pt x="39923" y="391760"/>
                    </a:moveTo>
                    <a:lnTo>
                      <a:pt x="497179" y="391760"/>
                    </a:lnTo>
                    <a:lnTo>
                      <a:pt x="369930" y="0"/>
                    </a:lnTo>
                    <a:lnTo>
                      <a:pt x="0" y="268819"/>
                    </a:lnTo>
                    <a:lnTo>
                      <a:pt x="39923" y="391760"/>
                    </a:lnTo>
                    <a:close/>
                  </a:path>
                </a:pathLst>
              </a:custGeom>
              <a:solidFill>
                <a:schemeClr val="accent1"/>
              </a:solidFill>
              <a:ln w="6992" cap="flat">
                <a:noFill/>
                <a:prstDash val="solid"/>
                <a:miter/>
              </a:ln>
            </p:spPr>
            <p:txBody>
              <a:bodyPr rtlCol="0" anchor="ctr"/>
              <a:lstStyle/>
              <a:p>
                <a:endParaRPr lang="en-GB" sz="1400"/>
              </a:p>
            </p:txBody>
          </p:sp>
          <p:sp>
            <p:nvSpPr>
              <p:cNvPr id="71" name="Freeform 70">
                <a:extLst>
                  <a:ext uri="{FF2B5EF4-FFF2-40B4-BE49-F238E27FC236}">
                    <a16:creationId xmlns:a16="http://schemas.microsoft.com/office/drawing/2014/main" id="{5EDEA924-723C-51CF-7A6E-BF00C940DA8A}"/>
                  </a:ext>
                </a:extLst>
              </p:cNvPr>
              <p:cNvSpPr/>
              <p:nvPr/>
            </p:nvSpPr>
            <p:spPr>
              <a:xfrm>
                <a:off x="6180837" y="4044446"/>
                <a:ext cx="497178" cy="391760"/>
              </a:xfrm>
              <a:custGeom>
                <a:avLst/>
                <a:gdLst>
                  <a:gd name="connsiteX0" fmla="*/ 457256 w 497178"/>
                  <a:gd name="connsiteY0" fmla="*/ 0 h 391760"/>
                  <a:gd name="connsiteX1" fmla="*/ 0 w 497178"/>
                  <a:gd name="connsiteY1" fmla="*/ 0 h 391760"/>
                  <a:gd name="connsiteX2" fmla="*/ 127249 w 497178"/>
                  <a:gd name="connsiteY2" fmla="*/ 391760 h 391760"/>
                  <a:gd name="connsiteX3" fmla="*/ 497179 w 497178"/>
                  <a:gd name="connsiteY3" fmla="*/ 122941 h 391760"/>
                  <a:gd name="connsiteX4" fmla="*/ 457256 w 497178"/>
                  <a:gd name="connsiteY4" fmla="*/ 0 h 391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178" h="391760">
                    <a:moveTo>
                      <a:pt x="457256" y="0"/>
                    </a:moveTo>
                    <a:lnTo>
                      <a:pt x="0" y="0"/>
                    </a:lnTo>
                    <a:lnTo>
                      <a:pt x="127249" y="391760"/>
                    </a:lnTo>
                    <a:lnTo>
                      <a:pt x="497179" y="122941"/>
                    </a:lnTo>
                    <a:lnTo>
                      <a:pt x="457256" y="0"/>
                    </a:lnTo>
                    <a:close/>
                  </a:path>
                </a:pathLst>
              </a:custGeom>
              <a:solidFill>
                <a:srgbClr val="98D7F1"/>
              </a:solidFill>
              <a:ln w="6992" cap="flat">
                <a:noFill/>
                <a:prstDash val="solid"/>
                <a:miter/>
              </a:ln>
            </p:spPr>
            <p:txBody>
              <a:bodyPr rtlCol="0" anchor="ctr"/>
              <a:lstStyle/>
              <a:p>
                <a:endParaRPr lang="en-GB" sz="1400"/>
              </a:p>
            </p:txBody>
          </p:sp>
          <p:sp>
            <p:nvSpPr>
              <p:cNvPr id="82" name="Freeform 81">
                <a:extLst>
                  <a:ext uri="{FF2B5EF4-FFF2-40B4-BE49-F238E27FC236}">
                    <a16:creationId xmlns:a16="http://schemas.microsoft.com/office/drawing/2014/main" id="{C1B441DF-B735-B0BF-A00D-416D65502F59}"/>
                  </a:ext>
                </a:extLst>
              </p:cNvPr>
              <p:cNvSpPr/>
              <p:nvPr/>
            </p:nvSpPr>
            <p:spPr>
              <a:xfrm>
                <a:off x="7025852" y="3327571"/>
                <a:ext cx="474455" cy="510924"/>
              </a:xfrm>
              <a:custGeom>
                <a:avLst/>
                <a:gdLst>
                  <a:gd name="connsiteX0" fmla="*/ 104526 w 474455"/>
                  <a:gd name="connsiteY0" fmla="*/ 510925 h 510924"/>
                  <a:gd name="connsiteX1" fmla="*/ 474456 w 474455"/>
                  <a:gd name="connsiteY1" fmla="*/ 242105 h 510924"/>
                  <a:gd name="connsiteX2" fmla="*/ 141302 w 474455"/>
                  <a:gd name="connsiteY2" fmla="*/ 0 h 510924"/>
                  <a:gd name="connsiteX3" fmla="*/ 0 w 474455"/>
                  <a:gd name="connsiteY3" fmla="*/ 434978 h 510924"/>
                  <a:gd name="connsiteX4" fmla="*/ 104526 w 474455"/>
                  <a:gd name="connsiteY4" fmla="*/ 510925 h 510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55" h="510924">
                    <a:moveTo>
                      <a:pt x="104526" y="510925"/>
                    </a:moveTo>
                    <a:lnTo>
                      <a:pt x="474456" y="242105"/>
                    </a:lnTo>
                    <a:lnTo>
                      <a:pt x="141302" y="0"/>
                    </a:lnTo>
                    <a:lnTo>
                      <a:pt x="0" y="434978"/>
                    </a:lnTo>
                    <a:lnTo>
                      <a:pt x="104526" y="510925"/>
                    </a:lnTo>
                    <a:close/>
                  </a:path>
                </a:pathLst>
              </a:custGeom>
              <a:solidFill>
                <a:srgbClr val="B2D7AE"/>
              </a:solidFill>
              <a:ln w="6992" cap="flat">
                <a:noFill/>
                <a:prstDash val="solid"/>
                <a:miter/>
              </a:ln>
            </p:spPr>
            <p:txBody>
              <a:bodyPr rtlCol="0" anchor="ctr"/>
              <a:lstStyle/>
              <a:p>
                <a:endParaRPr lang="en-GB" sz="1400"/>
              </a:p>
            </p:txBody>
          </p:sp>
          <p:sp>
            <p:nvSpPr>
              <p:cNvPr id="83" name="Freeform 82">
                <a:extLst>
                  <a:ext uri="{FF2B5EF4-FFF2-40B4-BE49-F238E27FC236}">
                    <a16:creationId xmlns:a16="http://schemas.microsoft.com/office/drawing/2014/main" id="{BF77877C-BE9B-586A-0DEB-3DCB93EE0D19}"/>
                  </a:ext>
                </a:extLst>
              </p:cNvPr>
              <p:cNvSpPr/>
              <p:nvPr/>
            </p:nvSpPr>
            <p:spPr>
              <a:xfrm>
                <a:off x="6711856" y="4294524"/>
                <a:ext cx="411740" cy="434978"/>
              </a:xfrm>
              <a:custGeom>
                <a:avLst/>
                <a:gdLst>
                  <a:gd name="connsiteX0" fmla="*/ 141302 w 411740"/>
                  <a:gd name="connsiteY0" fmla="*/ 0 h 434978"/>
                  <a:gd name="connsiteX1" fmla="*/ 0 w 411740"/>
                  <a:gd name="connsiteY1" fmla="*/ 434978 h 434978"/>
                  <a:gd name="connsiteX2" fmla="*/ 411740 w 411740"/>
                  <a:gd name="connsiteY2" fmla="*/ 434978 h 434978"/>
                  <a:gd name="connsiteX3" fmla="*/ 270438 w 411740"/>
                  <a:gd name="connsiteY3" fmla="*/ 0 h 434978"/>
                  <a:gd name="connsiteX4" fmla="*/ 141302 w 411740"/>
                  <a:gd name="connsiteY4" fmla="*/ 0 h 434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740" h="434978">
                    <a:moveTo>
                      <a:pt x="141302" y="0"/>
                    </a:moveTo>
                    <a:lnTo>
                      <a:pt x="0" y="434978"/>
                    </a:lnTo>
                    <a:lnTo>
                      <a:pt x="411740" y="434978"/>
                    </a:lnTo>
                    <a:lnTo>
                      <a:pt x="270438" y="0"/>
                    </a:lnTo>
                    <a:lnTo>
                      <a:pt x="141302" y="0"/>
                    </a:lnTo>
                    <a:close/>
                  </a:path>
                </a:pathLst>
              </a:custGeom>
              <a:solidFill>
                <a:schemeClr val="tx2"/>
              </a:solidFill>
              <a:ln w="6992" cap="flat">
                <a:noFill/>
                <a:prstDash val="solid"/>
                <a:miter/>
              </a:ln>
            </p:spPr>
            <p:txBody>
              <a:bodyPr rtlCol="0" anchor="ctr"/>
              <a:lstStyle/>
              <a:p>
                <a:endParaRPr lang="en-GB" sz="1400"/>
              </a:p>
            </p:txBody>
          </p:sp>
        </p:grpSp>
      </p:grpSp>
      <p:sp>
        <p:nvSpPr>
          <p:cNvPr id="87" name="Text Placeholder 49">
            <a:extLst>
              <a:ext uri="{FF2B5EF4-FFF2-40B4-BE49-F238E27FC236}">
                <a16:creationId xmlns:a16="http://schemas.microsoft.com/office/drawing/2014/main" id="{4CEA4CB6-39B5-C389-2AC9-1A20773171C4}"/>
              </a:ext>
            </a:extLst>
          </p:cNvPr>
          <p:cNvSpPr>
            <a:spLocks noGrp="1"/>
          </p:cNvSpPr>
          <p:nvPr>
            <p:ph type="body" sz="quarter" idx="37" hasCustomPrompt="1"/>
          </p:nvPr>
        </p:nvSpPr>
        <p:spPr>
          <a:xfrm>
            <a:off x="973065" y="5250121"/>
            <a:ext cx="3700114" cy="282497"/>
          </a:xfrm>
        </p:spPr>
        <p:txBody>
          <a:bodyPr>
            <a:normAutofit/>
          </a:bodyPr>
          <a:lstStyle>
            <a:lvl1pPr algn="l">
              <a:defRPr sz="1400" b="1">
                <a:solidFill>
                  <a:schemeClr val="tx1"/>
                </a:solidFill>
              </a:defRPr>
            </a:lvl1pPr>
          </a:lstStyle>
          <a:p>
            <a:pPr lvl="0"/>
            <a:r>
              <a:rPr lang="en-US"/>
              <a:t>Lorem ipsum dolor</a:t>
            </a:r>
          </a:p>
        </p:txBody>
      </p:sp>
      <p:sp>
        <p:nvSpPr>
          <p:cNvPr id="89" name="Text Placeholder 49">
            <a:extLst>
              <a:ext uri="{FF2B5EF4-FFF2-40B4-BE49-F238E27FC236}">
                <a16:creationId xmlns:a16="http://schemas.microsoft.com/office/drawing/2014/main" id="{53F41ADC-3A98-14A2-58C0-53F8B0C5BFE0}"/>
              </a:ext>
            </a:extLst>
          </p:cNvPr>
          <p:cNvSpPr>
            <a:spLocks noGrp="1"/>
          </p:cNvSpPr>
          <p:nvPr>
            <p:ph type="body" sz="quarter" idx="39" hasCustomPrompt="1"/>
          </p:nvPr>
        </p:nvSpPr>
        <p:spPr>
          <a:xfrm>
            <a:off x="973065" y="4294642"/>
            <a:ext cx="3700114" cy="282497"/>
          </a:xfrm>
        </p:spPr>
        <p:txBody>
          <a:bodyPr>
            <a:normAutofit/>
          </a:bodyPr>
          <a:lstStyle>
            <a:lvl1pPr algn="l">
              <a:defRPr sz="1400" b="1">
                <a:solidFill>
                  <a:schemeClr val="tx1"/>
                </a:solidFill>
              </a:defRPr>
            </a:lvl1pPr>
          </a:lstStyle>
          <a:p>
            <a:pPr lvl="0"/>
            <a:r>
              <a:rPr lang="en-US"/>
              <a:t>Lorem ipsum dolor</a:t>
            </a:r>
          </a:p>
        </p:txBody>
      </p:sp>
      <p:sp>
        <p:nvSpPr>
          <p:cNvPr id="91" name="Text Placeholder 49">
            <a:extLst>
              <a:ext uri="{FF2B5EF4-FFF2-40B4-BE49-F238E27FC236}">
                <a16:creationId xmlns:a16="http://schemas.microsoft.com/office/drawing/2014/main" id="{5B0153FC-AC53-3F53-0F98-54BB70B6D92E}"/>
              </a:ext>
            </a:extLst>
          </p:cNvPr>
          <p:cNvSpPr>
            <a:spLocks noGrp="1"/>
          </p:cNvSpPr>
          <p:nvPr>
            <p:ph type="body" sz="quarter" idx="41" hasCustomPrompt="1"/>
          </p:nvPr>
        </p:nvSpPr>
        <p:spPr>
          <a:xfrm>
            <a:off x="969582" y="3393814"/>
            <a:ext cx="3700114" cy="282497"/>
          </a:xfrm>
        </p:spPr>
        <p:txBody>
          <a:bodyPr>
            <a:normAutofit/>
          </a:bodyPr>
          <a:lstStyle>
            <a:lvl1pPr algn="l">
              <a:defRPr sz="1400" b="1">
                <a:solidFill>
                  <a:schemeClr val="tx1"/>
                </a:solidFill>
              </a:defRPr>
            </a:lvl1pPr>
          </a:lstStyle>
          <a:p>
            <a:pPr lvl="0"/>
            <a:r>
              <a:rPr lang="en-US"/>
              <a:t>Lorem ipsum dolor</a:t>
            </a:r>
          </a:p>
        </p:txBody>
      </p:sp>
      <p:sp>
        <p:nvSpPr>
          <p:cNvPr id="93" name="Text Placeholder 49">
            <a:extLst>
              <a:ext uri="{FF2B5EF4-FFF2-40B4-BE49-F238E27FC236}">
                <a16:creationId xmlns:a16="http://schemas.microsoft.com/office/drawing/2014/main" id="{95102B20-7028-826A-D72E-C368357BA60B}"/>
              </a:ext>
            </a:extLst>
          </p:cNvPr>
          <p:cNvSpPr>
            <a:spLocks noGrp="1"/>
          </p:cNvSpPr>
          <p:nvPr>
            <p:ph type="body" sz="quarter" idx="47" hasCustomPrompt="1"/>
          </p:nvPr>
        </p:nvSpPr>
        <p:spPr>
          <a:xfrm>
            <a:off x="989322" y="2562005"/>
            <a:ext cx="3700114" cy="282497"/>
          </a:xfrm>
        </p:spPr>
        <p:txBody>
          <a:bodyPr>
            <a:normAutofit/>
          </a:bodyPr>
          <a:lstStyle>
            <a:lvl1pPr algn="l">
              <a:defRPr sz="1400" b="1">
                <a:solidFill>
                  <a:schemeClr val="tx1"/>
                </a:solidFill>
              </a:defRPr>
            </a:lvl1pPr>
          </a:lstStyle>
          <a:p>
            <a:pPr lvl="0"/>
            <a:r>
              <a:rPr lang="en-US" err="1"/>
              <a:t>Lrem</a:t>
            </a:r>
            <a:r>
              <a:rPr lang="en-US"/>
              <a:t> ipsum dolor</a:t>
            </a:r>
          </a:p>
        </p:txBody>
      </p:sp>
      <p:sp>
        <p:nvSpPr>
          <p:cNvPr id="94" name="Text Placeholder 49">
            <a:extLst>
              <a:ext uri="{FF2B5EF4-FFF2-40B4-BE49-F238E27FC236}">
                <a16:creationId xmlns:a16="http://schemas.microsoft.com/office/drawing/2014/main" id="{BA42A653-B113-08EB-FED3-878AA6092FE2}"/>
              </a:ext>
            </a:extLst>
          </p:cNvPr>
          <p:cNvSpPr>
            <a:spLocks noGrp="1"/>
          </p:cNvSpPr>
          <p:nvPr>
            <p:ph type="body" sz="quarter" idx="48" hasCustomPrompt="1"/>
          </p:nvPr>
        </p:nvSpPr>
        <p:spPr>
          <a:xfrm>
            <a:off x="7566527" y="5229511"/>
            <a:ext cx="3700114" cy="282497"/>
          </a:xfrm>
        </p:spPr>
        <p:txBody>
          <a:bodyPr>
            <a:normAutofit/>
          </a:bodyPr>
          <a:lstStyle>
            <a:lvl1pPr algn="r">
              <a:defRPr sz="1400" b="1">
                <a:solidFill>
                  <a:schemeClr val="tx1"/>
                </a:solidFill>
              </a:defRPr>
            </a:lvl1pPr>
          </a:lstStyle>
          <a:p>
            <a:pPr lvl="0"/>
            <a:r>
              <a:rPr lang="en-US"/>
              <a:t>Lorem ipsum dolor</a:t>
            </a:r>
          </a:p>
        </p:txBody>
      </p:sp>
      <p:sp>
        <p:nvSpPr>
          <p:cNvPr id="95" name="Text Placeholder 49">
            <a:extLst>
              <a:ext uri="{FF2B5EF4-FFF2-40B4-BE49-F238E27FC236}">
                <a16:creationId xmlns:a16="http://schemas.microsoft.com/office/drawing/2014/main" id="{10ECA53E-1950-95FC-05F7-724D732F77EC}"/>
              </a:ext>
            </a:extLst>
          </p:cNvPr>
          <p:cNvSpPr>
            <a:spLocks noGrp="1"/>
          </p:cNvSpPr>
          <p:nvPr>
            <p:ph type="body" sz="quarter" idx="49" hasCustomPrompt="1"/>
          </p:nvPr>
        </p:nvSpPr>
        <p:spPr>
          <a:xfrm>
            <a:off x="7566527" y="4274032"/>
            <a:ext cx="3700114" cy="282497"/>
          </a:xfrm>
        </p:spPr>
        <p:txBody>
          <a:bodyPr>
            <a:normAutofit/>
          </a:bodyPr>
          <a:lstStyle>
            <a:lvl1pPr algn="r">
              <a:defRPr sz="1400" b="1">
                <a:solidFill>
                  <a:schemeClr val="tx1"/>
                </a:solidFill>
              </a:defRPr>
            </a:lvl1pPr>
          </a:lstStyle>
          <a:p>
            <a:pPr lvl="0"/>
            <a:r>
              <a:rPr lang="en-US"/>
              <a:t>Lorem ipsum dolor</a:t>
            </a:r>
          </a:p>
        </p:txBody>
      </p:sp>
      <p:sp>
        <p:nvSpPr>
          <p:cNvPr id="96" name="Text Placeholder 49">
            <a:extLst>
              <a:ext uri="{FF2B5EF4-FFF2-40B4-BE49-F238E27FC236}">
                <a16:creationId xmlns:a16="http://schemas.microsoft.com/office/drawing/2014/main" id="{E836F00A-C201-874F-334F-A2050676A403}"/>
              </a:ext>
            </a:extLst>
          </p:cNvPr>
          <p:cNvSpPr>
            <a:spLocks noGrp="1"/>
          </p:cNvSpPr>
          <p:nvPr>
            <p:ph type="body" sz="quarter" idx="50" hasCustomPrompt="1"/>
          </p:nvPr>
        </p:nvSpPr>
        <p:spPr>
          <a:xfrm>
            <a:off x="7563044" y="3373204"/>
            <a:ext cx="3700114" cy="282497"/>
          </a:xfrm>
        </p:spPr>
        <p:txBody>
          <a:bodyPr>
            <a:normAutofit/>
          </a:bodyPr>
          <a:lstStyle>
            <a:lvl1pPr algn="r">
              <a:defRPr sz="1400" b="1">
                <a:solidFill>
                  <a:schemeClr val="tx1"/>
                </a:solidFill>
              </a:defRPr>
            </a:lvl1pPr>
          </a:lstStyle>
          <a:p>
            <a:pPr lvl="0"/>
            <a:r>
              <a:rPr lang="en-US"/>
              <a:t>Lorem ipsum dolor</a:t>
            </a:r>
          </a:p>
        </p:txBody>
      </p:sp>
      <p:sp>
        <p:nvSpPr>
          <p:cNvPr id="97" name="Text Placeholder 49">
            <a:extLst>
              <a:ext uri="{FF2B5EF4-FFF2-40B4-BE49-F238E27FC236}">
                <a16:creationId xmlns:a16="http://schemas.microsoft.com/office/drawing/2014/main" id="{458F1A48-F907-4C04-8C6D-878670F65E1C}"/>
              </a:ext>
            </a:extLst>
          </p:cNvPr>
          <p:cNvSpPr>
            <a:spLocks noGrp="1"/>
          </p:cNvSpPr>
          <p:nvPr>
            <p:ph type="body" sz="quarter" idx="51" hasCustomPrompt="1"/>
          </p:nvPr>
        </p:nvSpPr>
        <p:spPr>
          <a:xfrm>
            <a:off x="7582784" y="2541395"/>
            <a:ext cx="3700114" cy="282497"/>
          </a:xfrm>
        </p:spPr>
        <p:txBody>
          <a:bodyPr>
            <a:normAutofit/>
          </a:bodyPr>
          <a:lstStyle>
            <a:lvl1pPr algn="r">
              <a:defRPr sz="1400" b="1">
                <a:solidFill>
                  <a:schemeClr val="tx1"/>
                </a:solidFill>
              </a:defRPr>
            </a:lvl1pPr>
          </a:lstStyle>
          <a:p>
            <a:pPr lvl="0"/>
            <a:r>
              <a:rPr lang="en-US"/>
              <a:t>Lorem ipsum dolor</a:t>
            </a:r>
          </a:p>
        </p:txBody>
      </p:sp>
      <p:sp>
        <p:nvSpPr>
          <p:cNvPr id="98" name="Text Placeholder 49">
            <a:extLst>
              <a:ext uri="{FF2B5EF4-FFF2-40B4-BE49-F238E27FC236}">
                <a16:creationId xmlns:a16="http://schemas.microsoft.com/office/drawing/2014/main" id="{9A7D9A57-A81F-03BC-8708-043A49F1D9B6}"/>
              </a:ext>
            </a:extLst>
          </p:cNvPr>
          <p:cNvSpPr>
            <a:spLocks noGrp="1"/>
          </p:cNvSpPr>
          <p:nvPr>
            <p:ph type="body" sz="quarter" idx="52" hasCustomPrompt="1"/>
          </p:nvPr>
        </p:nvSpPr>
        <p:spPr>
          <a:xfrm>
            <a:off x="4282512" y="6346903"/>
            <a:ext cx="3700114" cy="282497"/>
          </a:xfrm>
        </p:spPr>
        <p:txBody>
          <a:bodyPr>
            <a:normAutofit/>
          </a:bodyPr>
          <a:lstStyle>
            <a:lvl1pPr algn="ctr">
              <a:defRPr sz="1400" b="1">
                <a:solidFill>
                  <a:schemeClr val="tx1"/>
                </a:solidFill>
              </a:defRPr>
            </a:lvl1pPr>
          </a:lstStyle>
          <a:p>
            <a:pPr lvl="0"/>
            <a:r>
              <a:rPr lang="en-US"/>
              <a:t>Lorem ipsum dolor</a:t>
            </a:r>
          </a:p>
        </p:txBody>
      </p:sp>
      <p:sp>
        <p:nvSpPr>
          <p:cNvPr id="99" name="Text Placeholder 49">
            <a:extLst>
              <a:ext uri="{FF2B5EF4-FFF2-40B4-BE49-F238E27FC236}">
                <a16:creationId xmlns:a16="http://schemas.microsoft.com/office/drawing/2014/main" id="{84A70597-8BD5-998B-5F3C-28750C1C6F95}"/>
              </a:ext>
            </a:extLst>
          </p:cNvPr>
          <p:cNvSpPr>
            <a:spLocks noGrp="1"/>
          </p:cNvSpPr>
          <p:nvPr>
            <p:ph type="body" sz="quarter" idx="53" hasCustomPrompt="1"/>
          </p:nvPr>
        </p:nvSpPr>
        <p:spPr>
          <a:xfrm>
            <a:off x="4282512" y="1676400"/>
            <a:ext cx="3700114" cy="282497"/>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367769915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Eleven point hendeca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Eleven points - hendec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 name="Slide Number Placeholder 4">
            <a:extLst>
              <a:ext uri="{FF2B5EF4-FFF2-40B4-BE49-F238E27FC236}">
                <a16:creationId xmlns:a16="http://schemas.microsoft.com/office/drawing/2014/main" id="{570F4A7E-C7FB-65E1-69C4-B3E8135DB648}"/>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9" name="Group 8">
            <a:extLst>
              <a:ext uri="{FF2B5EF4-FFF2-40B4-BE49-F238E27FC236}">
                <a16:creationId xmlns:a16="http://schemas.microsoft.com/office/drawing/2014/main" id="{0B9329C3-385F-6DE4-9D7A-F6B7FDE5A59E}"/>
              </a:ext>
            </a:extLst>
          </p:cNvPr>
          <p:cNvGrpSpPr/>
          <p:nvPr userDrawn="1"/>
        </p:nvGrpSpPr>
        <p:grpSpPr>
          <a:xfrm>
            <a:off x="815975" y="2284403"/>
            <a:ext cx="10620375" cy="3927508"/>
            <a:chOff x="815975" y="2096857"/>
            <a:chExt cx="10620375" cy="3927508"/>
          </a:xfrm>
        </p:grpSpPr>
        <p:grpSp>
          <p:nvGrpSpPr>
            <p:cNvPr id="20" name="Group 19">
              <a:extLst>
                <a:ext uri="{FF2B5EF4-FFF2-40B4-BE49-F238E27FC236}">
                  <a16:creationId xmlns:a16="http://schemas.microsoft.com/office/drawing/2014/main" id="{A3F99BCE-4195-3DE0-570C-9212BE7069DC}"/>
                </a:ext>
              </a:extLst>
            </p:cNvPr>
            <p:cNvGrpSpPr/>
            <p:nvPr/>
          </p:nvGrpSpPr>
          <p:grpSpPr>
            <a:xfrm>
              <a:off x="815975" y="2825780"/>
              <a:ext cx="10620375" cy="3198585"/>
              <a:chOff x="815975" y="2574983"/>
              <a:chExt cx="10620375" cy="3198585"/>
            </a:xfrm>
          </p:grpSpPr>
          <p:cxnSp>
            <p:nvCxnSpPr>
              <p:cNvPr id="36" name="Straight Connector 35">
                <a:extLst>
                  <a:ext uri="{FF2B5EF4-FFF2-40B4-BE49-F238E27FC236}">
                    <a16:creationId xmlns:a16="http://schemas.microsoft.com/office/drawing/2014/main" id="{35725136-E531-CF68-2245-76FCFD17CFF1}"/>
                  </a:ext>
                </a:extLst>
              </p:cNvPr>
              <p:cNvCxnSpPr>
                <a:cxnSpLocks/>
              </p:cNvCxnSpPr>
              <p:nvPr/>
            </p:nvCxnSpPr>
            <p:spPr>
              <a:xfrm>
                <a:off x="7074161" y="2589014"/>
                <a:ext cx="43621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7305714-22EB-B508-7336-FBD759FA36E9}"/>
                  </a:ext>
                </a:extLst>
              </p:cNvPr>
              <p:cNvCxnSpPr>
                <a:cxnSpLocks/>
              </p:cNvCxnSpPr>
              <p:nvPr/>
            </p:nvCxnSpPr>
            <p:spPr>
              <a:xfrm flipH="1">
                <a:off x="815975" y="2574983"/>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17F464-A4F4-E811-614B-381880DC57E0}"/>
                  </a:ext>
                </a:extLst>
              </p:cNvPr>
              <p:cNvCxnSpPr>
                <a:cxnSpLocks/>
              </p:cNvCxnSpPr>
              <p:nvPr/>
            </p:nvCxnSpPr>
            <p:spPr>
              <a:xfrm>
                <a:off x="6995461" y="418947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4CDDA61-9ED6-17E5-0ABC-DC6F28944D43}"/>
                  </a:ext>
                </a:extLst>
              </p:cNvPr>
              <p:cNvCxnSpPr>
                <a:cxnSpLocks/>
              </p:cNvCxnSpPr>
              <p:nvPr/>
            </p:nvCxnSpPr>
            <p:spPr>
              <a:xfrm flipH="1">
                <a:off x="815975" y="417544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33F366-EE85-25C2-7175-1D37C222BED5}"/>
                  </a:ext>
                </a:extLst>
              </p:cNvPr>
              <p:cNvCxnSpPr>
                <a:cxnSpLocks/>
              </p:cNvCxnSpPr>
              <p:nvPr/>
            </p:nvCxnSpPr>
            <p:spPr>
              <a:xfrm>
                <a:off x="6995461" y="342900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EE515EC-05D7-5AB4-4AD1-98665FA95517}"/>
                  </a:ext>
                </a:extLst>
              </p:cNvPr>
              <p:cNvCxnSpPr>
                <a:cxnSpLocks/>
              </p:cNvCxnSpPr>
              <p:nvPr/>
            </p:nvCxnSpPr>
            <p:spPr>
              <a:xfrm flipH="1">
                <a:off x="815975" y="341496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BF9F3AB-135C-43F1-4A80-12D8F290AF81}"/>
                  </a:ext>
                </a:extLst>
              </p:cNvPr>
              <p:cNvCxnSpPr>
                <a:cxnSpLocks/>
              </p:cNvCxnSpPr>
              <p:nvPr/>
            </p:nvCxnSpPr>
            <p:spPr>
              <a:xfrm>
                <a:off x="6995461" y="4958665"/>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2179E8B-A1A2-1709-48FA-2AAE015BDB0B}"/>
                  </a:ext>
                </a:extLst>
              </p:cNvPr>
              <p:cNvCxnSpPr>
                <a:cxnSpLocks/>
              </p:cNvCxnSpPr>
              <p:nvPr/>
            </p:nvCxnSpPr>
            <p:spPr>
              <a:xfrm flipH="1">
                <a:off x="815975" y="4958665"/>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3F0939-1353-DE8B-DBD4-51A8000013BA}"/>
                  </a:ext>
                </a:extLst>
              </p:cNvPr>
              <p:cNvCxnSpPr>
                <a:cxnSpLocks/>
              </p:cNvCxnSpPr>
              <p:nvPr/>
            </p:nvCxnSpPr>
            <p:spPr>
              <a:xfrm>
                <a:off x="6125454" y="4678178"/>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cxnSp>
          <p:nvCxnSpPr>
            <p:cNvPr id="32" name="Straight Connector 31">
              <a:extLst>
                <a:ext uri="{FF2B5EF4-FFF2-40B4-BE49-F238E27FC236}">
                  <a16:creationId xmlns:a16="http://schemas.microsoft.com/office/drawing/2014/main" id="{670B4507-DE7C-53B3-A195-D8B3C8B6403A}"/>
                </a:ext>
              </a:extLst>
            </p:cNvPr>
            <p:cNvCxnSpPr>
              <a:cxnSpLocks/>
            </p:cNvCxnSpPr>
            <p:nvPr/>
          </p:nvCxnSpPr>
          <p:spPr>
            <a:xfrm>
              <a:off x="6370957" y="2110888"/>
              <a:ext cx="5065393"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B996F0-0A67-54B3-475E-48CACFBB59D8}"/>
                </a:ext>
              </a:extLst>
            </p:cNvPr>
            <p:cNvCxnSpPr>
              <a:cxnSpLocks/>
            </p:cNvCxnSpPr>
            <p:nvPr/>
          </p:nvCxnSpPr>
          <p:spPr>
            <a:xfrm flipH="1">
              <a:off x="815975" y="2096857"/>
              <a:ext cx="500518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sp>
        <p:nvSpPr>
          <p:cNvPr id="54" name="Slide Number Placeholder 4">
            <a:extLst>
              <a:ext uri="{FF2B5EF4-FFF2-40B4-BE49-F238E27FC236}">
                <a16:creationId xmlns:a16="http://schemas.microsoft.com/office/drawing/2014/main" id="{211E56FB-75B8-9EB0-B00C-C34828929A35}"/>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RSM | </a:t>
            </a:r>
            <a:fld id="{D3664AF6-26E3-4378-990F-C4F4E21208D6}" type="slidenum">
              <a:rPr smtClean="0"/>
              <a:pPr/>
              <a:t>‹#›</a:t>
            </a:fld>
            <a:endParaRPr/>
          </a:p>
        </p:txBody>
      </p:sp>
      <p:grpSp>
        <p:nvGrpSpPr>
          <p:cNvPr id="55" name="Content Placeholder 7">
            <a:extLst>
              <a:ext uri="{FF2B5EF4-FFF2-40B4-BE49-F238E27FC236}">
                <a16:creationId xmlns:a16="http://schemas.microsoft.com/office/drawing/2014/main" id="{B7DDEE96-6F16-4C81-B60C-A3F57283D258}"/>
              </a:ext>
            </a:extLst>
          </p:cNvPr>
          <p:cNvGrpSpPr/>
          <p:nvPr userDrawn="1"/>
        </p:nvGrpSpPr>
        <p:grpSpPr>
          <a:xfrm>
            <a:off x="4218265" y="2092019"/>
            <a:ext cx="3764306" cy="3726814"/>
            <a:chOff x="8133966" y="3342746"/>
            <a:chExt cx="1449516" cy="1435079"/>
          </a:xfrm>
          <a:solidFill>
            <a:schemeClr val="bg2"/>
          </a:solidFill>
        </p:grpSpPr>
        <p:sp>
          <p:nvSpPr>
            <p:cNvPr id="56" name="Freeform 55">
              <a:extLst>
                <a:ext uri="{FF2B5EF4-FFF2-40B4-BE49-F238E27FC236}">
                  <a16:creationId xmlns:a16="http://schemas.microsoft.com/office/drawing/2014/main" id="{DFE7BD5F-17A4-61C3-24F2-330DF3048C14}"/>
                </a:ext>
              </a:extLst>
            </p:cNvPr>
            <p:cNvSpPr/>
            <p:nvPr/>
          </p:nvSpPr>
          <p:spPr>
            <a:xfrm>
              <a:off x="8883124" y="3343655"/>
              <a:ext cx="352801" cy="465748"/>
            </a:xfrm>
            <a:custGeom>
              <a:avLst/>
              <a:gdLst>
                <a:gd name="connsiteX0" fmla="*/ 115713 w 352801"/>
                <a:gd name="connsiteY0" fmla="*/ 465749 h 465748"/>
                <a:gd name="connsiteX1" fmla="*/ 352801 w 352801"/>
                <a:gd name="connsiteY1" fmla="*/ 103570 h 465748"/>
                <a:gd name="connsiteX2" fmla="*/ 0 w 352801"/>
                <a:gd name="connsiteY2" fmla="*/ 0 h 465748"/>
                <a:gd name="connsiteX3" fmla="*/ 0 w 352801"/>
                <a:gd name="connsiteY3" fmla="*/ 431762 h 465748"/>
                <a:gd name="connsiteX4" fmla="*/ 115713 w 352801"/>
                <a:gd name="connsiteY4" fmla="*/ 465749 h 465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801" h="465748">
                  <a:moveTo>
                    <a:pt x="115713" y="465749"/>
                  </a:moveTo>
                  <a:lnTo>
                    <a:pt x="352801" y="103570"/>
                  </a:lnTo>
                  <a:lnTo>
                    <a:pt x="0" y="0"/>
                  </a:lnTo>
                  <a:lnTo>
                    <a:pt x="0" y="431762"/>
                  </a:lnTo>
                  <a:lnTo>
                    <a:pt x="115713" y="465749"/>
                  </a:lnTo>
                  <a:close/>
                </a:path>
              </a:pathLst>
            </a:custGeom>
            <a:solidFill>
              <a:schemeClr val="tx2"/>
            </a:solidFill>
            <a:ln w="6992" cap="flat">
              <a:no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05CCD716-645E-E843-2EC4-788C8B4658F5}"/>
                </a:ext>
              </a:extLst>
            </p:cNvPr>
            <p:cNvSpPr/>
            <p:nvPr/>
          </p:nvSpPr>
          <p:spPr>
            <a:xfrm>
              <a:off x="8486346" y="3342746"/>
              <a:ext cx="350913" cy="465189"/>
            </a:xfrm>
            <a:custGeom>
              <a:avLst/>
              <a:gdLst>
                <a:gd name="connsiteX0" fmla="*/ 350913 w 350913"/>
                <a:gd name="connsiteY0" fmla="*/ 431762 h 465189"/>
                <a:gd name="connsiteX1" fmla="*/ 350913 w 350913"/>
                <a:gd name="connsiteY1" fmla="*/ 0 h 465189"/>
                <a:gd name="connsiteX2" fmla="*/ 0 w 350913"/>
                <a:gd name="connsiteY2" fmla="*/ 103010 h 465189"/>
                <a:gd name="connsiteX3" fmla="*/ 237088 w 350913"/>
                <a:gd name="connsiteY3" fmla="*/ 465189 h 465189"/>
                <a:gd name="connsiteX4" fmla="*/ 350913 w 350913"/>
                <a:gd name="connsiteY4" fmla="*/ 431762 h 465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13" h="465189">
                  <a:moveTo>
                    <a:pt x="350913" y="431762"/>
                  </a:moveTo>
                  <a:lnTo>
                    <a:pt x="350913" y="0"/>
                  </a:lnTo>
                  <a:lnTo>
                    <a:pt x="0" y="103010"/>
                  </a:lnTo>
                  <a:lnTo>
                    <a:pt x="237088" y="465189"/>
                  </a:lnTo>
                  <a:lnTo>
                    <a:pt x="350913" y="431762"/>
                  </a:lnTo>
                  <a:close/>
                </a:path>
              </a:pathLst>
            </a:custGeom>
            <a:solidFill>
              <a:schemeClr val="accent4"/>
            </a:solidFill>
            <a:ln w="6992"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F697B21A-2805-3000-DC26-619577E0F036}"/>
                </a:ext>
              </a:extLst>
            </p:cNvPr>
            <p:cNvSpPr/>
            <p:nvPr/>
          </p:nvSpPr>
          <p:spPr>
            <a:xfrm>
              <a:off x="9036172" y="3473380"/>
              <a:ext cx="477462" cy="451272"/>
            </a:xfrm>
            <a:custGeom>
              <a:avLst/>
              <a:gdLst>
                <a:gd name="connsiteX0" fmla="*/ 76769 w 477462"/>
                <a:gd name="connsiteY0" fmla="*/ 451273 h 451272"/>
                <a:gd name="connsiteX1" fmla="*/ 477463 w 477462"/>
                <a:gd name="connsiteY1" fmla="*/ 276932 h 451272"/>
                <a:gd name="connsiteX2" fmla="*/ 237508 w 477462"/>
                <a:gd name="connsiteY2" fmla="*/ 0 h 451272"/>
                <a:gd name="connsiteX3" fmla="*/ 0 w 477462"/>
                <a:gd name="connsiteY3" fmla="*/ 362669 h 451272"/>
                <a:gd name="connsiteX4" fmla="*/ 76769 w 477462"/>
                <a:gd name="connsiteY4" fmla="*/ 451273 h 451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462" h="451272">
                  <a:moveTo>
                    <a:pt x="76769" y="451273"/>
                  </a:moveTo>
                  <a:lnTo>
                    <a:pt x="477463" y="276932"/>
                  </a:lnTo>
                  <a:lnTo>
                    <a:pt x="237508" y="0"/>
                  </a:lnTo>
                  <a:lnTo>
                    <a:pt x="0" y="362669"/>
                  </a:lnTo>
                  <a:lnTo>
                    <a:pt x="76769" y="451273"/>
                  </a:lnTo>
                  <a:close/>
                </a:path>
              </a:pathLst>
            </a:custGeom>
            <a:solidFill>
              <a:schemeClr val="bg2"/>
            </a:solidFill>
            <a:ln w="6992"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0370945A-738D-6B46-EDC0-D14B3996D134}"/>
                </a:ext>
              </a:extLst>
            </p:cNvPr>
            <p:cNvSpPr/>
            <p:nvPr/>
          </p:nvSpPr>
          <p:spPr>
            <a:xfrm>
              <a:off x="8203113" y="3469463"/>
              <a:ext cx="481377" cy="455818"/>
            </a:xfrm>
            <a:custGeom>
              <a:avLst/>
              <a:gdLst>
                <a:gd name="connsiteX0" fmla="*/ 481378 w 481377"/>
                <a:gd name="connsiteY0" fmla="*/ 362669 h 455818"/>
                <a:gd name="connsiteX1" fmla="*/ 243869 w 481377"/>
                <a:gd name="connsiteY1" fmla="*/ 0 h 455818"/>
                <a:gd name="connsiteX2" fmla="*/ 0 w 481377"/>
                <a:gd name="connsiteY2" fmla="*/ 281477 h 455818"/>
                <a:gd name="connsiteX3" fmla="*/ 400623 w 481377"/>
                <a:gd name="connsiteY3" fmla="*/ 455818 h 455818"/>
                <a:gd name="connsiteX4" fmla="*/ 481378 w 481377"/>
                <a:gd name="connsiteY4" fmla="*/ 362669 h 455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377" h="455818">
                  <a:moveTo>
                    <a:pt x="481378" y="362669"/>
                  </a:moveTo>
                  <a:lnTo>
                    <a:pt x="243869" y="0"/>
                  </a:lnTo>
                  <a:lnTo>
                    <a:pt x="0" y="281477"/>
                  </a:lnTo>
                  <a:lnTo>
                    <a:pt x="400623" y="455818"/>
                  </a:lnTo>
                  <a:lnTo>
                    <a:pt x="481378" y="362669"/>
                  </a:lnTo>
                  <a:close/>
                </a:path>
              </a:pathLst>
            </a:custGeom>
            <a:solidFill>
              <a:srgbClr val="8BC385"/>
            </a:solidFill>
            <a:ln w="6992"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2BFBE72C-5077-0BC1-8153-7946669C806D}"/>
                </a:ext>
              </a:extLst>
            </p:cNvPr>
            <p:cNvSpPr/>
            <p:nvPr/>
          </p:nvSpPr>
          <p:spPr>
            <a:xfrm>
              <a:off x="9130560" y="3792620"/>
              <a:ext cx="452921" cy="362878"/>
            </a:xfrm>
            <a:custGeom>
              <a:avLst/>
              <a:gdLst>
                <a:gd name="connsiteX0" fmla="*/ 16850 w 452921"/>
                <a:gd name="connsiteY0" fmla="*/ 291687 h 362878"/>
                <a:gd name="connsiteX1" fmla="*/ 452922 w 452921"/>
                <a:gd name="connsiteY1" fmla="*/ 362878 h 362878"/>
                <a:gd name="connsiteX2" fmla="*/ 400764 w 452921"/>
                <a:gd name="connsiteY2" fmla="*/ 0 h 362878"/>
                <a:gd name="connsiteX3" fmla="*/ 0 w 452921"/>
                <a:gd name="connsiteY3" fmla="*/ 174411 h 362878"/>
                <a:gd name="connsiteX4" fmla="*/ 16850 w 452921"/>
                <a:gd name="connsiteY4" fmla="*/ 291687 h 36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921" h="362878">
                  <a:moveTo>
                    <a:pt x="16850" y="291687"/>
                  </a:moveTo>
                  <a:lnTo>
                    <a:pt x="452922" y="362878"/>
                  </a:lnTo>
                  <a:lnTo>
                    <a:pt x="400764" y="0"/>
                  </a:lnTo>
                  <a:lnTo>
                    <a:pt x="0" y="174411"/>
                  </a:lnTo>
                  <a:lnTo>
                    <a:pt x="16850" y="291687"/>
                  </a:lnTo>
                  <a:close/>
                </a:path>
              </a:pathLst>
            </a:custGeom>
            <a:solidFill>
              <a:schemeClr val="tx1"/>
            </a:solidFill>
            <a:ln w="6992"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0A9FFCD8-F1E2-3094-1152-88B873CBBE5C}"/>
                </a:ext>
              </a:extLst>
            </p:cNvPr>
            <p:cNvSpPr/>
            <p:nvPr/>
          </p:nvSpPr>
          <p:spPr>
            <a:xfrm>
              <a:off x="8962900" y="4267390"/>
              <a:ext cx="433484" cy="499036"/>
            </a:xfrm>
            <a:custGeom>
              <a:avLst/>
              <a:gdLst>
                <a:gd name="connsiteX0" fmla="*/ 0 w 433484"/>
                <a:gd name="connsiteY0" fmla="*/ 64967 h 499036"/>
                <a:gd name="connsiteX1" fmla="*/ 120537 w 433484"/>
                <a:gd name="connsiteY1" fmla="*/ 499036 h 499036"/>
                <a:gd name="connsiteX2" fmla="*/ 433485 w 433484"/>
                <a:gd name="connsiteY2" fmla="*/ 297911 h 499036"/>
                <a:gd name="connsiteX3" fmla="*/ 101100 w 433484"/>
                <a:gd name="connsiteY3" fmla="*/ 0 h 499036"/>
                <a:gd name="connsiteX4" fmla="*/ 0 w 433484"/>
                <a:gd name="connsiteY4" fmla="*/ 64967 h 499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484" h="499036">
                  <a:moveTo>
                    <a:pt x="0" y="64967"/>
                  </a:moveTo>
                  <a:lnTo>
                    <a:pt x="120537" y="499036"/>
                  </a:lnTo>
                  <a:lnTo>
                    <a:pt x="433485" y="297911"/>
                  </a:lnTo>
                  <a:lnTo>
                    <a:pt x="101100" y="0"/>
                  </a:lnTo>
                  <a:lnTo>
                    <a:pt x="0" y="64967"/>
                  </a:lnTo>
                  <a:close/>
                </a:path>
              </a:pathLst>
            </a:custGeom>
            <a:solidFill>
              <a:schemeClr val="accent5"/>
            </a:solidFill>
            <a:ln w="6992"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063B7A7F-0D77-0B6F-9E84-7813875597CA}"/>
                </a:ext>
              </a:extLst>
            </p:cNvPr>
            <p:cNvSpPr/>
            <p:nvPr/>
          </p:nvSpPr>
          <p:spPr>
            <a:xfrm>
              <a:off x="8674493" y="4345994"/>
              <a:ext cx="364476" cy="431831"/>
            </a:xfrm>
            <a:custGeom>
              <a:avLst/>
              <a:gdLst>
                <a:gd name="connsiteX0" fmla="*/ 119908 w 364476"/>
                <a:gd name="connsiteY0" fmla="*/ 0 h 431831"/>
                <a:gd name="connsiteX1" fmla="*/ 0 w 364476"/>
                <a:gd name="connsiteY1" fmla="*/ 431832 h 431831"/>
                <a:gd name="connsiteX2" fmla="*/ 364477 w 364476"/>
                <a:gd name="connsiteY2" fmla="*/ 431832 h 431831"/>
                <a:gd name="connsiteX3" fmla="*/ 244569 w 364476"/>
                <a:gd name="connsiteY3" fmla="*/ 0 h 431831"/>
                <a:gd name="connsiteX4" fmla="*/ 119908 w 364476"/>
                <a:gd name="connsiteY4" fmla="*/ 0 h 431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476" h="431831">
                  <a:moveTo>
                    <a:pt x="119908" y="0"/>
                  </a:moveTo>
                  <a:lnTo>
                    <a:pt x="0" y="431832"/>
                  </a:lnTo>
                  <a:lnTo>
                    <a:pt x="364477" y="431832"/>
                  </a:lnTo>
                  <a:lnTo>
                    <a:pt x="244569" y="0"/>
                  </a:lnTo>
                  <a:lnTo>
                    <a:pt x="119908" y="0"/>
                  </a:lnTo>
                  <a:close/>
                </a:path>
              </a:pathLst>
            </a:custGeom>
            <a:solidFill>
              <a:srgbClr val="009CDE"/>
            </a:solidFill>
            <a:ln w="6992"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D1FF5A6E-5D19-F668-3969-641977355DC2}"/>
                </a:ext>
              </a:extLst>
            </p:cNvPr>
            <p:cNvSpPr/>
            <p:nvPr/>
          </p:nvSpPr>
          <p:spPr>
            <a:xfrm>
              <a:off x="8141096" y="4128225"/>
              <a:ext cx="484734" cy="404278"/>
            </a:xfrm>
            <a:custGeom>
              <a:avLst/>
              <a:gdLst>
                <a:gd name="connsiteX0" fmla="*/ 436352 w 484734"/>
                <a:gd name="connsiteY0" fmla="*/ 0 h 404278"/>
                <a:gd name="connsiteX1" fmla="*/ 0 w 484734"/>
                <a:gd name="connsiteY1" fmla="*/ 71261 h 404278"/>
                <a:gd name="connsiteX2" fmla="*/ 152069 w 484734"/>
                <a:gd name="connsiteY2" fmla="*/ 404278 h 404278"/>
                <a:gd name="connsiteX3" fmla="*/ 484734 w 484734"/>
                <a:gd name="connsiteY3" fmla="*/ 106017 h 404278"/>
                <a:gd name="connsiteX4" fmla="*/ 436352 w 484734"/>
                <a:gd name="connsiteY4" fmla="*/ 0 h 4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4" h="404278">
                  <a:moveTo>
                    <a:pt x="436352" y="0"/>
                  </a:moveTo>
                  <a:lnTo>
                    <a:pt x="0" y="71261"/>
                  </a:lnTo>
                  <a:lnTo>
                    <a:pt x="152069" y="404278"/>
                  </a:lnTo>
                  <a:lnTo>
                    <a:pt x="484734" y="106017"/>
                  </a:lnTo>
                  <a:lnTo>
                    <a:pt x="436352" y="0"/>
                  </a:lnTo>
                  <a:close/>
                </a:path>
              </a:pathLst>
            </a:custGeom>
            <a:solidFill>
              <a:srgbClr val="66C3EB"/>
            </a:solidFill>
            <a:ln w="6992"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0C00AB37-72C3-EE72-4B00-B1C8518D3DB7}"/>
                </a:ext>
              </a:extLst>
            </p:cNvPr>
            <p:cNvSpPr/>
            <p:nvPr/>
          </p:nvSpPr>
          <p:spPr>
            <a:xfrm>
              <a:off x="8323440" y="4268999"/>
              <a:ext cx="427751" cy="495399"/>
            </a:xfrm>
            <a:custGeom>
              <a:avLst/>
              <a:gdLst>
                <a:gd name="connsiteX0" fmla="*/ 332385 w 427751"/>
                <a:gd name="connsiteY0" fmla="*/ 0 h 495399"/>
                <a:gd name="connsiteX1" fmla="*/ 0 w 427751"/>
                <a:gd name="connsiteY1" fmla="*/ 297911 h 495399"/>
                <a:gd name="connsiteX2" fmla="*/ 307144 w 427751"/>
                <a:gd name="connsiteY2" fmla="*/ 495400 h 495399"/>
                <a:gd name="connsiteX3" fmla="*/ 427751 w 427751"/>
                <a:gd name="connsiteY3" fmla="*/ 61331 h 495399"/>
                <a:gd name="connsiteX4" fmla="*/ 332385 w 427751"/>
                <a:gd name="connsiteY4" fmla="*/ 0 h 495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751" h="495399">
                  <a:moveTo>
                    <a:pt x="332385" y="0"/>
                  </a:moveTo>
                  <a:lnTo>
                    <a:pt x="0" y="297911"/>
                  </a:lnTo>
                  <a:lnTo>
                    <a:pt x="307144" y="495400"/>
                  </a:lnTo>
                  <a:lnTo>
                    <a:pt x="427751" y="61331"/>
                  </a:lnTo>
                  <a:lnTo>
                    <a:pt x="332385" y="0"/>
                  </a:lnTo>
                  <a:close/>
                </a:path>
              </a:pathLst>
            </a:custGeom>
            <a:solidFill>
              <a:srgbClr val="B2D7AE"/>
            </a:solidFill>
            <a:ln w="6992"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144FA1BB-6542-4F83-F41D-E375789455A4}"/>
                </a:ext>
              </a:extLst>
            </p:cNvPr>
            <p:cNvSpPr/>
            <p:nvPr/>
          </p:nvSpPr>
          <p:spPr>
            <a:xfrm>
              <a:off x="8133966" y="3793460"/>
              <a:ext cx="452641" cy="360710"/>
            </a:xfrm>
            <a:custGeom>
              <a:avLst/>
              <a:gdLst>
                <a:gd name="connsiteX0" fmla="*/ 452642 w 452641"/>
                <a:gd name="connsiteY0" fmla="*/ 174411 h 360710"/>
                <a:gd name="connsiteX1" fmla="*/ 51808 w 452641"/>
                <a:gd name="connsiteY1" fmla="*/ 0 h 360710"/>
                <a:gd name="connsiteX2" fmla="*/ 0 w 452641"/>
                <a:gd name="connsiteY2" fmla="*/ 360710 h 360710"/>
                <a:gd name="connsiteX3" fmla="*/ 436072 w 452641"/>
                <a:gd name="connsiteY3" fmla="*/ 289519 h 360710"/>
                <a:gd name="connsiteX4" fmla="*/ 452642 w 452641"/>
                <a:gd name="connsiteY4" fmla="*/ 174411 h 360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641" h="360710">
                  <a:moveTo>
                    <a:pt x="452642" y="174411"/>
                  </a:moveTo>
                  <a:lnTo>
                    <a:pt x="51808" y="0"/>
                  </a:lnTo>
                  <a:lnTo>
                    <a:pt x="0" y="360710"/>
                  </a:lnTo>
                  <a:lnTo>
                    <a:pt x="436072" y="289519"/>
                  </a:lnTo>
                  <a:lnTo>
                    <a:pt x="452642" y="174411"/>
                  </a:lnTo>
                  <a:close/>
                </a:path>
              </a:pathLst>
            </a:custGeom>
            <a:solidFill>
              <a:srgbClr val="34A798"/>
            </a:solidFill>
            <a:ln w="6992"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04464898-F0D2-042F-5C31-B41BFA2E71D6}"/>
                </a:ext>
              </a:extLst>
            </p:cNvPr>
            <p:cNvSpPr/>
            <p:nvPr/>
          </p:nvSpPr>
          <p:spPr>
            <a:xfrm>
              <a:off x="9092666" y="4129484"/>
              <a:ext cx="482915" cy="400222"/>
            </a:xfrm>
            <a:custGeom>
              <a:avLst/>
              <a:gdLst>
                <a:gd name="connsiteX0" fmla="*/ 46564 w 482915"/>
                <a:gd name="connsiteY0" fmla="*/ 0 h 400222"/>
                <a:gd name="connsiteX1" fmla="*/ 0 w 482915"/>
                <a:gd name="connsiteY1" fmla="*/ 102031 h 400222"/>
                <a:gd name="connsiteX2" fmla="*/ 332734 w 482915"/>
                <a:gd name="connsiteY2" fmla="*/ 400222 h 400222"/>
                <a:gd name="connsiteX3" fmla="*/ 482916 w 482915"/>
                <a:gd name="connsiteY3" fmla="*/ 71261 h 400222"/>
                <a:gd name="connsiteX4" fmla="*/ 46564 w 482915"/>
                <a:gd name="connsiteY4" fmla="*/ 0 h 400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15" h="400222">
                  <a:moveTo>
                    <a:pt x="46564" y="0"/>
                  </a:moveTo>
                  <a:lnTo>
                    <a:pt x="0" y="102031"/>
                  </a:lnTo>
                  <a:lnTo>
                    <a:pt x="332734" y="400222"/>
                  </a:lnTo>
                  <a:lnTo>
                    <a:pt x="482916" y="71261"/>
                  </a:lnTo>
                  <a:lnTo>
                    <a:pt x="46564" y="0"/>
                  </a:lnTo>
                  <a:close/>
                </a:path>
              </a:pathLst>
            </a:custGeom>
            <a:solidFill>
              <a:srgbClr val="98D7F1"/>
            </a:solidFill>
            <a:ln w="6992" cap="flat">
              <a:noFill/>
              <a:prstDash val="solid"/>
              <a:miter/>
            </a:ln>
          </p:spPr>
          <p:txBody>
            <a:bodyPr rtlCol="0" anchor="ctr"/>
            <a:lstStyle/>
            <a:p>
              <a:endParaRPr lang="en-GB"/>
            </a:p>
          </p:txBody>
        </p:sp>
      </p:grpSp>
      <p:sp>
        <p:nvSpPr>
          <p:cNvPr id="80" name="Text Placeholder 49">
            <a:extLst>
              <a:ext uri="{FF2B5EF4-FFF2-40B4-BE49-F238E27FC236}">
                <a16:creationId xmlns:a16="http://schemas.microsoft.com/office/drawing/2014/main" id="{2E3ABBD5-F15B-F62C-AB07-2EDBA6F27F26}"/>
              </a:ext>
            </a:extLst>
          </p:cNvPr>
          <p:cNvSpPr>
            <a:spLocks noGrp="1"/>
          </p:cNvSpPr>
          <p:nvPr>
            <p:ph type="body" sz="quarter" idx="37" hasCustomPrompt="1"/>
          </p:nvPr>
        </p:nvSpPr>
        <p:spPr>
          <a:xfrm>
            <a:off x="973065" y="5173921"/>
            <a:ext cx="3700114" cy="282497"/>
          </a:xfrm>
        </p:spPr>
        <p:txBody>
          <a:bodyPr>
            <a:normAutofit/>
          </a:bodyPr>
          <a:lstStyle>
            <a:lvl1pPr algn="l">
              <a:defRPr sz="1400" b="1">
                <a:solidFill>
                  <a:schemeClr val="tx1"/>
                </a:solidFill>
              </a:defRPr>
            </a:lvl1pPr>
          </a:lstStyle>
          <a:p>
            <a:pPr lvl="0"/>
            <a:r>
              <a:rPr lang="en-US"/>
              <a:t>Lorem ipsum dolor</a:t>
            </a:r>
          </a:p>
        </p:txBody>
      </p:sp>
      <p:sp>
        <p:nvSpPr>
          <p:cNvPr id="81" name="Text Placeholder 49">
            <a:extLst>
              <a:ext uri="{FF2B5EF4-FFF2-40B4-BE49-F238E27FC236}">
                <a16:creationId xmlns:a16="http://schemas.microsoft.com/office/drawing/2014/main" id="{9BEFD52F-1194-D68A-B4DE-880B499CD958}"/>
              </a:ext>
            </a:extLst>
          </p:cNvPr>
          <p:cNvSpPr>
            <a:spLocks noGrp="1"/>
          </p:cNvSpPr>
          <p:nvPr>
            <p:ph type="body" sz="quarter" idx="39" hasCustomPrompt="1"/>
          </p:nvPr>
        </p:nvSpPr>
        <p:spPr>
          <a:xfrm>
            <a:off x="973065" y="4364010"/>
            <a:ext cx="3700114" cy="282497"/>
          </a:xfrm>
        </p:spPr>
        <p:txBody>
          <a:bodyPr>
            <a:normAutofit/>
          </a:bodyPr>
          <a:lstStyle>
            <a:lvl1pPr algn="l">
              <a:defRPr sz="1400" b="1">
                <a:solidFill>
                  <a:schemeClr val="tx1"/>
                </a:solidFill>
              </a:defRPr>
            </a:lvl1pPr>
          </a:lstStyle>
          <a:p>
            <a:pPr lvl="0"/>
            <a:r>
              <a:rPr lang="en-US"/>
              <a:t>Lorem ipsum dolor</a:t>
            </a:r>
          </a:p>
        </p:txBody>
      </p:sp>
      <p:sp>
        <p:nvSpPr>
          <p:cNvPr id="86" name="Text Placeholder 49">
            <a:extLst>
              <a:ext uri="{FF2B5EF4-FFF2-40B4-BE49-F238E27FC236}">
                <a16:creationId xmlns:a16="http://schemas.microsoft.com/office/drawing/2014/main" id="{B39AA180-5DAC-569A-BAF8-993DA77E396C}"/>
              </a:ext>
            </a:extLst>
          </p:cNvPr>
          <p:cNvSpPr>
            <a:spLocks noGrp="1"/>
          </p:cNvSpPr>
          <p:nvPr>
            <p:ph type="body" sz="quarter" idx="41" hasCustomPrompt="1"/>
          </p:nvPr>
        </p:nvSpPr>
        <p:spPr>
          <a:xfrm>
            <a:off x="969582" y="3603703"/>
            <a:ext cx="3700114" cy="282497"/>
          </a:xfrm>
        </p:spPr>
        <p:txBody>
          <a:bodyPr>
            <a:normAutofit/>
          </a:bodyPr>
          <a:lstStyle>
            <a:lvl1pPr algn="l">
              <a:defRPr sz="1400" b="1">
                <a:solidFill>
                  <a:schemeClr val="tx1"/>
                </a:solidFill>
              </a:defRPr>
            </a:lvl1pPr>
          </a:lstStyle>
          <a:p>
            <a:pPr lvl="0"/>
            <a:r>
              <a:rPr lang="en-US"/>
              <a:t>Lorem ipsum dolor</a:t>
            </a:r>
          </a:p>
        </p:txBody>
      </p:sp>
      <p:sp>
        <p:nvSpPr>
          <p:cNvPr id="87" name="Text Placeholder 49">
            <a:extLst>
              <a:ext uri="{FF2B5EF4-FFF2-40B4-BE49-F238E27FC236}">
                <a16:creationId xmlns:a16="http://schemas.microsoft.com/office/drawing/2014/main" id="{960CCFD6-A2D8-297D-305F-1FC5DCDAF44B}"/>
              </a:ext>
            </a:extLst>
          </p:cNvPr>
          <p:cNvSpPr>
            <a:spLocks noGrp="1"/>
          </p:cNvSpPr>
          <p:nvPr>
            <p:ph type="body" sz="quarter" idx="47" hasCustomPrompt="1"/>
          </p:nvPr>
        </p:nvSpPr>
        <p:spPr>
          <a:xfrm>
            <a:off x="989322" y="2765503"/>
            <a:ext cx="3700114" cy="282497"/>
          </a:xfrm>
        </p:spPr>
        <p:txBody>
          <a:bodyPr>
            <a:normAutofit/>
          </a:bodyPr>
          <a:lstStyle>
            <a:lvl1pPr algn="l">
              <a:defRPr sz="1400" b="1">
                <a:solidFill>
                  <a:schemeClr val="tx1"/>
                </a:solidFill>
              </a:defRPr>
            </a:lvl1pPr>
          </a:lstStyle>
          <a:p>
            <a:pPr lvl="0"/>
            <a:r>
              <a:rPr lang="en-US"/>
              <a:t>Lorem ipsum dolor</a:t>
            </a:r>
          </a:p>
        </p:txBody>
      </p:sp>
      <p:sp>
        <p:nvSpPr>
          <p:cNvPr id="88" name="Text Placeholder 49">
            <a:extLst>
              <a:ext uri="{FF2B5EF4-FFF2-40B4-BE49-F238E27FC236}">
                <a16:creationId xmlns:a16="http://schemas.microsoft.com/office/drawing/2014/main" id="{A9DD4528-120E-6977-DA86-B38CE387C9B4}"/>
              </a:ext>
            </a:extLst>
          </p:cNvPr>
          <p:cNvSpPr>
            <a:spLocks noGrp="1"/>
          </p:cNvSpPr>
          <p:nvPr>
            <p:ph type="body" sz="quarter" idx="48" hasCustomPrompt="1"/>
          </p:nvPr>
        </p:nvSpPr>
        <p:spPr>
          <a:xfrm>
            <a:off x="7566527" y="5153311"/>
            <a:ext cx="3700114" cy="282497"/>
          </a:xfrm>
        </p:spPr>
        <p:txBody>
          <a:bodyPr>
            <a:normAutofit/>
          </a:bodyPr>
          <a:lstStyle>
            <a:lvl1pPr algn="r">
              <a:defRPr sz="1400" b="1">
                <a:solidFill>
                  <a:schemeClr val="tx1"/>
                </a:solidFill>
              </a:defRPr>
            </a:lvl1pPr>
          </a:lstStyle>
          <a:p>
            <a:pPr lvl="0"/>
            <a:r>
              <a:rPr lang="en-US"/>
              <a:t>Lorem ipsum dolor</a:t>
            </a:r>
          </a:p>
        </p:txBody>
      </p:sp>
      <p:sp>
        <p:nvSpPr>
          <p:cNvPr id="89" name="Text Placeholder 49">
            <a:extLst>
              <a:ext uri="{FF2B5EF4-FFF2-40B4-BE49-F238E27FC236}">
                <a16:creationId xmlns:a16="http://schemas.microsoft.com/office/drawing/2014/main" id="{6FC00BB6-227D-B96E-6179-CFC5A145BA82}"/>
              </a:ext>
            </a:extLst>
          </p:cNvPr>
          <p:cNvSpPr>
            <a:spLocks noGrp="1"/>
          </p:cNvSpPr>
          <p:nvPr>
            <p:ph type="body" sz="quarter" idx="49" hasCustomPrompt="1"/>
          </p:nvPr>
        </p:nvSpPr>
        <p:spPr>
          <a:xfrm>
            <a:off x="7566527" y="4343400"/>
            <a:ext cx="3700114" cy="282497"/>
          </a:xfrm>
        </p:spPr>
        <p:txBody>
          <a:bodyPr>
            <a:normAutofit/>
          </a:bodyPr>
          <a:lstStyle>
            <a:lvl1pPr algn="r">
              <a:defRPr sz="1400" b="1">
                <a:solidFill>
                  <a:schemeClr val="tx1"/>
                </a:solidFill>
              </a:defRPr>
            </a:lvl1pPr>
          </a:lstStyle>
          <a:p>
            <a:pPr lvl="0"/>
            <a:r>
              <a:rPr lang="en-US"/>
              <a:t>Lorem ipsum dolor</a:t>
            </a:r>
          </a:p>
        </p:txBody>
      </p:sp>
      <p:sp>
        <p:nvSpPr>
          <p:cNvPr id="90" name="Text Placeholder 49">
            <a:extLst>
              <a:ext uri="{FF2B5EF4-FFF2-40B4-BE49-F238E27FC236}">
                <a16:creationId xmlns:a16="http://schemas.microsoft.com/office/drawing/2014/main" id="{0B50E3C4-604A-FF1A-AFE4-4B927A83FD67}"/>
              </a:ext>
            </a:extLst>
          </p:cNvPr>
          <p:cNvSpPr>
            <a:spLocks noGrp="1"/>
          </p:cNvSpPr>
          <p:nvPr>
            <p:ph type="body" sz="quarter" idx="50" hasCustomPrompt="1"/>
          </p:nvPr>
        </p:nvSpPr>
        <p:spPr>
          <a:xfrm>
            <a:off x="7563044" y="3603703"/>
            <a:ext cx="3700114" cy="282497"/>
          </a:xfrm>
        </p:spPr>
        <p:txBody>
          <a:bodyPr>
            <a:normAutofit/>
          </a:bodyPr>
          <a:lstStyle>
            <a:lvl1pPr algn="r">
              <a:defRPr sz="1400" b="1">
                <a:solidFill>
                  <a:schemeClr val="tx1"/>
                </a:solidFill>
              </a:defRPr>
            </a:lvl1pPr>
          </a:lstStyle>
          <a:p>
            <a:pPr lvl="0"/>
            <a:r>
              <a:rPr lang="en-US"/>
              <a:t>Lorem ipsum dolor</a:t>
            </a:r>
          </a:p>
        </p:txBody>
      </p:sp>
      <p:sp>
        <p:nvSpPr>
          <p:cNvPr id="91" name="Text Placeholder 49">
            <a:extLst>
              <a:ext uri="{FF2B5EF4-FFF2-40B4-BE49-F238E27FC236}">
                <a16:creationId xmlns:a16="http://schemas.microsoft.com/office/drawing/2014/main" id="{447EDD5D-67B0-31C7-1636-60766567CEB7}"/>
              </a:ext>
            </a:extLst>
          </p:cNvPr>
          <p:cNvSpPr>
            <a:spLocks noGrp="1"/>
          </p:cNvSpPr>
          <p:nvPr>
            <p:ph type="body" sz="quarter" idx="51" hasCustomPrompt="1"/>
          </p:nvPr>
        </p:nvSpPr>
        <p:spPr>
          <a:xfrm>
            <a:off x="7582784" y="2765503"/>
            <a:ext cx="3700114" cy="282497"/>
          </a:xfrm>
        </p:spPr>
        <p:txBody>
          <a:bodyPr>
            <a:normAutofit/>
          </a:bodyPr>
          <a:lstStyle>
            <a:lvl1pPr algn="r">
              <a:defRPr sz="1400" b="1">
                <a:solidFill>
                  <a:schemeClr val="tx1"/>
                </a:solidFill>
              </a:defRPr>
            </a:lvl1pPr>
          </a:lstStyle>
          <a:p>
            <a:pPr lvl="0"/>
            <a:r>
              <a:rPr lang="en-US"/>
              <a:t>Lorem ipsum dolor</a:t>
            </a:r>
          </a:p>
        </p:txBody>
      </p:sp>
      <p:sp>
        <p:nvSpPr>
          <p:cNvPr id="92" name="Text Placeholder 49">
            <a:extLst>
              <a:ext uri="{FF2B5EF4-FFF2-40B4-BE49-F238E27FC236}">
                <a16:creationId xmlns:a16="http://schemas.microsoft.com/office/drawing/2014/main" id="{69573B6D-9BA0-CB54-79B8-28238787C0ED}"/>
              </a:ext>
            </a:extLst>
          </p:cNvPr>
          <p:cNvSpPr>
            <a:spLocks noGrp="1"/>
          </p:cNvSpPr>
          <p:nvPr>
            <p:ph type="body" sz="quarter" idx="52" hasCustomPrompt="1"/>
          </p:nvPr>
        </p:nvSpPr>
        <p:spPr>
          <a:xfrm>
            <a:off x="4282512" y="6270703"/>
            <a:ext cx="3700114" cy="282497"/>
          </a:xfrm>
        </p:spPr>
        <p:txBody>
          <a:bodyPr>
            <a:normAutofit/>
          </a:bodyPr>
          <a:lstStyle>
            <a:lvl1pPr algn="ctr">
              <a:defRPr sz="1400" b="1">
                <a:solidFill>
                  <a:schemeClr val="tx1"/>
                </a:solidFill>
              </a:defRPr>
            </a:lvl1pPr>
          </a:lstStyle>
          <a:p>
            <a:pPr lvl="0"/>
            <a:r>
              <a:rPr lang="en-US"/>
              <a:t>Lorem ipsum dolor</a:t>
            </a:r>
          </a:p>
        </p:txBody>
      </p:sp>
      <p:sp>
        <p:nvSpPr>
          <p:cNvPr id="93" name="Text Placeholder 49">
            <a:extLst>
              <a:ext uri="{FF2B5EF4-FFF2-40B4-BE49-F238E27FC236}">
                <a16:creationId xmlns:a16="http://schemas.microsoft.com/office/drawing/2014/main" id="{35E1ECFB-6EE9-B188-30ED-20CBEF1CF8F0}"/>
              </a:ext>
            </a:extLst>
          </p:cNvPr>
          <p:cNvSpPr>
            <a:spLocks noGrp="1"/>
          </p:cNvSpPr>
          <p:nvPr>
            <p:ph type="body" sz="quarter" idx="53" hasCustomPrompt="1"/>
          </p:nvPr>
        </p:nvSpPr>
        <p:spPr>
          <a:xfrm>
            <a:off x="969582" y="2037182"/>
            <a:ext cx="3700114" cy="282497"/>
          </a:xfrm>
        </p:spPr>
        <p:txBody>
          <a:bodyPr>
            <a:normAutofit/>
          </a:bodyPr>
          <a:lstStyle>
            <a:lvl1pPr algn="l">
              <a:defRPr sz="1400" b="1">
                <a:solidFill>
                  <a:schemeClr val="tx1"/>
                </a:solidFill>
              </a:defRPr>
            </a:lvl1pPr>
          </a:lstStyle>
          <a:p>
            <a:pPr lvl="0"/>
            <a:r>
              <a:rPr lang="en-US"/>
              <a:t>Lorem ipsum dolor</a:t>
            </a:r>
          </a:p>
        </p:txBody>
      </p:sp>
      <p:sp>
        <p:nvSpPr>
          <p:cNvPr id="94" name="Text Placeholder 49">
            <a:extLst>
              <a:ext uri="{FF2B5EF4-FFF2-40B4-BE49-F238E27FC236}">
                <a16:creationId xmlns:a16="http://schemas.microsoft.com/office/drawing/2014/main" id="{C784EE01-C5C7-092D-FB37-8863D1A6945D}"/>
              </a:ext>
            </a:extLst>
          </p:cNvPr>
          <p:cNvSpPr>
            <a:spLocks noGrp="1"/>
          </p:cNvSpPr>
          <p:nvPr>
            <p:ph type="body" sz="quarter" idx="54" hasCustomPrompt="1"/>
          </p:nvPr>
        </p:nvSpPr>
        <p:spPr>
          <a:xfrm>
            <a:off x="7563044" y="2037182"/>
            <a:ext cx="3700114" cy="282497"/>
          </a:xfrm>
        </p:spPr>
        <p:txBody>
          <a:bodyPr>
            <a:normAutofit/>
          </a:bodyPr>
          <a:lstStyle>
            <a:lvl1pPr algn="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174296983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elve point dodecag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welve points - dodec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0" name="Text Placeholder 49">
            <a:extLst>
              <a:ext uri="{FF2B5EF4-FFF2-40B4-BE49-F238E27FC236}">
                <a16:creationId xmlns:a16="http://schemas.microsoft.com/office/drawing/2014/main" id="{D156CD91-6374-D90A-5F93-40FDDEB59E99}"/>
              </a:ext>
            </a:extLst>
          </p:cNvPr>
          <p:cNvSpPr>
            <a:spLocks noGrp="1"/>
          </p:cNvSpPr>
          <p:nvPr>
            <p:ph type="body" sz="quarter" idx="37" hasCustomPrompt="1"/>
          </p:nvPr>
        </p:nvSpPr>
        <p:spPr>
          <a:xfrm>
            <a:off x="973065" y="5348755"/>
            <a:ext cx="3700114" cy="282497"/>
          </a:xfrm>
        </p:spPr>
        <p:txBody>
          <a:bodyPr>
            <a:normAutofit/>
          </a:bodyPr>
          <a:lstStyle>
            <a:lvl1pPr algn="l">
              <a:defRPr sz="1400" b="1">
                <a:solidFill>
                  <a:schemeClr val="tx1"/>
                </a:solidFill>
              </a:defRPr>
            </a:lvl1pPr>
          </a:lstStyle>
          <a:p>
            <a:pPr lvl="0"/>
            <a:r>
              <a:rPr lang="en-US"/>
              <a:t>Lorem ipsum dolor</a:t>
            </a:r>
          </a:p>
        </p:txBody>
      </p:sp>
      <p:sp>
        <p:nvSpPr>
          <p:cNvPr id="16" name="Text Placeholder 49">
            <a:extLst>
              <a:ext uri="{FF2B5EF4-FFF2-40B4-BE49-F238E27FC236}">
                <a16:creationId xmlns:a16="http://schemas.microsoft.com/office/drawing/2014/main" id="{F69BC0FF-1234-14F3-0579-E28B9BA874D8}"/>
              </a:ext>
            </a:extLst>
          </p:cNvPr>
          <p:cNvSpPr>
            <a:spLocks noGrp="1"/>
          </p:cNvSpPr>
          <p:nvPr>
            <p:ph type="body" sz="quarter" idx="39" hasCustomPrompt="1"/>
          </p:nvPr>
        </p:nvSpPr>
        <p:spPr>
          <a:xfrm>
            <a:off x="973065" y="4538844"/>
            <a:ext cx="3700114" cy="282497"/>
          </a:xfrm>
        </p:spPr>
        <p:txBody>
          <a:bodyPr>
            <a:normAutofit/>
          </a:bodyPr>
          <a:lstStyle>
            <a:lvl1pPr algn="l">
              <a:defRPr sz="1400" b="1">
                <a:solidFill>
                  <a:schemeClr val="tx1"/>
                </a:solidFill>
              </a:defRPr>
            </a:lvl1pPr>
          </a:lstStyle>
          <a:p>
            <a:pPr lvl="0"/>
            <a:r>
              <a:rPr lang="en-US"/>
              <a:t>Lorem ipsum dolor</a:t>
            </a:r>
          </a:p>
        </p:txBody>
      </p:sp>
      <p:sp>
        <p:nvSpPr>
          <p:cNvPr id="17" name="Text Placeholder 49">
            <a:extLst>
              <a:ext uri="{FF2B5EF4-FFF2-40B4-BE49-F238E27FC236}">
                <a16:creationId xmlns:a16="http://schemas.microsoft.com/office/drawing/2014/main" id="{DFAF05AD-BCB3-AAD4-E021-733F16010FC6}"/>
              </a:ext>
            </a:extLst>
          </p:cNvPr>
          <p:cNvSpPr>
            <a:spLocks noGrp="1"/>
          </p:cNvSpPr>
          <p:nvPr>
            <p:ph type="body" sz="quarter" idx="41" hasCustomPrompt="1"/>
          </p:nvPr>
        </p:nvSpPr>
        <p:spPr>
          <a:xfrm>
            <a:off x="969582" y="3778537"/>
            <a:ext cx="3700114" cy="282497"/>
          </a:xfrm>
        </p:spPr>
        <p:txBody>
          <a:bodyPr>
            <a:normAutofit/>
          </a:bodyPr>
          <a:lstStyle>
            <a:lvl1pPr algn="l">
              <a:defRPr sz="1400" b="1">
                <a:solidFill>
                  <a:schemeClr val="tx1"/>
                </a:solidFill>
              </a:defRPr>
            </a:lvl1pPr>
          </a:lstStyle>
          <a:p>
            <a:pPr lvl="0"/>
            <a:r>
              <a:rPr lang="en-US"/>
              <a:t>Lorem ipsum dolor</a:t>
            </a:r>
          </a:p>
        </p:txBody>
      </p:sp>
      <p:sp>
        <p:nvSpPr>
          <p:cNvPr id="18" name="Text Placeholder 49">
            <a:extLst>
              <a:ext uri="{FF2B5EF4-FFF2-40B4-BE49-F238E27FC236}">
                <a16:creationId xmlns:a16="http://schemas.microsoft.com/office/drawing/2014/main" id="{B8B80074-91B0-B220-D188-0CB152E5051C}"/>
              </a:ext>
            </a:extLst>
          </p:cNvPr>
          <p:cNvSpPr>
            <a:spLocks noGrp="1"/>
          </p:cNvSpPr>
          <p:nvPr>
            <p:ph type="body" sz="quarter" idx="47" hasCustomPrompt="1"/>
          </p:nvPr>
        </p:nvSpPr>
        <p:spPr>
          <a:xfrm>
            <a:off x="989322" y="2940337"/>
            <a:ext cx="3700114" cy="282497"/>
          </a:xfrm>
        </p:spPr>
        <p:txBody>
          <a:bodyPr>
            <a:normAutofit/>
          </a:bodyPr>
          <a:lstStyle>
            <a:lvl1pPr algn="l">
              <a:defRPr sz="1400" b="1">
                <a:solidFill>
                  <a:schemeClr val="tx1"/>
                </a:solidFill>
              </a:defRPr>
            </a:lvl1pPr>
          </a:lstStyle>
          <a:p>
            <a:pPr lvl="0"/>
            <a:r>
              <a:rPr lang="en-US"/>
              <a:t>Lorem ipsum dolor</a:t>
            </a:r>
          </a:p>
        </p:txBody>
      </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566527" y="5328145"/>
            <a:ext cx="3700114" cy="282497"/>
          </a:xfrm>
        </p:spPr>
        <p:txBody>
          <a:bodyPr>
            <a:normAutofit/>
          </a:bodyPr>
          <a:lstStyle>
            <a:lvl1pPr algn="r">
              <a:defRPr sz="1400" b="1">
                <a:solidFill>
                  <a:schemeClr val="tx1"/>
                </a:solidFill>
              </a:defRPr>
            </a:lvl1pPr>
          </a:lstStyle>
          <a:p>
            <a:pPr lvl="0"/>
            <a:r>
              <a:rPr lang="en-US"/>
              <a:t>Lorem ipsum dolor</a:t>
            </a:r>
          </a:p>
        </p:txBody>
      </p:sp>
      <p:sp>
        <p:nvSpPr>
          <p:cNvPr id="21" name="Text Placeholder 49">
            <a:extLst>
              <a:ext uri="{FF2B5EF4-FFF2-40B4-BE49-F238E27FC236}">
                <a16:creationId xmlns:a16="http://schemas.microsoft.com/office/drawing/2014/main" id="{07455197-95E1-24DA-03C0-2B3E4F5EE31F}"/>
              </a:ext>
            </a:extLst>
          </p:cNvPr>
          <p:cNvSpPr>
            <a:spLocks noGrp="1"/>
          </p:cNvSpPr>
          <p:nvPr>
            <p:ph type="body" sz="quarter" idx="49" hasCustomPrompt="1"/>
          </p:nvPr>
        </p:nvSpPr>
        <p:spPr>
          <a:xfrm>
            <a:off x="7566527" y="4518234"/>
            <a:ext cx="3700114" cy="282497"/>
          </a:xfrm>
        </p:spPr>
        <p:txBody>
          <a:bodyPr>
            <a:normAutofit/>
          </a:bodyPr>
          <a:lstStyle>
            <a:lvl1pPr algn="r">
              <a:defRPr sz="1400" b="1">
                <a:solidFill>
                  <a:schemeClr val="tx1"/>
                </a:solidFill>
              </a:defRPr>
            </a:lvl1pPr>
          </a:lstStyle>
          <a:p>
            <a:pPr lvl="0"/>
            <a:r>
              <a:rPr lang="en-US"/>
              <a:t>Lorem ipsum dolor</a:t>
            </a:r>
          </a:p>
        </p:txBody>
      </p:sp>
      <p:sp>
        <p:nvSpPr>
          <p:cNvPr id="22" name="Text Placeholder 49">
            <a:extLst>
              <a:ext uri="{FF2B5EF4-FFF2-40B4-BE49-F238E27FC236}">
                <a16:creationId xmlns:a16="http://schemas.microsoft.com/office/drawing/2014/main" id="{BB34F1D8-B948-6421-7956-BE401CDCFE99}"/>
              </a:ext>
            </a:extLst>
          </p:cNvPr>
          <p:cNvSpPr>
            <a:spLocks noGrp="1"/>
          </p:cNvSpPr>
          <p:nvPr>
            <p:ph type="body" sz="quarter" idx="50" hasCustomPrompt="1"/>
          </p:nvPr>
        </p:nvSpPr>
        <p:spPr>
          <a:xfrm>
            <a:off x="7563044" y="3778537"/>
            <a:ext cx="3700114" cy="282497"/>
          </a:xfrm>
        </p:spPr>
        <p:txBody>
          <a:bodyPr>
            <a:normAutofit/>
          </a:bodyPr>
          <a:lstStyle>
            <a:lvl1pPr algn="r">
              <a:defRPr sz="1400" b="1">
                <a:solidFill>
                  <a:schemeClr val="tx1"/>
                </a:solidFill>
              </a:defRPr>
            </a:lvl1pPr>
          </a:lstStyle>
          <a:p>
            <a:pPr lvl="0"/>
            <a:r>
              <a:rPr lang="en-US"/>
              <a:t>Lorem ipsum dolor</a:t>
            </a:r>
          </a:p>
        </p:txBody>
      </p:sp>
      <p:sp>
        <p:nvSpPr>
          <p:cNvPr id="23" name="Text Placeholder 49">
            <a:extLst>
              <a:ext uri="{FF2B5EF4-FFF2-40B4-BE49-F238E27FC236}">
                <a16:creationId xmlns:a16="http://schemas.microsoft.com/office/drawing/2014/main" id="{C5AAB399-0D92-78D1-8BB9-3DEBD81146AC}"/>
              </a:ext>
            </a:extLst>
          </p:cNvPr>
          <p:cNvSpPr>
            <a:spLocks noGrp="1"/>
          </p:cNvSpPr>
          <p:nvPr>
            <p:ph type="body" sz="quarter" idx="51" hasCustomPrompt="1"/>
          </p:nvPr>
        </p:nvSpPr>
        <p:spPr>
          <a:xfrm>
            <a:off x="7582784" y="2940337"/>
            <a:ext cx="3700114" cy="282497"/>
          </a:xfrm>
        </p:spPr>
        <p:txBody>
          <a:bodyPr>
            <a:normAutofit/>
          </a:bodyPr>
          <a:lstStyle>
            <a:lvl1pPr algn="r">
              <a:defRPr sz="1400" b="1">
                <a:solidFill>
                  <a:schemeClr val="tx1"/>
                </a:solidFill>
              </a:defRPr>
            </a:lvl1pPr>
          </a:lstStyle>
          <a:p>
            <a:pPr lvl="0"/>
            <a:r>
              <a:rPr lang="en-US"/>
              <a:t>Lorem ipsum dolor</a:t>
            </a:r>
          </a:p>
        </p:txBody>
      </p:sp>
      <p:sp>
        <p:nvSpPr>
          <p:cNvPr id="24" name="Text Placeholder 49">
            <a:extLst>
              <a:ext uri="{FF2B5EF4-FFF2-40B4-BE49-F238E27FC236}">
                <a16:creationId xmlns:a16="http://schemas.microsoft.com/office/drawing/2014/main" id="{B1CD8054-E3B0-04C0-DD71-85C436DCF617}"/>
              </a:ext>
            </a:extLst>
          </p:cNvPr>
          <p:cNvSpPr>
            <a:spLocks noGrp="1"/>
          </p:cNvSpPr>
          <p:nvPr>
            <p:ph type="body" sz="quarter" idx="53" hasCustomPrompt="1"/>
          </p:nvPr>
        </p:nvSpPr>
        <p:spPr>
          <a:xfrm>
            <a:off x="969582" y="2212016"/>
            <a:ext cx="3700114" cy="282497"/>
          </a:xfrm>
        </p:spPr>
        <p:txBody>
          <a:bodyPr>
            <a:normAutofit/>
          </a:bodyPr>
          <a:lstStyle>
            <a:lvl1pPr algn="l">
              <a:defRPr sz="1400" b="1">
                <a:solidFill>
                  <a:schemeClr val="tx1"/>
                </a:solidFill>
              </a:defRPr>
            </a:lvl1pPr>
          </a:lstStyle>
          <a:p>
            <a:pPr lvl="0"/>
            <a:r>
              <a:rPr lang="en-US"/>
              <a:t>Lorem ipsum dolor</a:t>
            </a:r>
          </a:p>
        </p:txBody>
      </p:sp>
      <p:sp>
        <p:nvSpPr>
          <p:cNvPr id="25" name="Text Placeholder 49">
            <a:extLst>
              <a:ext uri="{FF2B5EF4-FFF2-40B4-BE49-F238E27FC236}">
                <a16:creationId xmlns:a16="http://schemas.microsoft.com/office/drawing/2014/main" id="{045DA7DB-94FC-0A42-5AC0-3CDD6B6F9F2E}"/>
              </a:ext>
            </a:extLst>
          </p:cNvPr>
          <p:cNvSpPr>
            <a:spLocks noGrp="1"/>
          </p:cNvSpPr>
          <p:nvPr>
            <p:ph type="body" sz="quarter" idx="54" hasCustomPrompt="1"/>
          </p:nvPr>
        </p:nvSpPr>
        <p:spPr>
          <a:xfrm>
            <a:off x="7563044" y="2212016"/>
            <a:ext cx="3700114" cy="282497"/>
          </a:xfrm>
        </p:spPr>
        <p:txBody>
          <a:bodyPr>
            <a:normAutofit/>
          </a:bodyPr>
          <a:lstStyle>
            <a:lvl1pPr algn="r">
              <a:defRPr sz="1400" b="1">
                <a:solidFill>
                  <a:schemeClr val="tx1"/>
                </a:solidFill>
              </a:defRPr>
            </a:lvl1pPr>
          </a:lstStyle>
          <a:p>
            <a:pPr lvl="0"/>
            <a:r>
              <a:rPr lang="en-US"/>
              <a:t>Lorem ipsum dolor</a:t>
            </a:r>
          </a:p>
        </p:txBody>
      </p:sp>
      <p:cxnSp>
        <p:nvCxnSpPr>
          <p:cNvPr id="27" name="Straight Connector 26">
            <a:extLst>
              <a:ext uri="{FF2B5EF4-FFF2-40B4-BE49-F238E27FC236}">
                <a16:creationId xmlns:a16="http://schemas.microsoft.com/office/drawing/2014/main" id="{A66CDBB8-44CC-2416-B1D1-93A92839C188}"/>
              </a:ext>
            </a:extLst>
          </p:cNvPr>
          <p:cNvCxnSpPr>
            <a:cxnSpLocks/>
          </p:cNvCxnSpPr>
          <p:nvPr/>
        </p:nvCxnSpPr>
        <p:spPr>
          <a:xfrm flipV="1">
            <a:off x="6132569" y="1941056"/>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7D0B0953-4F9B-FB63-AF08-F1F94AEC460A}"/>
              </a:ext>
            </a:extLst>
          </p:cNvPr>
          <p:cNvGrpSpPr/>
          <p:nvPr userDrawn="1"/>
        </p:nvGrpSpPr>
        <p:grpSpPr>
          <a:xfrm>
            <a:off x="852112" y="2500792"/>
            <a:ext cx="10620375" cy="3782958"/>
            <a:chOff x="815975" y="2096857"/>
            <a:chExt cx="10620375" cy="3782958"/>
          </a:xfrm>
        </p:grpSpPr>
        <p:grpSp>
          <p:nvGrpSpPr>
            <p:cNvPr id="30" name="Group 29">
              <a:extLst>
                <a:ext uri="{FF2B5EF4-FFF2-40B4-BE49-F238E27FC236}">
                  <a16:creationId xmlns:a16="http://schemas.microsoft.com/office/drawing/2014/main" id="{1C02B392-F1B1-DA0C-FB7F-FE306A5E41A8}"/>
                </a:ext>
              </a:extLst>
            </p:cNvPr>
            <p:cNvGrpSpPr/>
            <p:nvPr/>
          </p:nvGrpSpPr>
          <p:grpSpPr>
            <a:xfrm>
              <a:off x="815975" y="2825780"/>
              <a:ext cx="10620375" cy="3054035"/>
              <a:chOff x="815975" y="2574983"/>
              <a:chExt cx="10620375" cy="3054035"/>
            </a:xfrm>
          </p:grpSpPr>
          <p:cxnSp>
            <p:nvCxnSpPr>
              <p:cNvPr id="62" name="Straight Connector 61">
                <a:extLst>
                  <a:ext uri="{FF2B5EF4-FFF2-40B4-BE49-F238E27FC236}">
                    <a16:creationId xmlns:a16="http://schemas.microsoft.com/office/drawing/2014/main" id="{3D8D065C-0FCB-35F3-0581-B7EF47E6DA05}"/>
                  </a:ext>
                </a:extLst>
              </p:cNvPr>
              <p:cNvCxnSpPr>
                <a:cxnSpLocks/>
              </p:cNvCxnSpPr>
              <p:nvPr/>
            </p:nvCxnSpPr>
            <p:spPr>
              <a:xfrm>
                <a:off x="7074161" y="2589014"/>
                <a:ext cx="43621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4FBF671-CC5A-FBE3-F455-94F0684ED7CA}"/>
                  </a:ext>
                </a:extLst>
              </p:cNvPr>
              <p:cNvCxnSpPr>
                <a:cxnSpLocks/>
              </p:cNvCxnSpPr>
              <p:nvPr/>
            </p:nvCxnSpPr>
            <p:spPr>
              <a:xfrm flipH="1">
                <a:off x="815975" y="2574983"/>
                <a:ext cx="4140044"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1FE20F1-CF27-8DDE-348E-73AA4DE16244}"/>
                  </a:ext>
                </a:extLst>
              </p:cNvPr>
              <p:cNvCxnSpPr>
                <a:cxnSpLocks/>
              </p:cNvCxnSpPr>
              <p:nvPr/>
            </p:nvCxnSpPr>
            <p:spPr>
              <a:xfrm>
                <a:off x="6995461" y="418947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67AC4BB-4540-BAD9-9CE8-2D7B0C758E52}"/>
                  </a:ext>
                </a:extLst>
              </p:cNvPr>
              <p:cNvCxnSpPr>
                <a:cxnSpLocks/>
              </p:cNvCxnSpPr>
              <p:nvPr/>
            </p:nvCxnSpPr>
            <p:spPr>
              <a:xfrm flipH="1">
                <a:off x="815975" y="417544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3C6A1AE-6472-C36C-F6E3-A0B871CB24A1}"/>
                  </a:ext>
                </a:extLst>
              </p:cNvPr>
              <p:cNvCxnSpPr>
                <a:cxnSpLocks/>
              </p:cNvCxnSpPr>
              <p:nvPr/>
            </p:nvCxnSpPr>
            <p:spPr>
              <a:xfrm>
                <a:off x="6995461" y="342900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F280C08-48AA-D71F-3620-41E7F9FF7463}"/>
                  </a:ext>
                </a:extLst>
              </p:cNvPr>
              <p:cNvCxnSpPr>
                <a:cxnSpLocks/>
              </p:cNvCxnSpPr>
              <p:nvPr/>
            </p:nvCxnSpPr>
            <p:spPr>
              <a:xfrm flipH="1">
                <a:off x="815975" y="341496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5D3397A-CEEA-CBE4-1A5B-B2D1AD7065C1}"/>
                  </a:ext>
                </a:extLst>
              </p:cNvPr>
              <p:cNvCxnSpPr>
                <a:cxnSpLocks/>
              </p:cNvCxnSpPr>
              <p:nvPr/>
            </p:nvCxnSpPr>
            <p:spPr>
              <a:xfrm>
                <a:off x="6995461" y="4958665"/>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BAA3708-1339-E19D-DFB3-B46D0570407D}"/>
                  </a:ext>
                </a:extLst>
              </p:cNvPr>
              <p:cNvCxnSpPr>
                <a:cxnSpLocks/>
              </p:cNvCxnSpPr>
              <p:nvPr/>
            </p:nvCxnSpPr>
            <p:spPr>
              <a:xfrm flipH="1">
                <a:off x="815975" y="4958665"/>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3C023D1-8DDC-71EE-CC51-4A5C0FFAF95B}"/>
                  </a:ext>
                </a:extLst>
              </p:cNvPr>
              <p:cNvCxnSpPr>
                <a:cxnSpLocks/>
              </p:cNvCxnSpPr>
              <p:nvPr/>
            </p:nvCxnSpPr>
            <p:spPr>
              <a:xfrm>
                <a:off x="6125454" y="4533628"/>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5F01B235-8CDF-B193-065A-4BFCA27599D7}"/>
                </a:ext>
              </a:extLst>
            </p:cNvPr>
            <p:cNvCxnSpPr>
              <a:cxnSpLocks/>
            </p:cNvCxnSpPr>
            <p:nvPr/>
          </p:nvCxnSpPr>
          <p:spPr>
            <a:xfrm>
              <a:off x="6663223" y="2110888"/>
              <a:ext cx="477312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78BCD33-A73A-1A78-D6FE-C457C14ED60A}"/>
                </a:ext>
              </a:extLst>
            </p:cNvPr>
            <p:cNvCxnSpPr>
              <a:cxnSpLocks/>
            </p:cNvCxnSpPr>
            <p:nvPr/>
          </p:nvCxnSpPr>
          <p:spPr>
            <a:xfrm flipH="1">
              <a:off x="815975" y="2096857"/>
              <a:ext cx="4745030"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89" name="Content Placeholder 7">
            <a:extLst>
              <a:ext uri="{FF2B5EF4-FFF2-40B4-BE49-F238E27FC236}">
                <a16:creationId xmlns:a16="http://schemas.microsoft.com/office/drawing/2014/main" id="{D745F268-A575-0E4A-F5EE-7C007937E908}"/>
              </a:ext>
            </a:extLst>
          </p:cNvPr>
          <p:cNvGrpSpPr/>
          <p:nvPr userDrawn="1"/>
        </p:nvGrpSpPr>
        <p:grpSpPr>
          <a:xfrm>
            <a:off x="4262886" y="2222923"/>
            <a:ext cx="3702582" cy="3739104"/>
            <a:chOff x="9990329" y="3345264"/>
            <a:chExt cx="1443013" cy="1457247"/>
          </a:xfrm>
          <a:solidFill>
            <a:schemeClr val="bg2"/>
          </a:solidFill>
        </p:grpSpPr>
        <p:sp>
          <p:nvSpPr>
            <p:cNvPr id="90" name="Freeform 89">
              <a:extLst>
                <a:ext uri="{FF2B5EF4-FFF2-40B4-BE49-F238E27FC236}">
                  <a16:creationId xmlns:a16="http://schemas.microsoft.com/office/drawing/2014/main" id="{F0720E33-FC47-E0D6-54F3-C1AC4A32DE8C}"/>
                </a:ext>
              </a:extLst>
            </p:cNvPr>
            <p:cNvSpPr/>
            <p:nvPr/>
          </p:nvSpPr>
          <p:spPr>
            <a:xfrm>
              <a:off x="10925816" y="3561914"/>
              <a:ext cx="493613" cy="413159"/>
            </a:xfrm>
            <a:custGeom>
              <a:avLst/>
              <a:gdLst>
                <a:gd name="connsiteX0" fmla="*/ 47684 w 493613"/>
                <a:gd name="connsiteY0" fmla="*/ 413160 h 413159"/>
                <a:gd name="connsiteX1" fmla="*/ 493613 w 493613"/>
                <a:gd name="connsiteY1" fmla="*/ 292457 h 413159"/>
                <a:gd name="connsiteX2" fmla="*/ 326442 w 493613"/>
                <a:gd name="connsiteY2" fmla="*/ 0 h 413159"/>
                <a:gd name="connsiteX3" fmla="*/ 0 w 493613"/>
                <a:gd name="connsiteY3" fmla="*/ 329661 h 413159"/>
                <a:gd name="connsiteX4" fmla="*/ 47684 w 493613"/>
                <a:gd name="connsiteY4" fmla="*/ 413160 h 413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13" h="413159">
                  <a:moveTo>
                    <a:pt x="47684" y="413160"/>
                  </a:moveTo>
                  <a:lnTo>
                    <a:pt x="493613" y="292457"/>
                  </a:lnTo>
                  <a:lnTo>
                    <a:pt x="326442" y="0"/>
                  </a:lnTo>
                  <a:lnTo>
                    <a:pt x="0" y="329661"/>
                  </a:lnTo>
                  <a:lnTo>
                    <a:pt x="47684" y="413160"/>
                  </a:lnTo>
                  <a:close/>
                </a:path>
              </a:pathLst>
            </a:custGeom>
            <a:solidFill>
              <a:srgbClr val="66C3EB"/>
            </a:solidFill>
            <a:ln w="3496"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E57908D6-A91F-8CE4-0FB1-D2B6C14A467F}"/>
                </a:ext>
              </a:extLst>
            </p:cNvPr>
            <p:cNvSpPr/>
            <p:nvPr/>
          </p:nvSpPr>
          <p:spPr>
            <a:xfrm>
              <a:off x="10987413" y="3903393"/>
              <a:ext cx="445929" cy="337702"/>
            </a:xfrm>
            <a:custGeom>
              <a:avLst/>
              <a:gdLst>
                <a:gd name="connsiteX0" fmla="*/ 0 w 445929"/>
                <a:gd name="connsiteY0" fmla="*/ 217070 h 337702"/>
                <a:gd name="connsiteX1" fmla="*/ 445929 w 445929"/>
                <a:gd name="connsiteY1" fmla="*/ 337703 h 337702"/>
                <a:gd name="connsiteX2" fmla="*/ 445929 w 445929"/>
                <a:gd name="connsiteY2" fmla="*/ 0 h 337702"/>
                <a:gd name="connsiteX3" fmla="*/ 0 w 445929"/>
                <a:gd name="connsiteY3" fmla="*/ 120703 h 337702"/>
                <a:gd name="connsiteX4" fmla="*/ 0 w 445929"/>
                <a:gd name="connsiteY4" fmla="*/ 217070 h 33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929" h="337702">
                  <a:moveTo>
                    <a:pt x="0" y="217070"/>
                  </a:moveTo>
                  <a:lnTo>
                    <a:pt x="445929" y="337703"/>
                  </a:lnTo>
                  <a:lnTo>
                    <a:pt x="445929" y="0"/>
                  </a:lnTo>
                  <a:lnTo>
                    <a:pt x="0" y="120703"/>
                  </a:lnTo>
                  <a:lnTo>
                    <a:pt x="0" y="217070"/>
                  </a:lnTo>
                  <a:close/>
                </a:path>
              </a:pathLst>
            </a:custGeom>
            <a:solidFill>
              <a:srgbClr val="34A798"/>
            </a:solidFill>
            <a:ln w="3496"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62DDB9F2-B7B1-CF8C-33FB-08B54DCE1FE3}"/>
                </a:ext>
              </a:extLst>
            </p:cNvPr>
            <p:cNvSpPr/>
            <p:nvPr/>
          </p:nvSpPr>
          <p:spPr>
            <a:xfrm>
              <a:off x="10806888" y="3357642"/>
              <a:ext cx="409083" cy="498546"/>
            </a:xfrm>
            <a:custGeom>
              <a:avLst/>
              <a:gdLst>
                <a:gd name="connsiteX0" fmla="*/ 82642 w 409083"/>
                <a:gd name="connsiteY0" fmla="*/ 498547 h 498546"/>
                <a:gd name="connsiteX1" fmla="*/ 409084 w 409083"/>
                <a:gd name="connsiteY1" fmla="*/ 168886 h 498546"/>
                <a:gd name="connsiteX2" fmla="*/ 119489 w 409083"/>
                <a:gd name="connsiteY2" fmla="*/ 0 h 498546"/>
                <a:gd name="connsiteX3" fmla="*/ 0 w 409083"/>
                <a:gd name="connsiteY3" fmla="*/ 450364 h 498546"/>
                <a:gd name="connsiteX4" fmla="*/ 82642 w 409083"/>
                <a:gd name="connsiteY4" fmla="*/ 498547 h 49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83" h="498546">
                  <a:moveTo>
                    <a:pt x="82642" y="498547"/>
                  </a:moveTo>
                  <a:lnTo>
                    <a:pt x="409084" y="168886"/>
                  </a:lnTo>
                  <a:lnTo>
                    <a:pt x="119489" y="0"/>
                  </a:lnTo>
                  <a:lnTo>
                    <a:pt x="0" y="450364"/>
                  </a:lnTo>
                  <a:lnTo>
                    <a:pt x="82642" y="498547"/>
                  </a:lnTo>
                  <a:close/>
                </a:path>
              </a:pathLst>
            </a:custGeom>
            <a:solidFill>
              <a:srgbClr val="85CAC1"/>
            </a:solidFill>
            <a:ln w="3496"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0B61CE9B-020E-B0C4-ADBD-CC1B306C4745}"/>
                </a:ext>
              </a:extLst>
            </p:cNvPr>
            <p:cNvSpPr/>
            <p:nvPr/>
          </p:nvSpPr>
          <p:spPr>
            <a:xfrm>
              <a:off x="10204903" y="3359320"/>
              <a:ext cx="409083" cy="498476"/>
            </a:xfrm>
            <a:custGeom>
              <a:avLst/>
              <a:gdLst>
                <a:gd name="connsiteX0" fmla="*/ 409084 w 409083"/>
                <a:gd name="connsiteY0" fmla="*/ 450294 h 498476"/>
                <a:gd name="connsiteX1" fmla="*/ 289596 w 409083"/>
                <a:gd name="connsiteY1" fmla="*/ 0 h 498476"/>
                <a:gd name="connsiteX2" fmla="*/ 0 w 409083"/>
                <a:gd name="connsiteY2" fmla="*/ 168816 h 498476"/>
                <a:gd name="connsiteX3" fmla="*/ 326442 w 409083"/>
                <a:gd name="connsiteY3" fmla="*/ 498477 h 498476"/>
                <a:gd name="connsiteX4" fmla="*/ 409084 w 409083"/>
                <a:gd name="connsiteY4" fmla="*/ 450294 h 49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83" h="498476">
                  <a:moveTo>
                    <a:pt x="409084" y="450294"/>
                  </a:moveTo>
                  <a:lnTo>
                    <a:pt x="289596" y="0"/>
                  </a:lnTo>
                  <a:lnTo>
                    <a:pt x="0" y="168816"/>
                  </a:lnTo>
                  <a:lnTo>
                    <a:pt x="326442" y="498477"/>
                  </a:lnTo>
                  <a:lnTo>
                    <a:pt x="409084" y="450294"/>
                  </a:lnTo>
                  <a:close/>
                </a:path>
              </a:pathLst>
            </a:custGeom>
            <a:solidFill>
              <a:schemeClr val="accent4"/>
            </a:solidFill>
            <a:ln w="3496"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88476980-2408-0C88-5E9F-1D714B7ABE79}"/>
                </a:ext>
              </a:extLst>
            </p:cNvPr>
            <p:cNvSpPr/>
            <p:nvPr/>
          </p:nvSpPr>
          <p:spPr>
            <a:xfrm>
              <a:off x="10543021" y="3345264"/>
              <a:ext cx="334413" cy="450363"/>
            </a:xfrm>
            <a:custGeom>
              <a:avLst/>
              <a:gdLst>
                <a:gd name="connsiteX0" fmla="*/ 214924 w 334413"/>
                <a:gd name="connsiteY0" fmla="*/ 450364 h 450363"/>
                <a:gd name="connsiteX1" fmla="*/ 334413 w 334413"/>
                <a:gd name="connsiteY1" fmla="*/ 0 h 450363"/>
                <a:gd name="connsiteX2" fmla="*/ 0 w 334413"/>
                <a:gd name="connsiteY2" fmla="*/ 0 h 450363"/>
                <a:gd name="connsiteX3" fmla="*/ 119488 w 334413"/>
                <a:gd name="connsiteY3" fmla="*/ 450364 h 450363"/>
                <a:gd name="connsiteX4" fmla="*/ 214924 w 334413"/>
                <a:gd name="connsiteY4" fmla="*/ 450364 h 450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13" h="450363">
                  <a:moveTo>
                    <a:pt x="214924" y="450364"/>
                  </a:moveTo>
                  <a:lnTo>
                    <a:pt x="334413" y="0"/>
                  </a:lnTo>
                  <a:lnTo>
                    <a:pt x="0" y="0"/>
                  </a:lnTo>
                  <a:lnTo>
                    <a:pt x="119488" y="450364"/>
                  </a:lnTo>
                  <a:lnTo>
                    <a:pt x="214924" y="450364"/>
                  </a:lnTo>
                  <a:close/>
                </a:path>
              </a:pathLst>
            </a:custGeom>
            <a:solidFill>
              <a:srgbClr val="98D7F1"/>
            </a:solidFill>
            <a:ln w="3496"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A83059D5-C569-2E97-F5B3-52090FA2861B}"/>
                </a:ext>
              </a:extLst>
            </p:cNvPr>
            <p:cNvSpPr/>
            <p:nvPr/>
          </p:nvSpPr>
          <p:spPr>
            <a:xfrm>
              <a:off x="10927424" y="4169905"/>
              <a:ext cx="493683" cy="413089"/>
            </a:xfrm>
            <a:custGeom>
              <a:avLst/>
              <a:gdLst>
                <a:gd name="connsiteX0" fmla="*/ 47754 w 493683"/>
                <a:gd name="connsiteY0" fmla="*/ 0 h 413089"/>
                <a:gd name="connsiteX1" fmla="*/ 0 w 493683"/>
                <a:gd name="connsiteY1" fmla="*/ 83429 h 413089"/>
                <a:gd name="connsiteX2" fmla="*/ 326442 w 493683"/>
                <a:gd name="connsiteY2" fmla="*/ 413090 h 413089"/>
                <a:gd name="connsiteX3" fmla="*/ 493683 w 493683"/>
                <a:gd name="connsiteY3" fmla="*/ 120633 h 413089"/>
                <a:gd name="connsiteX4" fmla="*/ 47754 w 493683"/>
                <a:gd name="connsiteY4" fmla="*/ 0 h 413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83" h="413089">
                  <a:moveTo>
                    <a:pt x="47754" y="0"/>
                  </a:moveTo>
                  <a:lnTo>
                    <a:pt x="0" y="83429"/>
                  </a:lnTo>
                  <a:lnTo>
                    <a:pt x="326442" y="413090"/>
                  </a:lnTo>
                  <a:lnTo>
                    <a:pt x="493683" y="120633"/>
                  </a:lnTo>
                  <a:lnTo>
                    <a:pt x="47754" y="0"/>
                  </a:lnTo>
                  <a:close/>
                </a:path>
              </a:pathLst>
            </a:custGeom>
            <a:solidFill>
              <a:srgbClr val="B2D7AE"/>
            </a:solidFill>
            <a:ln w="3496"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1777B87E-9931-527C-E3C2-B4CA972DFE65}"/>
                </a:ext>
              </a:extLst>
            </p:cNvPr>
            <p:cNvSpPr/>
            <p:nvPr/>
          </p:nvSpPr>
          <p:spPr>
            <a:xfrm>
              <a:off x="10809684" y="4289978"/>
              <a:ext cx="409083" cy="498546"/>
            </a:xfrm>
            <a:custGeom>
              <a:avLst/>
              <a:gdLst>
                <a:gd name="connsiteX0" fmla="*/ 0 w 409083"/>
                <a:gd name="connsiteY0" fmla="*/ 48183 h 498546"/>
                <a:gd name="connsiteX1" fmla="*/ 119488 w 409083"/>
                <a:gd name="connsiteY1" fmla="*/ 498547 h 498546"/>
                <a:gd name="connsiteX2" fmla="*/ 409084 w 409083"/>
                <a:gd name="connsiteY2" fmla="*/ 329661 h 498546"/>
                <a:gd name="connsiteX3" fmla="*/ 82641 w 409083"/>
                <a:gd name="connsiteY3" fmla="*/ 0 h 498546"/>
                <a:gd name="connsiteX4" fmla="*/ 0 w 409083"/>
                <a:gd name="connsiteY4" fmla="*/ 48183 h 49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83" h="498546">
                  <a:moveTo>
                    <a:pt x="0" y="48183"/>
                  </a:moveTo>
                  <a:lnTo>
                    <a:pt x="119488" y="498547"/>
                  </a:lnTo>
                  <a:lnTo>
                    <a:pt x="409084" y="329661"/>
                  </a:lnTo>
                  <a:lnTo>
                    <a:pt x="82641" y="0"/>
                  </a:lnTo>
                  <a:lnTo>
                    <a:pt x="0" y="48183"/>
                  </a:lnTo>
                  <a:close/>
                </a:path>
              </a:pathLst>
            </a:custGeom>
            <a:grpFill/>
            <a:ln w="3496"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613D6D2D-2666-7231-1C9A-F29E123857F3}"/>
                </a:ext>
              </a:extLst>
            </p:cNvPr>
            <p:cNvSpPr/>
            <p:nvPr/>
          </p:nvSpPr>
          <p:spPr>
            <a:xfrm>
              <a:off x="10207700" y="4291657"/>
              <a:ext cx="409083" cy="498476"/>
            </a:xfrm>
            <a:custGeom>
              <a:avLst/>
              <a:gdLst>
                <a:gd name="connsiteX0" fmla="*/ 326442 w 409083"/>
                <a:gd name="connsiteY0" fmla="*/ 0 h 498476"/>
                <a:gd name="connsiteX1" fmla="*/ 0 w 409083"/>
                <a:gd name="connsiteY1" fmla="*/ 329661 h 498476"/>
                <a:gd name="connsiteX2" fmla="*/ 289595 w 409083"/>
                <a:gd name="connsiteY2" fmla="*/ 498477 h 498476"/>
                <a:gd name="connsiteX3" fmla="*/ 409084 w 409083"/>
                <a:gd name="connsiteY3" fmla="*/ 48183 h 498476"/>
                <a:gd name="connsiteX4" fmla="*/ 326442 w 409083"/>
                <a:gd name="connsiteY4" fmla="*/ 0 h 49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83" h="498476">
                  <a:moveTo>
                    <a:pt x="326442" y="0"/>
                  </a:moveTo>
                  <a:lnTo>
                    <a:pt x="0" y="329661"/>
                  </a:lnTo>
                  <a:lnTo>
                    <a:pt x="289595" y="498477"/>
                  </a:lnTo>
                  <a:lnTo>
                    <a:pt x="409084" y="48183"/>
                  </a:lnTo>
                  <a:lnTo>
                    <a:pt x="326442" y="0"/>
                  </a:lnTo>
                  <a:close/>
                </a:path>
              </a:pathLst>
            </a:custGeom>
            <a:solidFill>
              <a:schemeClr val="accent1"/>
            </a:solidFill>
            <a:ln w="3496"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1C0A9D61-1BCA-6494-CB8D-01705E339C4E}"/>
                </a:ext>
              </a:extLst>
            </p:cNvPr>
            <p:cNvSpPr/>
            <p:nvPr/>
          </p:nvSpPr>
          <p:spPr>
            <a:xfrm>
              <a:off x="10546237" y="4352218"/>
              <a:ext cx="334413" cy="450293"/>
            </a:xfrm>
            <a:custGeom>
              <a:avLst/>
              <a:gdLst>
                <a:gd name="connsiteX0" fmla="*/ 119559 w 334413"/>
                <a:gd name="connsiteY0" fmla="*/ 0 h 450293"/>
                <a:gd name="connsiteX1" fmla="*/ 0 w 334413"/>
                <a:gd name="connsiteY1" fmla="*/ 450294 h 450293"/>
                <a:gd name="connsiteX2" fmla="*/ 334413 w 334413"/>
                <a:gd name="connsiteY2" fmla="*/ 450294 h 450293"/>
                <a:gd name="connsiteX3" fmla="*/ 214925 w 334413"/>
                <a:gd name="connsiteY3" fmla="*/ 0 h 450293"/>
                <a:gd name="connsiteX4" fmla="*/ 119559 w 334413"/>
                <a:gd name="connsiteY4" fmla="*/ 0 h 450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13" h="450293">
                  <a:moveTo>
                    <a:pt x="119559" y="0"/>
                  </a:moveTo>
                  <a:lnTo>
                    <a:pt x="0" y="450294"/>
                  </a:lnTo>
                  <a:lnTo>
                    <a:pt x="334413" y="450294"/>
                  </a:lnTo>
                  <a:lnTo>
                    <a:pt x="214925" y="0"/>
                  </a:lnTo>
                  <a:lnTo>
                    <a:pt x="119559" y="0"/>
                  </a:lnTo>
                  <a:close/>
                </a:path>
              </a:pathLst>
            </a:custGeom>
            <a:solidFill>
              <a:srgbClr val="8BC385"/>
            </a:solidFill>
            <a:ln w="3496"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85C70811-3EA8-D96E-7DEB-EF1FF65F9DF9}"/>
                </a:ext>
              </a:extLst>
            </p:cNvPr>
            <p:cNvSpPr/>
            <p:nvPr/>
          </p:nvSpPr>
          <p:spPr>
            <a:xfrm>
              <a:off x="10002564" y="3564781"/>
              <a:ext cx="493683" cy="413159"/>
            </a:xfrm>
            <a:custGeom>
              <a:avLst/>
              <a:gdLst>
                <a:gd name="connsiteX0" fmla="*/ 493683 w 493683"/>
                <a:gd name="connsiteY0" fmla="*/ 329661 h 413159"/>
                <a:gd name="connsiteX1" fmla="*/ 167241 w 493683"/>
                <a:gd name="connsiteY1" fmla="*/ 0 h 413159"/>
                <a:gd name="connsiteX2" fmla="*/ 0 w 493683"/>
                <a:gd name="connsiteY2" fmla="*/ 292457 h 413159"/>
                <a:gd name="connsiteX3" fmla="*/ 445929 w 493683"/>
                <a:gd name="connsiteY3" fmla="*/ 413160 h 413159"/>
                <a:gd name="connsiteX4" fmla="*/ 493683 w 493683"/>
                <a:gd name="connsiteY4" fmla="*/ 329661 h 413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83" h="413159">
                  <a:moveTo>
                    <a:pt x="493683" y="329661"/>
                  </a:moveTo>
                  <a:lnTo>
                    <a:pt x="167241" y="0"/>
                  </a:lnTo>
                  <a:lnTo>
                    <a:pt x="0" y="292457"/>
                  </a:lnTo>
                  <a:lnTo>
                    <a:pt x="445929" y="413160"/>
                  </a:lnTo>
                  <a:lnTo>
                    <a:pt x="493683" y="329661"/>
                  </a:lnTo>
                  <a:close/>
                </a:path>
              </a:pathLst>
            </a:custGeom>
            <a:solidFill>
              <a:schemeClr val="tx2"/>
            </a:solidFill>
            <a:ln w="3496"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87419034-0AE7-F5E0-9D6F-39FD82D0F4EA}"/>
                </a:ext>
              </a:extLst>
            </p:cNvPr>
            <p:cNvSpPr/>
            <p:nvPr/>
          </p:nvSpPr>
          <p:spPr>
            <a:xfrm>
              <a:off x="10004242" y="4172772"/>
              <a:ext cx="493613" cy="413089"/>
            </a:xfrm>
            <a:custGeom>
              <a:avLst/>
              <a:gdLst>
                <a:gd name="connsiteX0" fmla="*/ 445929 w 493613"/>
                <a:gd name="connsiteY0" fmla="*/ 0 h 413089"/>
                <a:gd name="connsiteX1" fmla="*/ 0 w 493613"/>
                <a:gd name="connsiteY1" fmla="*/ 120633 h 413089"/>
                <a:gd name="connsiteX2" fmla="*/ 167171 w 493613"/>
                <a:gd name="connsiteY2" fmla="*/ 413090 h 413089"/>
                <a:gd name="connsiteX3" fmla="*/ 493613 w 493613"/>
                <a:gd name="connsiteY3" fmla="*/ 83429 h 413089"/>
                <a:gd name="connsiteX4" fmla="*/ 445929 w 493613"/>
                <a:gd name="connsiteY4" fmla="*/ 0 h 413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13" h="413089">
                  <a:moveTo>
                    <a:pt x="445929" y="0"/>
                  </a:moveTo>
                  <a:lnTo>
                    <a:pt x="0" y="120633"/>
                  </a:lnTo>
                  <a:lnTo>
                    <a:pt x="167171" y="413090"/>
                  </a:lnTo>
                  <a:lnTo>
                    <a:pt x="493613" y="83429"/>
                  </a:lnTo>
                  <a:lnTo>
                    <a:pt x="445929" y="0"/>
                  </a:lnTo>
                  <a:close/>
                </a:path>
              </a:pathLst>
            </a:custGeom>
            <a:solidFill>
              <a:schemeClr val="accent5"/>
            </a:solidFill>
            <a:ln w="3496"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49CD8DB2-A3DD-F9D3-5A25-72DF373C2B41}"/>
                </a:ext>
              </a:extLst>
            </p:cNvPr>
            <p:cNvSpPr/>
            <p:nvPr/>
          </p:nvSpPr>
          <p:spPr>
            <a:xfrm>
              <a:off x="9990329" y="3906680"/>
              <a:ext cx="445929" cy="337702"/>
            </a:xfrm>
            <a:custGeom>
              <a:avLst/>
              <a:gdLst>
                <a:gd name="connsiteX0" fmla="*/ 445929 w 445929"/>
                <a:gd name="connsiteY0" fmla="*/ 120703 h 337702"/>
                <a:gd name="connsiteX1" fmla="*/ 0 w 445929"/>
                <a:gd name="connsiteY1" fmla="*/ 0 h 337702"/>
                <a:gd name="connsiteX2" fmla="*/ 0 w 445929"/>
                <a:gd name="connsiteY2" fmla="*/ 337703 h 337702"/>
                <a:gd name="connsiteX3" fmla="*/ 445929 w 445929"/>
                <a:gd name="connsiteY3" fmla="*/ 217070 h 337702"/>
                <a:gd name="connsiteX4" fmla="*/ 445929 w 445929"/>
                <a:gd name="connsiteY4" fmla="*/ 120703 h 33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929" h="337702">
                  <a:moveTo>
                    <a:pt x="445929" y="120703"/>
                  </a:moveTo>
                  <a:lnTo>
                    <a:pt x="0" y="0"/>
                  </a:lnTo>
                  <a:lnTo>
                    <a:pt x="0" y="337703"/>
                  </a:lnTo>
                  <a:lnTo>
                    <a:pt x="445929" y="217070"/>
                  </a:lnTo>
                  <a:lnTo>
                    <a:pt x="445929" y="120703"/>
                  </a:lnTo>
                  <a:close/>
                </a:path>
              </a:pathLst>
            </a:custGeom>
            <a:solidFill>
              <a:schemeClr val="tx1"/>
            </a:solidFill>
            <a:ln w="3496" cap="flat">
              <a:noFill/>
              <a:prstDash val="solid"/>
              <a:miter/>
            </a:ln>
          </p:spPr>
          <p:txBody>
            <a:bodyPr rtlCol="0" anchor="ctr"/>
            <a:lstStyle/>
            <a:p>
              <a:endParaRPr lang="en-GB"/>
            </a:p>
          </p:txBody>
        </p:sp>
      </p:grpSp>
      <p:sp>
        <p:nvSpPr>
          <p:cNvPr id="102" name="Text Placeholder 49">
            <a:extLst>
              <a:ext uri="{FF2B5EF4-FFF2-40B4-BE49-F238E27FC236}">
                <a16:creationId xmlns:a16="http://schemas.microsoft.com/office/drawing/2014/main" id="{68187FFF-53D4-B3CD-AE26-F98B188DDE71}"/>
              </a:ext>
            </a:extLst>
          </p:cNvPr>
          <p:cNvSpPr>
            <a:spLocks noGrp="1"/>
          </p:cNvSpPr>
          <p:nvPr>
            <p:ph type="body" sz="quarter" idx="55" hasCustomPrompt="1"/>
          </p:nvPr>
        </p:nvSpPr>
        <p:spPr>
          <a:xfrm>
            <a:off x="4294279" y="1638080"/>
            <a:ext cx="3700114" cy="282497"/>
          </a:xfrm>
        </p:spPr>
        <p:txBody>
          <a:bodyPr>
            <a:normAutofit/>
          </a:bodyPr>
          <a:lstStyle>
            <a:lvl1pPr algn="ctr">
              <a:defRPr sz="1400" b="1">
                <a:solidFill>
                  <a:schemeClr val="tx1"/>
                </a:solidFill>
              </a:defRPr>
            </a:lvl1pPr>
          </a:lstStyle>
          <a:p>
            <a:pPr lvl="0"/>
            <a:r>
              <a:rPr lang="en-US"/>
              <a:t>Lorem ipsum dolor</a:t>
            </a:r>
          </a:p>
        </p:txBody>
      </p:sp>
      <p:sp>
        <p:nvSpPr>
          <p:cNvPr id="103" name="Text Placeholder 49">
            <a:extLst>
              <a:ext uri="{FF2B5EF4-FFF2-40B4-BE49-F238E27FC236}">
                <a16:creationId xmlns:a16="http://schemas.microsoft.com/office/drawing/2014/main" id="{F1557057-D161-B67C-02C4-6FA58AC62E6D}"/>
              </a:ext>
            </a:extLst>
          </p:cNvPr>
          <p:cNvSpPr>
            <a:spLocks noGrp="1"/>
          </p:cNvSpPr>
          <p:nvPr>
            <p:ph type="body" sz="quarter" idx="56" hasCustomPrompt="1"/>
          </p:nvPr>
        </p:nvSpPr>
        <p:spPr>
          <a:xfrm>
            <a:off x="4311534" y="6346903"/>
            <a:ext cx="3700114" cy="282497"/>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331675256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Thank you layout 1">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610002476"/>
      </p:ext>
    </p:extLst>
  </p:cSld>
  <p:clrMapOvr>
    <a:masterClrMapping/>
  </p:clrMapOvr>
  <p:extLst>
    <p:ext uri="{DCECCB84-F9BA-43D5-87BE-67443E8EF086}">
      <p15:sldGuideLst xmlns:p15="http://schemas.microsoft.com/office/powerpoint/2012/main"/>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p:cSld name="Thank you layout 2">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1226168093"/>
      </p:ext>
    </p:extLst>
  </p:cSld>
  <p:clrMapOvr>
    <a:masterClrMapping/>
  </p:clrMapOvr>
  <p:extLst>
    <p:ext uri="{DCECCB84-F9BA-43D5-87BE-67443E8EF086}">
      <p15:sldGuideLst xmlns:p15="http://schemas.microsoft.com/office/powerpoint/2012/main"/>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bout us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4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8" name="Picture 7" descr="A black background with white text&#10;&#10;Description automatically generated">
            <a:extLst>
              <a:ext uri="{FF2B5EF4-FFF2-40B4-BE49-F238E27FC236}">
                <a16:creationId xmlns:a16="http://schemas.microsoft.com/office/drawing/2014/main" id="{855FE9E7-9460-8457-F3D4-B4C0B226FA48}"/>
              </a:ext>
            </a:extLst>
          </p:cNvPr>
          <p:cNvPicPr>
            <a:picLocks noChangeAspect="1"/>
          </p:cNvPicPr>
          <p:nvPr userDrawn="1"/>
        </p:nvPicPr>
        <p:blipFill>
          <a:blip r:embed="rId5"/>
          <a:stretch>
            <a:fillRect/>
          </a:stretch>
        </p:blipFill>
        <p:spPr>
          <a:xfrm>
            <a:off x="696090" y="3788994"/>
            <a:ext cx="3184289" cy="650932"/>
          </a:xfrm>
          <a:prstGeom prst="rect">
            <a:avLst/>
          </a:prstGeom>
        </p:spPr>
      </p:pic>
    </p:spTree>
    <p:extLst>
      <p:ext uri="{BB962C8B-B14F-4D97-AF65-F5344CB8AC3E}">
        <p14:creationId xmlns:p14="http://schemas.microsoft.com/office/powerpoint/2010/main" val="244205666"/>
      </p:ext>
    </p:extLst>
  </p:cSld>
  <p:clrMapOvr>
    <a:masterClrMapping/>
  </p:clrMapOvr>
  <p:extLst>
    <p:ext uri="{DCECCB84-F9BA-43D5-87BE-67443E8EF086}">
      <p15:sldGuideLst xmlns:p15="http://schemas.microsoft.com/office/powerpoint/2012/main"/>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8_Title Only">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225382"/>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a:grpSpLocks/>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a:spLocks/>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a:spLocks/>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a:spLocks/>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a:spLocks/>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a:spLocks/>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a:spLocks/>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a:spLocks/>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5112249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447800"/>
            <a:ext cx="10620376" cy="4741863"/>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 name="Title Placeholder 13">
            <a:extLst>
              <a:ext uri="{FF2B5EF4-FFF2-40B4-BE49-F238E27FC236}">
                <a16:creationId xmlns:a16="http://schemas.microsoft.com/office/drawing/2014/main" id="{23723920-2A97-E6D8-8613-5E49F538103C}"/>
              </a:ext>
            </a:extLst>
          </p:cNvPr>
          <p:cNvSpPr>
            <a:spLocks noGrp="1"/>
          </p:cNvSpPr>
          <p:nvPr>
            <p:ph type="title" hasCustomPrompt="1"/>
          </p:nvPr>
        </p:nvSpPr>
        <p:spPr>
          <a:xfrm>
            <a:off x="814558" y="228600"/>
            <a:ext cx="10621792" cy="553998"/>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8" name="Text Placeholder 5">
            <a:extLst>
              <a:ext uri="{FF2B5EF4-FFF2-40B4-BE49-F238E27FC236}">
                <a16:creationId xmlns:a16="http://schemas.microsoft.com/office/drawing/2014/main" id="{5381EEC3-047D-F310-B390-9EFE67AB4E68}"/>
              </a:ext>
            </a:extLst>
          </p:cNvPr>
          <p:cNvSpPr>
            <a:spLocks noGrp="1"/>
          </p:cNvSpPr>
          <p:nvPr>
            <p:ph type="body" sz="quarter" idx="14" hasCustomPrompt="1"/>
          </p:nvPr>
        </p:nvSpPr>
        <p:spPr>
          <a:xfrm>
            <a:off x="814558" y="860100"/>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Tree>
    <p:extLst>
      <p:ext uri="{BB962C8B-B14F-4D97-AF65-F5344CB8AC3E}">
        <p14:creationId xmlns:p14="http://schemas.microsoft.com/office/powerpoint/2010/main" val="34289197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5" name="Slide Number Placeholder 4">
            <a:extLst>
              <a:ext uri="{FF2B5EF4-FFF2-40B4-BE49-F238E27FC236}">
                <a16:creationId xmlns:a16="http://schemas.microsoft.com/office/drawing/2014/main" id="{8F424B37-942D-037C-384C-BBAA35135509}"/>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3" name="TextBox 32">
                <a:extLst>
                  <a:ext uri="{FF2B5EF4-FFF2-40B4-BE49-F238E27FC236}">
                    <a16:creationId xmlns:a16="http://schemas.microsoft.com/office/drawing/2014/main" id="{222C0FD5-679E-8C28-78E0-EA79FC848AC1}"/>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0" name="TextBox 29">
              <a:extLst>
                <a:ext uri="{FF2B5EF4-FFF2-40B4-BE49-F238E27FC236}">
                  <a16:creationId xmlns:a16="http://schemas.microsoft.com/office/drawing/2014/main" id="{A1725506-529A-9833-864A-1C4C4D91BFE5}"/>
                </a:ext>
              </a:extLst>
            </p:cNvPr>
            <p:cNvSpPr txBox="1"/>
            <p:nvPr/>
          </p:nvSpPr>
          <p:spPr>
            <a:xfrm>
              <a:off x="4956019"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0" name="TextBox 39">
                <a:extLst>
                  <a:ext uri="{FF2B5EF4-FFF2-40B4-BE49-F238E27FC236}">
                    <a16:creationId xmlns:a16="http://schemas.microsoft.com/office/drawing/2014/main" id="{DF5D386A-260A-5290-C9B7-E28CC1F41DC6}"/>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7" name="TextBox 36">
              <a:extLst>
                <a:ext uri="{FF2B5EF4-FFF2-40B4-BE49-F238E27FC236}">
                  <a16:creationId xmlns:a16="http://schemas.microsoft.com/office/drawing/2014/main" id="{F1016110-BF5E-07AA-35FD-78C789924E3D}"/>
                </a:ext>
              </a:extLst>
            </p:cNvPr>
            <p:cNvSpPr txBox="1"/>
            <p:nvPr/>
          </p:nvSpPr>
          <p:spPr>
            <a:xfrm>
              <a:off x="8157223"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1" name="Group 40">
            <a:extLst>
              <a:ext uri="{FF2B5EF4-FFF2-40B4-BE49-F238E27FC236}">
                <a16:creationId xmlns:a16="http://schemas.microsoft.com/office/drawing/2014/main" id="{FE9520A2-44BD-C88B-7272-F321D2F2614B}"/>
              </a:ext>
            </a:extLst>
          </p:cNvPr>
          <p:cNvGrpSpPr/>
          <p:nvPr userDrawn="1"/>
        </p:nvGrpSpPr>
        <p:grpSpPr>
          <a:xfrm>
            <a:off x="4956019" y="751764"/>
            <a:ext cx="2694127" cy="2174525"/>
            <a:chOff x="4956019" y="751764"/>
            <a:chExt cx="2694127" cy="2174525"/>
          </a:xfrm>
        </p:grpSpPr>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6" name="TextBox 45">
                <a:extLst>
                  <a:ext uri="{FF2B5EF4-FFF2-40B4-BE49-F238E27FC236}">
                    <a16:creationId xmlns:a16="http://schemas.microsoft.com/office/drawing/2014/main" id="{5E82E0A1-715B-E084-807B-712F0B40F574}"/>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43" name="TextBox 42">
              <a:extLst>
                <a:ext uri="{FF2B5EF4-FFF2-40B4-BE49-F238E27FC236}">
                  <a16:creationId xmlns:a16="http://schemas.microsoft.com/office/drawing/2014/main" id="{7CF9B6AA-F2C4-3A16-94D6-4FA0616BC4C2}"/>
                </a:ext>
              </a:extLst>
            </p:cNvPr>
            <p:cNvSpPr txBox="1"/>
            <p:nvPr/>
          </p:nvSpPr>
          <p:spPr>
            <a:xfrm>
              <a:off x="4956019"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3" name="TextBox 52">
                <a:extLst>
                  <a:ext uri="{FF2B5EF4-FFF2-40B4-BE49-F238E27FC236}">
                    <a16:creationId xmlns:a16="http://schemas.microsoft.com/office/drawing/2014/main" id="{C640FE75-5796-86A7-F5E0-2BF7630E20F8}"/>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50" name="TextBox 49">
              <a:extLst>
                <a:ext uri="{FF2B5EF4-FFF2-40B4-BE49-F238E27FC236}">
                  <a16:creationId xmlns:a16="http://schemas.microsoft.com/office/drawing/2014/main" id="{8D04A6B5-11C7-9995-FE63-8C0105297A7F}"/>
                </a:ext>
              </a:extLst>
            </p:cNvPr>
            <p:cNvSpPr txBox="1"/>
            <p:nvPr/>
          </p:nvSpPr>
          <p:spPr>
            <a:xfrm>
              <a:off x="8157223"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spTree>
    <p:extLst>
      <p:ext uri="{BB962C8B-B14F-4D97-AF65-F5344CB8AC3E}">
        <p14:creationId xmlns:p14="http://schemas.microsoft.com/office/powerpoint/2010/main" val="81261315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3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744200" y="401044"/>
            <a:ext cx="1052143" cy="441590"/>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3" name="Title Placeholder 13">
            <a:extLst>
              <a:ext uri="{FF2B5EF4-FFF2-40B4-BE49-F238E27FC236}">
                <a16:creationId xmlns:a16="http://schemas.microsoft.com/office/drawing/2014/main" id="{270A7A05-B198-7C1C-E4A9-232C25617178}"/>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293728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6" name="Content Placeholder 1"/>
          <p:cNvSpPr>
            <a:spLocks noGrp="1"/>
          </p:cNvSpPr>
          <p:nvPr>
            <p:ph idx="31" hasCustomPrompt="1"/>
            <p:custDataLst>
              <p:tags r:id="rId1"/>
            </p:custDataLst>
          </p:nvPr>
        </p:nvSpPr>
        <p:spPr>
          <a:xfrm>
            <a:off x="6210298" y="838200"/>
            <a:ext cx="5148072" cy="518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0"/>
          <p:cNvSpPr>
            <a:spLocks noGrp="1"/>
          </p:cNvSpPr>
          <p:nvPr>
            <p:ph idx="32" hasCustomPrompt="1"/>
            <p:custDataLst>
              <p:tags r:id="rId2"/>
            </p:custDataLst>
          </p:nvPr>
        </p:nvSpPr>
        <p:spPr>
          <a:xfrm>
            <a:off x="609600" y="838200"/>
            <a:ext cx="5143500" cy="5181600"/>
          </a:xfrm>
        </p:spPr>
        <p:txBody>
          <a:bodyPr anchor="ctr" anchorCtr="1"/>
          <a:lstStyle>
            <a:lvl1pPr algn="ctr">
              <a:defRPr sz="4267">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hart</a:t>
            </a:r>
          </a:p>
        </p:txBody>
      </p:sp>
      <p:sp>
        <p:nvSpPr>
          <p:cNvPr id="3" name="Slide Number Placeholder 2">
            <a:extLst>
              <a:ext uri="{FF2B5EF4-FFF2-40B4-BE49-F238E27FC236}">
                <a16:creationId xmlns:a16="http://schemas.microsoft.com/office/drawing/2014/main" id="{59F4D5C5-C9D9-4935-B18E-9BC25C779887}"/>
              </a:ext>
            </a:extLst>
          </p:cNvPr>
          <p:cNvSpPr>
            <a:spLocks noGrp="1"/>
          </p:cNvSpPr>
          <p:nvPr>
            <p:ph type="sldNum" sz="quarter" idx="33"/>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271334216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8DCF67D8-827F-4F8D-ADCA-87BADEC95FCD}"/>
              </a:ext>
            </a:extLst>
          </p:cNvPr>
          <p:cNvSpPr>
            <a:spLocks noGrp="1"/>
          </p:cNvSpPr>
          <p:nvPr>
            <p:ph sz="quarter" idx="10"/>
          </p:nvPr>
        </p:nvSpPr>
        <p:spPr>
          <a:xfrm>
            <a:off x="609600" y="838200"/>
            <a:ext cx="107442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8AB797-F1D5-4462-A0E2-48B6634C2AF7}"/>
              </a:ext>
            </a:extLst>
          </p:cNvPr>
          <p:cNvSpPr>
            <a:spLocks noGrp="1"/>
          </p:cNvSpPr>
          <p:nvPr>
            <p:ph type="sldNum" sz="quarter" idx="11"/>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201522819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447800"/>
            <a:ext cx="10620376" cy="4741863"/>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 name="Title Placeholder 13">
            <a:extLst>
              <a:ext uri="{FF2B5EF4-FFF2-40B4-BE49-F238E27FC236}">
                <a16:creationId xmlns:a16="http://schemas.microsoft.com/office/drawing/2014/main" id="{23723920-2A97-E6D8-8613-5E49F538103C}"/>
              </a:ext>
            </a:extLst>
          </p:cNvPr>
          <p:cNvSpPr>
            <a:spLocks noGrp="1"/>
          </p:cNvSpPr>
          <p:nvPr>
            <p:ph type="title" hasCustomPrompt="1"/>
          </p:nvPr>
        </p:nvSpPr>
        <p:spPr>
          <a:xfrm>
            <a:off x="814558" y="228600"/>
            <a:ext cx="10621792" cy="553998"/>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8" name="Text Placeholder 5">
            <a:extLst>
              <a:ext uri="{FF2B5EF4-FFF2-40B4-BE49-F238E27FC236}">
                <a16:creationId xmlns:a16="http://schemas.microsoft.com/office/drawing/2014/main" id="{5381EEC3-047D-F310-B390-9EFE67AB4E68}"/>
              </a:ext>
            </a:extLst>
          </p:cNvPr>
          <p:cNvSpPr>
            <a:spLocks noGrp="1"/>
          </p:cNvSpPr>
          <p:nvPr>
            <p:ph type="body" sz="quarter" idx="14" hasCustomPrompt="1"/>
          </p:nvPr>
        </p:nvSpPr>
        <p:spPr>
          <a:xfrm>
            <a:off x="814558" y="860100"/>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Tree>
    <p:extLst>
      <p:ext uri="{BB962C8B-B14F-4D97-AF65-F5344CB8AC3E}">
        <p14:creationId xmlns:p14="http://schemas.microsoft.com/office/powerpoint/2010/main" val="137795545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18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39"/>
            <a:ext cx="12191999"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424208080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17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406564244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16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0"/>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38023262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5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228600"/>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295014654"/>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_Agenda layout 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7" name="Slide Number Placeholder 1">
            <a:extLst>
              <a:ext uri="{FF2B5EF4-FFF2-40B4-BE49-F238E27FC236}">
                <a16:creationId xmlns:a16="http://schemas.microsoft.com/office/drawing/2014/main" id="{B718CDCC-D8DC-B0D6-1BD9-921E8D4874E6}"/>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64" name="Title Placeholder 13">
            <a:extLst>
              <a:ext uri="{FF2B5EF4-FFF2-40B4-BE49-F238E27FC236}">
                <a16:creationId xmlns:a16="http://schemas.microsoft.com/office/drawing/2014/main" id="{6EB62A34-548B-BEDA-D7A4-52B80F28F6F6}"/>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65" name="Straight Connector 64">
            <a:extLst>
              <a:ext uri="{FF2B5EF4-FFF2-40B4-BE49-F238E27FC236}">
                <a16:creationId xmlns:a16="http://schemas.microsoft.com/office/drawing/2014/main" id="{E7C0E53A-2A85-E8F8-E26B-976181F90D07}"/>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6" name="Straight Connector 65">
            <a:extLst>
              <a:ext uri="{FF2B5EF4-FFF2-40B4-BE49-F238E27FC236}">
                <a16:creationId xmlns:a16="http://schemas.microsoft.com/office/drawing/2014/main" id="{5DC6CB0C-179F-81EB-02CE-0106DE1166AC}"/>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C8128A8F-98D7-3341-3CA5-E7A3743FDCDD}"/>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55CC3607-E7CC-FDEC-B87C-D626258DA100}"/>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9" name="Straight Connector 68">
            <a:extLst>
              <a:ext uri="{FF2B5EF4-FFF2-40B4-BE49-F238E27FC236}">
                <a16:creationId xmlns:a16="http://schemas.microsoft.com/office/drawing/2014/main" id="{9409FA13-0EB3-DAC4-D8E9-678F17AE1D62}"/>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0" name="Straight Connector 69">
            <a:extLst>
              <a:ext uri="{FF2B5EF4-FFF2-40B4-BE49-F238E27FC236}">
                <a16:creationId xmlns:a16="http://schemas.microsoft.com/office/drawing/2014/main" id="{DD676B04-EEFF-230F-5D92-ADB493448432}"/>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1" name="Straight Connector 70">
            <a:extLst>
              <a:ext uri="{FF2B5EF4-FFF2-40B4-BE49-F238E27FC236}">
                <a16:creationId xmlns:a16="http://schemas.microsoft.com/office/drawing/2014/main" id="{538D5F85-D448-7E5B-BDB5-0A4968D63F3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72" name="Text Placeholder 39">
            <a:extLst>
              <a:ext uri="{FF2B5EF4-FFF2-40B4-BE49-F238E27FC236}">
                <a16:creationId xmlns:a16="http://schemas.microsoft.com/office/drawing/2014/main" id="{07E73D03-5863-56DB-D568-6AB72894412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73" name="Text Placeholder 39">
            <a:extLst>
              <a:ext uri="{FF2B5EF4-FFF2-40B4-BE49-F238E27FC236}">
                <a16:creationId xmlns:a16="http://schemas.microsoft.com/office/drawing/2014/main" id="{EE959897-51AA-1BAA-0F53-BDCF2828B8C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74" name="Text Placeholder 39">
            <a:extLst>
              <a:ext uri="{FF2B5EF4-FFF2-40B4-BE49-F238E27FC236}">
                <a16:creationId xmlns:a16="http://schemas.microsoft.com/office/drawing/2014/main" id="{B456E000-7E49-11B1-C77A-0DA997F4D5EB}"/>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75" name="Text Placeholder 39">
            <a:extLst>
              <a:ext uri="{FF2B5EF4-FFF2-40B4-BE49-F238E27FC236}">
                <a16:creationId xmlns:a16="http://schemas.microsoft.com/office/drawing/2014/main" id="{3C4EF879-36E0-FF43-913F-0E9A02BA1201}"/>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76" name="Text Placeholder 39">
            <a:extLst>
              <a:ext uri="{FF2B5EF4-FFF2-40B4-BE49-F238E27FC236}">
                <a16:creationId xmlns:a16="http://schemas.microsoft.com/office/drawing/2014/main" id="{518D1BC5-FA3F-4F93-FEE1-CB7B86723DE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77" name="Text Placeholder 39">
            <a:extLst>
              <a:ext uri="{FF2B5EF4-FFF2-40B4-BE49-F238E27FC236}">
                <a16:creationId xmlns:a16="http://schemas.microsoft.com/office/drawing/2014/main" id="{F324FD2B-6ABE-7CE4-0191-5185B3BAFF4B}"/>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78" name="Text Placeholder 39">
            <a:extLst>
              <a:ext uri="{FF2B5EF4-FFF2-40B4-BE49-F238E27FC236}">
                <a16:creationId xmlns:a16="http://schemas.microsoft.com/office/drawing/2014/main" id="{06F73631-0C79-EE6F-6A24-6F2CB7E4239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79" name="Text Placeholder 39">
            <a:extLst>
              <a:ext uri="{FF2B5EF4-FFF2-40B4-BE49-F238E27FC236}">
                <a16:creationId xmlns:a16="http://schemas.microsoft.com/office/drawing/2014/main" id="{D4BFECB8-B272-4E27-73A6-DD1EB09622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80" name="Text Placeholder 39">
            <a:extLst>
              <a:ext uri="{FF2B5EF4-FFF2-40B4-BE49-F238E27FC236}">
                <a16:creationId xmlns:a16="http://schemas.microsoft.com/office/drawing/2014/main" id="{3909EADE-A5FA-971F-AF65-A48123991355}"/>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1" name="Text Placeholder 39">
            <a:extLst>
              <a:ext uri="{FF2B5EF4-FFF2-40B4-BE49-F238E27FC236}">
                <a16:creationId xmlns:a16="http://schemas.microsoft.com/office/drawing/2014/main" id="{8E045A1E-A07D-3C8A-C6B9-FA131E0B3B38}"/>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2" name="Text Placeholder 39">
            <a:extLst>
              <a:ext uri="{FF2B5EF4-FFF2-40B4-BE49-F238E27FC236}">
                <a16:creationId xmlns:a16="http://schemas.microsoft.com/office/drawing/2014/main" id="{FDF63BA5-591D-F3A6-BB3D-C74753EE1120}"/>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3" name="Text Placeholder 39">
            <a:extLst>
              <a:ext uri="{FF2B5EF4-FFF2-40B4-BE49-F238E27FC236}">
                <a16:creationId xmlns:a16="http://schemas.microsoft.com/office/drawing/2014/main" id="{5F96C7D4-5F77-30AD-13E2-6D08A59A5B11}"/>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4" name="Text Placeholder 39">
            <a:extLst>
              <a:ext uri="{FF2B5EF4-FFF2-40B4-BE49-F238E27FC236}">
                <a16:creationId xmlns:a16="http://schemas.microsoft.com/office/drawing/2014/main" id="{C8CDEF22-E859-45D9-BF9C-BBB18933EF4C}"/>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5" name="Text Placeholder 39">
            <a:extLst>
              <a:ext uri="{FF2B5EF4-FFF2-40B4-BE49-F238E27FC236}">
                <a16:creationId xmlns:a16="http://schemas.microsoft.com/office/drawing/2014/main" id="{F99BC4FF-602B-1EE0-5635-292F58CAF3C0}"/>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6" name="Text Placeholder 39">
            <a:extLst>
              <a:ext uri="{FF2B5EF4-FFF2-40B4-BE49-F238E27FC236}">
                <a16:creationId xmlns:a16="http://schemas.microsoft.com/office/drawing/2014/main" id="{F90BF824-AB0C-19AB-212C-A4BAEAB974FA}"/>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7" name="Text Placeholder 39">
            <a:extLst>
              <a:ext uri="{FF2B5EF4-FFF2-40B4-BE49-F238E27FC236}">
                <a16:creationId xmlns:a16="http://schemas.microsoft.com/office/drawing/2014/main" id="{92FE9B89-8F64-6D51-8E2B-A18271F4BC20}"/>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86978474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776072"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95955" y="282822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6995985"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823062"/>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graphicFrame>
        <p:nvGraphicFramePr>
          <p:cNvPr id="66" name="Table 5">
            <a:extLst>
              <a:ext uri="{FF2B5EF4-FFF2-40B4-BE49-F238E27FC236}">
                <a16:creationId xmlns:a16="http://schemas.microsoft.com/office/drawing/2014/main" id="{ECBC1793-4F31-C1E1-755D-41B5D4784098}"/>
              </a:ext>
            </a:extLst>
          </p:cNvPr>
          <p:cNvGraphicFramePr>
            <a:graphicFrameLocks noGrp="1"/>
          </p:cNvGraphicFramePr>
          <p:nvPr userDrawn="1"/>
        </p:nvGraphicFramePr>
        <p:xfrm>
          <a:off x="814557" y="3513700"/>
          <a:ext cx="10621782" cy="370840"/>
        </p:xfrm>
        <a:graphic>
          <a:graphicData uri="http://schemas.openxmlformats.org/drawingml/2006/table">
            <a:tbl>
              <a:tblPr firstRow="1" bandRow="1">
                <a:tableStyleId>{5C22544A-7EE6-4342-B048-85BDC9FD1C3A}</a:tableStyleId>
              </a:tblPr>
              <a:tblGrid>
                <a:gridCol w="1770297">
                  <a:extLst>
                    <a:ext uri="{9D8B030D-6E8A-4147-A177-3AD203B41FA5}">
                      <a16:colId xmlns:a16="http://schemas.microsoft.com/office/drawing/2014/main" val="3406844630"/>
                    </a:ext>
                  </a:extLst>
                </a:gridCol>
                <a:gridCol w="1770297">
                  <a:extLst>
                    <a:ext uri="{9D8B030D-6E8A-4147-A177-3AD203B41FA5}">
                      <a16:colId xmlns:a16="http://schemas.microsoft.com/office/drawing/2014/main" val="1945530150"/>
                    </a:ext>
                  </a:extLst>
                </a:gridCol>
                <a:gridCol w="1770297">
                  <a:extLst>
                    <a:ext uri="{9D8B030D-6E8A-4147-A177-3AD203B41FA5}">
                      <a16:colId xmlns:a16="http://schemas.microsoft.com/office/drawing/2014/main" val="1005128605"/>
                    </a:ext>
                  </a:extLst>
                </a:gridCol>
                <a:gridCol w="1770297">
                  <a:extLst>
                    <a:ext uri="{9D8B030D-6E8A-4147-A177-3AD203B41FA5}">
                      <a16:colId xmlns:a16="http://schemas.microsoft.com/office/drawing/2014/main" val="458871675"/>
                    </a:ext>
                  </a:extLst>
                </a:gridCol>
                <a:gridCol w="1770297">
                  <a:extLst>
                    <a:ext uri="{9D8B030D-6E8A-4147-A177-3AD203B41FA5}">
                      <a16:colId xmlns:a16="http://schemas.microsoft.com/office/drawing/2014/main" val="2469416919"/>
                    </a:ext>
                  </a:extLst>
                </a:gridCol>
                <a:gridCol w="1770297">
                  <a:extLst>
                    <a:ext uri="{9D8B030D-6E8A-4147-A177-3AD203B41FA5}">
                      <a16:colId xmlns:a16="http://schemas.microsoft.com/office/drawing/2014/main" val="4143765711"/>
                    </a:ext>
                  </a:extLst>
                </a:gridCol>
              </a:tblGrid>
              <a:tr h="370840">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extLst>
                  <a:ext uri="{0D108BD9-81ED-4DB2-BD59-A6C34878D82A}">
                    <a16:rowId xmlns:a16="http://schemas.microsoft.com/office/drawing/2014/main" val="3671987825"/>
                  </a:ext>
                </a:extLst>
              </a:tr>
            </a:tbl>
          </a:graphicData>
        </a:graphic>
      </p:graphicFrame>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990601"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68029"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94839" y="1998846"/>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233984"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F7B2233B-0C35-3E3B-0EAA-BB8CD5BA9BCC}"/>
              </a:ext>
            </a:extLst>
          </p:cNvPr>
          <p:cNvSpPr>
            <a:spLocks noGrp="1"/>
          </p:cNvSpPr>
          <p:nvPr>
            <p:ph type="body" sz="quarter" idx="19" hasCustomPrompt="1"/>
          </p:nvPr>
        </p:nvSpPr>
        <p:spPr>
          <a:xfrm>
            <a:off x="9799940" y="4920481"/>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8033955" y="1992709"/>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838621" y="3589012"/>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126" y="358167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402411"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01916"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24445"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723950"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718296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Table layout 1">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 name="Title 1">
            <a:extLst>
              <a:ext uri="{FF2B5EF4-FFF2-40B4-BE49-F238E27FC236}">
                <a16:creationId xmlns:a16="http://schemas.microsoft.com/office/drawing/2014/main" id="{49C1434C-0120-CEF5-CC23-5FF4B8ED5062}"/>
              </a:ext>
            </a:extLst>
          </p:cNvPr>
          <p:cNvSpPr>
            <a:spLocks noGrp="1"/>
          </p:cNvSpPr>
          <p:nvPr>
            <p:ph type="title"/>
          </p:nvPr>
        </p:nvSpPr>
        <p:spPr>
          <a:xfrm>
            <a:off x="814558" y="709937"/>
            <a:ext cx="10621792" cy="553998"/>
          </a:xfrm>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262D7DA6-A859-7792-F914-4B9F77F2CFB3}"/>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aphicFrame>
        <p:nvGraphicFramePr>
          <p:cNvPr id="8" name="Table 6">
            <a:extLst>
              <a:ext uri="{FF2B5EF4-FFF2-40B4-BE49-F238E27FC236}">
                <a16:creationId xmlns:a16="http://schemas.microsoft.com/office/drawing/2014/main" id="{599054DE-EEC2-1D61-7652-05828E4EA53F}"/>
              </a:ext>
            </a:extLst>
          </p:cNvPr>
          <p:cNvGraphicFramePr>
            <a:graphicFrameLocks noGrp="1"/>
          </p:cNvGraphicFramePr>
          <p:nvPr userDrawn="1"/>
        </p:nvGraphicFramePr>
        <p:xfrm>
          <a:off x="814558" y="1644296"/>
          <a:ext cx="10621792" cy="1695808"/>
        </p:xfrm>
        <a:graphic>
          <a:graphicData uri="http://schemas.openxmlformats.org/drawingml/2006/table">
            <a:tbl>
              <a:tblPr firstRow="1" bandRow="1">
                <a:tableStyleId>{5C22544A-7EE6-4342-B048-85BDC9FD1C3A}</a:tableStyleId>
              </a:tblPr>
              <a:tblGrid>
                <a:gridCol w="2655448">
                  <a:extLst>
                    <a:ext uri="{9D8B030D-6E8A-4147-A177-3AD203B41FA5}">
                      <a16:colId xmlns:a16="http://schemas.microsoft.com/office/drawing/2014/main" val="2472414018"/>
                    </a:ext>
                  </a:extLst>
                </a:gridCol>
                <a:gridCol w="2655448">
                  <a:extLst>
                    <a:ext uri="{9D8B030D-6E8A-4147-A177-3AD203B41FA5}">
                      <a16:colId xmlns:a16="http://schemas.microsoft.com/office/drawing/2014/main" val="25349484"/>
                    </a:ext>
                  </a:extLst>
                </a:gridCol>
                <a:gridCol w="2655448">
                  <a:extLst>
                    <a:ext uri="{9D8B030D-6E8A-4147-A177-3AD203B41FA5}">
                      <a16:colId xmlns:a16="http://schemas.microsoft.com/office/drawing/2014/main" val="3751807957"/>
                    </a:ext>
                  </a:extLst>
                </a:gridCol>
                <a:gridCol w="2655448">
                  <a:extLst>
                    <a:ext uri="{9D8B030D-6E8A-4147-A177-3AD203B41FA5}">
                      <a16:colId xmlns:a16="http://schemas.microsoft.com/office/drawing/2014/main" val="147687791"/>
                    </a:ext>
                  </a:extLst>
                </a:gridCol>
              </a:tblGrid>
              <a:tr h="423952">
                <a:tc>
                  <a:txBody>
                    <a:bodyPr/>
                    <a:lstStyle/>
                    <a:p>
                      <a:pPr algn="ctr"/>
                      <a:endParaRPr lang="en-US">
                        <a:solidFill>
                          <a:schemeClr val="tx1"/>
                        </a:solidFill>
                      </a:endParaRPr>
                    </a:p>
                  </a:txBody>
                  <a:tcPr marL="108000" marR="108000" anchor="ctr">
                    <a:noFill/>
                  </a:tcPr>
                </a:tc>
                <a:tc>
                  <a:txBody>
                    <a:bodyPr/>
                    <a:lstStyle/>
                    <a:p>
                      <a:pPr algn="ctr"/>
                      <a:r>
                        <a:rPr lang="en-US">
                          <a:solidFill>
                            <a:schemeClr val="bg1"/>
                          </a:solidFill>
                        </a:rPr>
                        <a:t>One</a:t>
                      </a:r>
                    </a:p>
                  </a:txBody>
                  <a:tcPr marL="108000" marR="108000" anchor="ctr">
                    <a:solidFill>
                      <a:schemeClr val="tx1"/>
                    </a:solidFill>
                  </a:tcPr>
                </a:tc>
                <a:tc>
                  <a:txBody>
                    <a:bodyPr/>
                    <a:lstStyle/>
                    <a:p>
                      <a:pPr algn="ctr"/>
                      <a:r>
                        <a:rPr lang="en-US">
                          <a:solidFill>
                            <a:schemeClr val="bg1"/>
                          </a:solidFill>
                        </a:rPr>
                        <a:t>Two</a:t>
                      </a:r>
                    </a:p>
                  </a:txBody>
                  <a:tcPr marL="108000" marR="108000" anchor="ctr">
                    <a:solidFill>
                      <a:schemeClr val="tx1"/>
                    </a:solidFill>
                  </a:tcPr>
                </a:tc>
                <a:tc>
                  <a:txBody>
                    <a:bodyPr/>
                    <a:lstStyle/>
                    <a:p>
                      <a:pPr algn="ctr"/>
                      <a:r>
                        <a:rPr lang="en-US">
                          <a:solidFill>
                            <a:schemeClr val="bg1"/>
                          </a:solidFill>
                        </a:rPr>
                        <a:t>Three</a:t>
                      </a:r>
                    </a:p>
                  </a:txBody>
                  <a:tcPr marL="108000" marR="108000" anchor="ctr">
                    <a:solidFill>
                      <a:schemeClr val="tx1"/>
                    </a:solidFill>
                  </a:tcPr>
                </a:tc>
                <a:extLst>
                  <a:ext uri="{0D108BD9-81ED-4DB2-BD59-A6C34878D82A}">
                    <a16:rowId xmlns:a16="http://schemas.microsoft.com/office/drawing/2014/main" val="2423271603"/>
                  </a:ext>
                </a:extLst>
              </a:tr>
              <a:tr h="423952">
                <a:tc>
                  <a:txBody>
                    <a:bodyPr/>
                    <a:lstStyle/>
                    <a:p>
                      <a:pPr algn="ctr"/>
                      <a:r>
                        <a:rPr lang="en-US" sz="1800" b="1">
                          <a:solidFill>
                            <a:schemeClr val="bg1"/>
                          </a:solidFill>
                        </a:rPr>
                        <a:t>2020 – 2021</a:t>
                      </a:r>
                    </a:p>
                  </a:txBody>
                  <a:tcPr marL="108000" marR="108000" anchor="ctr">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600">
                          <a:solidFill>
                            <a:schemeClr val="bg2"/>
                          </a:solidFill>
                        </a:rPr>
                        <a:t>13</a:t>
                      </a:r>
                    </a:p>
                  </a:txBody>
                  <a:tcPr marL="108000" marR="10800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5</a:t>
                      </a:r>
                    </a:p>
                  </a:txBody>
                  <a:tcPr marL="108000" marR="10800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9332733"/>
                  </a:ext>
                </a:extLst>
              </a:tr>
              <a:tr h="423952">
                <a:tc>
                  <a:txBody>
                    <a:bodyPr/>
                    <a:lstStyle/>
                    <a:p>
                      <a:pPr algn="ctr"/>
                      <a:r>
                        <a:rPr lang="en-US" sz="1800" b="1">
                          <a:solidFill>
                            <a:schemeClr val="bg1"/>
                          </a:solidFill>
                        </a:rPr>
                        <a:t>2021 – 2022</a:t>
                      </a:r>
                    </a:p>
                  </a:txBody>
                  <a:tcPr marL="108000" marR="108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600">
                          <a:solidFill>
                            <a:schemeClr val="bg2"/>
                          </a:solidFill>
                        </a:rPr>
                        <a:t>12</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8448040"/>
                  </a:ext>
                </a:extLst>
              </a:tr>
              <a:tr h="423952">
                <a:tc>
                  <a:txBody>
                    <a:bodyPr/>
                    <a:lstStyle/>
                    <a:p>
                      <a:pPr algn="ctr"/>
                      <a:r>
                        <a:rPr lang="en-US" sz="1800" b="1">
                          <a:solidFill>
                            <a:schemeClr val="bg1"/>
                          </a:solidFill>
                        </a:rPr>
                        <a:t>2023 – 2023</a:t>
                      </a:r>
                    </a:p>
                  </a:txBody>
                  <a:tcPr marL="108000" marR="108000" anchor="ctr">
                    <a:lnT w="12700" cap="flat" cmpd="sng" algn="ctr">
                      <a:solidFill>
                        <a:schemeClr val="bg1"/>
                      </a:solidFill>
                      <a:prstDash val="solid"/>
                      <a:round/>
                      <a:headEnd type="none" w="med" len="med"/>
                      <a:tailEnd type="none" w="med" len="med"/>
                    </a:lnT>
                    <a:solidFill>
                      <a:schemeClr val="tx2"/>
                    </a:solidFill>
                  </a:tcPr>
                </a:tc>
                <a:tc>
                  <a:txBody>
                    <a:bodyPr/>
                    <a:lstStyle/>
                    <a:p>
                      <a:pPr algn="ctr"/>
                      <a:r>
                        <a:rPr lang="en-US" sz="1600">
                          <a:solidFill>
                            <a:schemeClr val="bg2"/>
                          </a:solidFill>
                        </a:rPr>
                        <a:t>11</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sz="1600">
                          <a:solidFill>
                            <a:schemeClr val="bg2"/>
                          </a:solidFill>
                        </a:rPr>
                        <a:t>12</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541401568"/>
                  </a:ext>
                </a:extLst>
              </a:tr>
            </a:tbl>
          </a:graphicData>
        </a:graphic>
      </p:graphicFrame>
      <p:graphicFrame>
        <p:nvGraphicFramePr>
          <p:cNvPr id="11" name="Table 10">
            <a:extLst>
              <a:ext uri="{FF2B5EF4-FFF2-40B4-BE49-F238E27FC236}">
                <a16:creationId xmlns:a16="http://schemas.microsoft.com/office/drawing/2014/main" id="{192E5A07-2483-29E3-5047-ABA688F0D997}"/>
              </a:ext>
            </a:extLst>
          </p:cNvPr>
          <p:cNvGraphicFramePr>
            <a:graphicFrameLocks noGrp="1"/>
          </p:cNvGraphicFramePr>
          <p:nvPr userDrawn="1"/>
        </p:nvGraphicFramePr>
        <p:xfrm>
          <a:off x="814558" y="3473163"/>
          <a:ext cx="10621792" cy="1695808"/>
        </p:xfrm>
        <a:graphic>
          <a:graphicData uri="http://schemas.openxmlformats.org/drawingml/2006/table">
            <a:tbl>
              <a:tblPr firstRow="1" bandRow="1">
                <a:tableStyleId>{5C22544A-7EE6-4342-B048-85BDC9FD1C3A}</a:tableStyleId>
              </a:tblPr>
              <a:tblGrid>
                <a:gridCol w="2655448">
                  <a:extLst>
                    <a:ext uri="{9D8B030D-6E8A-4147-A177-3AD203B41FA5}">
                      <a16:colId xmlns:a16="http://schemas.microsoft.com/office/drawing/2014/main" val="2472414018"/>
                    </a:ext>
                  </a:extLst>
                </a:gridCol>
                <a:gridCol w="2655448">
                  <a:extLst>
                    <a:ext uri="{9D8B030D-6E8A-4147-A177-3AD203B41FA5}">
                      <a16:colId xmlns:a16="http://schemas.microsoft.com/office/drawing/2014/main" val="25349484"/>
                    </a:ext>
                  </a:extLst>
                </a:gridCol>
                <a:gridCol w="2655448">
                  <a:extLst>
                    <a:ext uri="{9D8B030D-6E8A-4147-A177-3AD203B41FA5}">
                      <a16:colId xmlns:a16="http://schemas.microsoft.com/office/drawing/2014/main" val="3751807957"/>
                    </a:ext>
                  </a:extLst>
                </a:gridCol>
                <a:gridCol w="2655448">
                  <a:extLst>
                    <a:ext uri="{9D8B030D-6E8A-4147-A177-3AD203B41FA5}">
                      <a16:colId xmlns:a16="http://schemas.microsoft.com/office/drawing/2014/main" val="147687791"/>
                    </a:ext>
                  </a:extLst>
                </a:gridCol>
              </a:tblGrid>
              <a:tr h="423952">
                <a:tc>
                  <a:txBody>
                    <a:bodyPr/>
                    <a:lstStyle/>
                    <a:p>
                      <a:pPr algn="ctr"/>
                      <a:endParaRPr lang="en-US">
                        <a:solidFill>
                          <a:schemeClr val="bg1"/>
                        </a:solidFill>
                      </a:endParaRPr>
                    </a:p>
                  </a:txBody>
                  <a:tcPr marL="108000" marR="108000" anchor="ctr">
                    <a:noFill/>
                  </a:tcPr>
                </a:tc>
                <a:tc>
                  <a:txBody>
                    <a:bodyPr/>
                    <a:lstStyle/>
                    <a:p>
                      <a:pPr algn="ctr"/>
                      <a:r>
                        <a:rPr lang="en-US">
                          <a:solidFill>
                            <a:schemeClr val="bg1"/>
                          </a:solidFill>
                        </a:rPr>
                        <a:t>One</a:t>
                      </a:r>
                    </a:p>
                  </a:txBody>
                  <a:tcPr marL="108000" marR="108000" anchor="ctr">
                    <a:solidFill>
                      <a:schemeClr val="tx1"/>
                    </a:solidFill>
                  </a:tcPr>
                </a:tc>
                <a:tc>
                  <a:txBody>
                    <a:bodyPr/>
                    <a:lstStyle/>
                    <a:p>
                      <a:pPr algn="ctr"/>
                      <a:r>
                        <a:rPr lang="en-US">
                          <a:solidFill>
                            <a:schemeClr val="bg1"/>
                          </a:solidFill>
                        </a:rPr>
                        <a:t>Two</a:t>
                      </a:r>
                    </a:p>
                  </a:txBody>
                  <a:tcPr marL="108000" marR="108000" anchor="ctr">
                    <a:solidFill>
                      <a:schemeClr val="tx1"/>
                    </a:solidFill>
                  </a:tcPr>
                </a:tc>
                <a:tc>
                  <a:txBody>
                    <a:bodyPr/>
                    <a:lstStyle/>
                    <a:p>
                      <a:pPr algn="ctr"/>
                      <a:r>
                        <a:rPr lang="en-US">
                          <a:solidFill>
                            <a:schemeClr val="bg1"/>
                          </a:solidFill>
                        </a:rPr>
                        <a:t>Three</a:t>
                      </a:r>
                    </a:p>
                  </a:txBody>
                  <a:tcPr marL="108000" marR="108000" anchor="ctr">
                    <a:solidFill>
                      <a:schemeClr val="tx1"/>
                    </a:solidFill>
                  </a:tcPr>
                </a:tc>
                <a:extLst>
                  <a:ext uri="{0D108BD9-81ED-4DB2-BD59-A6C34878D82A}">
                    <a16:rowId xmlns:a16="http://schemas.microsoft.com/office/drawing/2014/main" val="2423271603"/>
                  </a:ext>
                </a:extLst>
              </a:tr>
              <a:tr h="423952">
                <a:tc>
                  <a:txBody>
                    <a:bodyPr/>
                    <a:lstStyle/>
                    <a:p>
                      <a:pPr algn="ctr"/>
                      <a:r>
                        <a:rPr lang="en-US" sz="1800" b="1">
                          <a:solidFill>
                            <a:schemeClr val="bg1"/>
                          </a:solidFill>
                        </a:rPr>
                        <a:t>2020 – 2021</a:t>
                      </a:r>
                    </a:p>
                  </a:txBody>
                  <a:tcPr marL="108000" marR="108000" anchor="ct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a:solidFill>
                            <a:schemeClr val="bg2"/>
                          </a:solidFill>
                        </a:rPr>
                        <a:t>13</a:t>
                      </a:r>
                    </a:p>
                  </a:txBody>
                  <a:tcPr marL="108000" marR="10800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5</a:t>
                      </a:r>
                    </a:p>
                  </a:txBody>
                  <a:tcPr marL="108000" marR="10800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9332733"/>
                  </a:ext>
                </a:extLst>
              </a:tr>
              <a:tr h="423952">
                <a:tc>
                  <a:txBody>
                    <a:bodyPr/>
                    <a:lstStyle/>
                    <a:p>
                      <a:pPr algn="ctr"/>
                      <a:r>
                        <a:rPr lang="en-US" sz="1800" b="1">
                          <a:solidFill>
                            <a:schemeClr val="bg1"/>
                          </a:solidFill>
                        </a:rPr>
                        <a:t>2021 – 2022</a:t>
                      </a:r>
                    </a:p>
                  </a:txBody>
                  <a:tcPr marL="108000" marR="108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a:solidFill>
                            <a:schemeClr val="bg2"/>
                          </a:solidFill>
                        </a:rPr>
                        <a:t>12</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4</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8448040"/>
                  </a:ext>
                </a:extLst>
              </a:tr>
              <a:tr h="423952">
                <a:tc>
                  <a:txBody>
                    <a:bodyPr/>
                    <a:lstStyle/>
                    <a:p>
                      <a:pPr algn="ctr"/>
                      <a:r>
                        <a:rPr lang="en-US" sz="1800" b="1">
                          <a:solidFill>
                            <a:schemeClr val="bg1"/>
                          </a:solidFill>
                        </a:rPr>
                        <a:t>2023 – 2023</a:t>
                      </a:r>
                    </a:p>
                  </a:txBody>
                  <a:tcPr marL="108000" marR="10800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US" sz="1600">
                          <a:solidFill>
                            <a:schemeClr val="bg2"/>
                          </a:solidFill>
                        </a:rPr>
                        <a:t>11</a:t>
                      </a:r>
                    </a:p>
                  </a:txBody>
                  <a:tcPr marL="108000" marR="108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2</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chemeClr val="bg2"/>
                          </a:solidFill>
                        </a:rPr>
                        <a:t>13</a:t>
                      </a:r>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1401568"/>
                  </a:ext>
                </a:extLst>
              </a:tr>
            </a:tbl>
          </a:graphicData>
        </a:graphic>
      </p:graphicFrame>
    </p:spTree>
    <p:extLst>
      <p:ext uri="{BB962C8B-B14F-4D97-AF65-F5344CB8AC3E}">
        <p14:creationId xmlns:p14="http://schemas.microsoft.com/office/powerpoint/2010/main" val="300764034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_Six point hexagon">
    <p:bg>
      <p:bgRef idx="1001">
        <a:schemeClr val="bg1"/>
      </p:bgRef>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228600"/>
            <a:ext cx="10621792" cy="553998"/>
          </a:xfrm>
          <a:prstGeom prst="rect">
            <a:avLst/>
          </a:prstGeom>
        </p:spPr>
        <p:txBody>
          <a:bodyPr vert="horz" wrap="square" lIns="0" tIns="0" rIns="0" bIns="0" rtlCol="0" anchor="t" anchorCtr="0">
            <a:spAutoFit/>
          </a:bodyPr>
          <a:lstStyle>
            <a:lvl1pPr>
              <a:defRPr baseline="0"/>
            </a:lvl1pPr>
          </a:lstStyle>
          <a:p>
            <a:r>
              <a:rPr lang="en-US"/>
              <a:t>Six points - hex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2" name="Group 31">
            <a:extLst>
              <a:ext uri="{FF2B5EF4-FFF2-40B4-BE49-F238E27FC236}">
                <a16:creationId xmlns:a16="http://schemas.microsoft.com/office/drawing/2014/main" id="{529A6C24-BAAB-0684-EBE2-6759201829BB}"/>
              </a:ext>
            </a:extLst>
          </p:cNvPr>
          <p:cNvGrpSpPr/>
          <p:nvPr userDrawn="1"/>
        </p:nvGrpSpPr>
        <p:grpSpPr>
          <a:xfrm>
            <a:off x="815975" y="2337351"/>
            <a:ext cx="10620375" cy="3331825"/>
            <a:chOff x="815975" y="2032551"/>
            <a:chExt cx="10620375" cy="3331825"/>
          </a:xfrm>
        </p:grpSpPr>
        <p:cxnSp>
          <p:nvCxnSpPr>
            <p:cNvPr id="56" name="Straight Connector 55">
              <a:extLst>
                <a:ext uri="{FF2B5EF4-FFF2-40B4-BE49-F238E27FC236}">
                  <a16:creationId xmlns:a16="http://schemas.microsoft.com/office/drawing/2014/main" id="{84549077-8C63-7ADD-8836-74348AB7C9B1}"/>
                </a:ext>
              </a:extLst>
            </p:cNvPr>
            <p:cNvCxnSpPr>
              <a:cxnSpLocks/>
            </p:cNvCxnSpPr>
            <p:nvPr/>
          </p:nvCxnSpPr>
          <p:spPr>
            <a:xfrm flipV="1">
              <a:off x="6125454" y="2032551"/>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0B41AAA-CBBE-6DFA-984F-71E63893EFC9}"/>
                </a:ext>
              </a:extLst>
            </p:cNvPr>
            <p:cNvCxnSpPr>
              <a:cxnSpLocks/>
            </p:cNvCxnSpPr>
            <p:nvPr/>
          </p:nvCxnSpPr>
          <p:spPr>
            <a:xfrm>
              <a:off x="6995461" y="297749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A28389-8E31-2964-B966-7D40D456A575}"/>
                </a:ext>
              </a:extLst>
            </p:cNvPr>
            <p:cNvCxnSpPr>
              <a:cxnSpLocks/>
            </p:cNvCxnSpPr>
            <p:nvPr/>
          </p:nvCxnSpPr>
          <p:spPr>
            <a:xfrm flipH="1">
              <a:off x="815975" y="296346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CA30902-AB6E-3782-F9D4-4F41087E663B}"/>
                </a:ext>
              </a:extLst>
            </p:cNvPr>
            <p:cNvCxnSpPr>
              <a:cxnSpLocks/>
            </p:cNvCxnSpPr>
            <p:nvPr/>
          </p:nvCxnSpPr>
          <p:spPr>
            <a:xfrm>
              <a:off x="6145778" y="4268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6C31BE-013C-8689-C9DB-6BDA3EE6E339}"/>
                </a:ext>
              </a:extLst>
            </p:cNvPr>
            <p:cNvCxnSpPr>
              <a:cxnSpLocks/>
            </p:cNvCxnSpPr>
            <p:nvPr/>
          </p:nvCxnSpPr>
          <p:spPr>
            <a:xfrm>
              <a:off x="6995461" y="44095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BB17F0-0023-5B1E-E111-1BD43FF4F82A}"/>
                </a:ext>
              </a:extLst>
            </p:cNvPr>
            <p:cNvCxnSpPr>
              <a:cxnSpLocks/>
            </p:cNvCxnSpPr>
            <p:nvPr/>
          </p:nvCxnSpPr>
          <p:spPr>
            <a:xfrm flipH="1">
              <a:off x="815975" y="43955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5C5DA5BD-5C15-9FA7-6A21-DE4BCDEEBCC7}"/>
                </a:ext>
              </a:extLst>
            </p:cNvPr>
            <p:cNvGrpSpPr/>
            <p:nvPr/>
          </p:nvGrpSpPr>
          <p:grpSpPr>
            <a:xfrm>
              <a:off x="4561708" y="2277806"/>
              <a:ext cx="3168140" cy="2782036"/>
              <a:chOff x="7397879" y="730250"/>
              <a:chExt cx="1866261" cy="1638818"/>
            </a:xfrm>
          </p:grpSpPr>
          <p:sp>
            <p:nvSpPr>
              <p:cNvPr id="50" name="Freeform 49">
                <a:extLst>
                  <a:ext uri="{FF2B5EF4-FFF2-40B4-BE49-F238E27FC236}">
                    <a16:creationId xmlns:a16="http://schemas.microsoft.com/office/drawing/2014/main" id="{BF7E2AB7-E273-7D11-FF1E-686D88BB8DA2}"/>
                  </a:ext>
                </a:extLst>
              </p:cNvPr>
              <p:cNvSpPr/>
              <p:nvPr/>
            </p:nvSpPr>
            <p:spPr>
              <a:xfrm>
                <a:off x="8502365" y="752167"/>
                <a:ext cx="753882" cy="765743"/>
              </a:xfrm>
              <a:custGeom>
                <a:avLst/>
                <a:gdLst>
                  <a:gd name="connsiteX0" fmla="*/ 127258 w 753882"/>
                  <a:gd name="connsiteY0" fmla="*/ 765744 h 765743"/>
                  <a:gd name="connsiteX1" fmla="*/ 753882 w 753882"/>
                  <a:gd name="connsiteY1" fmla="*/ 764213 h 765743"/>
                  <a:gd name="connsiteX2" fmla="*/ 312909 w 753882"/>
                  <a:gd name="connsiteY2" fmla="*/ 0 h 765743"/>
                  <a:gd name="connsiteX3" fmla="*/ 0 w 753882"/>
                  <a:gd name="connsiteY3" fmla="*/ 545199 h 765743"/>
                  <a:gd name="connsiteX4" fmla="*/ 127258 w 753882"/>
                  <a:gd name="connsiteY4" fmla="*/ 765744 h 76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882" h="765743">
                    <a:moveTo>
                      <a:pt x="127258" y="765744"/>
                    </a:moveTo>
                    <a:lnTo>
                      <a:pt x="753882" y="764213"/>
                    </a:lnTo>
                    <a:lnTo>
                      <a:pt x="312909" y="0"/>
                    </a:lnTo>
                    <a:lnTo>
                      <a:pt x="0" y="545199"/>
                    </a:lnTo>
                    <a:lnTo>
                      <a:pt x="127258" y="765744"/>
                    </a:lnTo>
                    <a:close/>
                  </a:path>
                </a:pathLst>
              </a:custGeom>
              <a:solidFill>
                <a:schemeClr val="bg2"/>
              </a:solidFill>
              <a:ln w="805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DB611C49-D140-F25F-F43F-56E0012052A1}"/>
                  </a:ext>
                </a:extLst>
              </p:cNvPr>
              <p:cNvSpPr/>
              <p:nvPr/>
            </p:nvSpPr>
            <p:spPr>
              <a:xfrm>
                <a:off x="7400617" y="756679"/>
                <a:ext cx="755573" cy="764212"/>
              </a:xfrm>
              <a:custGeom>
                <a:avLst/>
                <a:gdLst>
                  <a:gd name="connsiteX0" fmla="*/ 755574 w 755573"/>
                  <a:gd name="connsiteY0" fmla="*/ 542137 h 764212"/>
                  <a:gd name="connsiteX1" fmla="*/ 440973 w 755573"/>
                  <a:gd name="connsiteY1" fmla="*/ 0 h 764212"/>
                  <a:gd name="connsiteX2" fmla="*/ 0 w 755573"/>
                  <a:gd name="connsiteY2" fmla="*/ 764213 h 764212"/>
                  <a:gd name="connsiteX3" fmla="*/ 628316 w 755573"/>
                  <a:gd name="connsiteY3" fmla="*/ 762682 h 764212"/>
                  <a:gd name="connsiteX4" fmla="*/ 755574 w 755573"/>
                  <a:gd name="connsiteY4" fmla="*/ 542137 h 764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573" h="764212">
                    <a:moveTo>
                      <a:pt x="755574" y="542137"/>
                    </a:moveTo>
                    <a:lnTo>
                      <a:pt x="440973" y="0"/>
                    </a:lnTo>
                    <a:lnTo>
                      <a:pt x="0" y="764213"/>
                    </a:lnTo>
                    <a:lnTo>
                      <a:pt x="628316" y="762682"/>
                    </a:lnTo>
                    <a:lnTo>
                      <a:pt x="755574" y="542137"/>
                    </a:lnTo>
                    <a:close/>
                  </a:path>
                </a:pathLst>
              </a:custGeom>
              <a:solidFill>
                <a:schemeClr val="accent4"/>
              </a:solidFill>
              <a:ln w="805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A3FD2F2-AC0C-F3EA-5956-6E969BC4963B}"/>
                  </a:ext>
                </a:extLst>
              </p:cNvPr>
              <p:cNvSpPr/>
              <p:nvPr/>
            </p:nvSpPr>
            <p:spPr>
              <a:xfrm>
                <a:off x="7887338" y="1825401"/>
                <a:ext cx="890000" cy="543667"/>
              </a:xfrm>
              <a:custGeom>
                <a:avLst/>
                <a:gdLst>
                  <a:gd name="connsiteX0" fmla="*/ 312024 w 890000"/>
                  <a:gd name="connsiteY0" fmla="*/ 0 h 543667"/>
                  <a:gd name="connsiteX1" fmla="*/ 0 w 890000"/>
                  <a:gd name="connsiteY1" fmla="*/ 543668 h 543667"/>
                  <a:gd name="connsiteX2" fmla="*/ 890000 w 890000"/>
                  <a:gd name="connsiteY2" fmla="*/ 543668 h 543667"/>
                  <a:gd name="connsiteX3" fmla="*/ 574513 w 890000"/>
                  <a:gd name="connsiteY3" fmla="*/ 0 h 543667"/>
                  <a:gd name="connsiteX4" fmla="*/ 312024 w 890000"/>
                  <a:gd name="connsiteY4" fmla="*/ 0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00" h="543667">
                    <a:moveTo>
                      <a:pt x="312024" y="0"/>
                    </a:moveTo>
                    <a:lnTo>
                      <a:pt x="0" y="543668"/>
                    </a:lnTo>
                    <a:lnTo>
                      <a:pt x="890000" y="543668"/>
                    </a:lnTo>
                    <a:lnTo>
                      <a:pt x="574513" y="0"/>
                    </a:lnTo>
                    <a:lnTo>
                      <a:pt x="312024" y="0"/>
                    </a:lnTo>
                    <a:close/>
                  </a:path>
                </a:pathLst>
              </a:custGeom>
              <a:solidFill>
                <a:schemeClr val="accent5"/>
              </a:solidFill>
              <a:ln w="805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71D90DE7-F2BF-D3B6-8ABA-753BB64C7217}"/>
                  </a:ext>
                </a:extLst>
              </p:cNvPr>
              <p:cNvSpPr/>
              <p:nvPr/>
            </p:nvSpPr>
            <p:spPr>
              <a:xfrm>
                <a:off x="7887419" y="730250"/>
                <a:ext cx="879449" cy="543667"/>
              </a:xfrm>
              <a:custGeom>
                <a:avLst/>
                <a:gdLst>
                  <a:gd name="connsiteX0" fmla="*/ 567426 w 879449"/>
                  <a:gd name="connsiteY0" fmla="*/ 543668 h 543667"/>
                  <a:gd name="connsiteX1" fmla="*/ 879449 w 879449"/>
                  <a:gd name="connsiteY1" fmla="*/ 0 h 543667"/>
                  <a:gd name="connsiteX2" fmla="*/ 0 w 879449"/>
                  <a:gd name="connsiteY2" fmla="*/ 0 h 543667"/>
                  <a:gd name="connsiteX3" fmla="*/ 315487 w 879449"/>
                  <a:gd name="connsiteY3" fmla="*/ 543668 h 543667"/>
                  <a:gd name="connsiteX4" fmla="*/ 567426 w 879449"/>
                  <a:gd name="connsiteY4" fmla="*/ 543668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449" h="543667">
                    <a:moveTo>
                      <a:pt x="567426" y="543668"/>
                    </a:moveTo>
                    <a:lnTo>
                      <a:pt x="879449" y="0"/>
                    </a:lnTo>
                    <a:lnTo>
                      <a:pt x="0" y="0"/>
                    </a:lnTo>
                    <a:lnTo>
                      <a:pt x="315487" y="543668"/>
                    </a:lnTo>
                    <a:lnTo>
                      <a:pt x="567426" y="543668"/>
                    </a:lnTo>
                    <a:close/>
                  </a:path>
                </a:pathLst>
              </a:custGeom>
              <a:solidFill>
                <a:schemeClr val="accent1"/>
              </a:solidFill>
              <a:ln w="8054"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5416BCBB-81E0-E746-F180-1105A68A77D8}"/>
                  </a:ext>
                </a:extLst>
              </p:cNvPr>
              <p:cNvSpPr/>
              <p:nvPr/>
            </p:nvSpPr>
            <p:spPr>
              <a:xfrm>
                <a:off x="7397879" y="1572302"/>
                <a:ext cx="756540" cy="770256"/>
              </a:xfrm>
              <a:custGeom>
                <a:avLst/>
                <a:gdLst>
                  <a:gd name="connsiteX0" fmla="*/ 626625 w 756540"/>
                  <a:gd name="connsiteY0" fmla="*/ 0 h 770256"/>
                  <a:gd name="connsiteX1" fmla="*/ 0 w 756540"/>
                  <a:gd name="connsiteY1" fmla="*/ 1531 h 770256"/>
                  <a:gd name="connsiteX2" fmla="*/ 443711 w 756540"/>
                  <a:gd name="connsiteY2" fmla="*/ 770256 h 770256"/>
                  <a:gd name="connsiteX3" fmla="*/ 756540 w 756540"/>
                  <a:gd name="connsiteY3" fmla="*/ 225138 h 770256"/>
                  <a:gd name="connsiteX4" fmla="*/ 626625 w 756540"/>
                  <a:gd name="connsiteY4" fmla="*/ 0 h 77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540" h="770256">
                    <a:moveTo>
                      <a:pt x="626625" y="0"/>
                    </a:moveTo>
                    <a:lnTo>
                      <a:pt x="0" y="1531"/>
                    </a:lnTo>
                    <a:lnTo>
                      <a:pt x="443711" y="770256"/>
                    </a:lnTo>
                    <a:lnTo>
                      <a:pt x="756540" y="225138"/>
                    </a:lnTo>
                    <a:lnTo>
                      <a:pt x="626625" y="0"/>
                    </a:lnTo>
                    <a:close/>
                  </a:path>
                </a:pathLst>
              </a:custGeom>
              <a:solidFill>
                <a:schemeClr val="tx2"/>
              </a:solidFill>
              <a:ln w="805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EF22FEBA-171F-5F35-FF8B-AEA93595A3A0}"/>
                  </a:ext>
                </a:extLst>
              </p:cNvPr>
              <p:cNvSpPr/>
              <p:nvPr/>
            </p:nvSpPr>
            <p:spPr>
              <a:xfrm>
                <a:off x="8505828" y="1569240"/>
                <a:ext cx="758312" cy="768805"/>
              </a:xfrm>
              <a:custGeom>
                <a:avLst/>
                <a:gdLst>
                  <a:gd name="connsiteX0" fmla="*/ 0 w 758312"/>
                  <a:gd name="connsiteY0" fmla="*/ 226669 h 768805"/>
                  <a:gd name="connsiteX1" fmla="*/ 314682 w 758312"/>
                  <a:gd name="connsiteY1" fmla="*/ 768806 h 768805"/>
                  <a:gd name="connsiteX2" fmla="*/ 758312 w 758312"/>
                  <a:gd name="connsiteY2" fmla="*/ 0 h 768805"/>
                  <a:gd name="connsiteX3" fmla="*/ 129916 w 758312"/>
                  <a:gd name="connsiteY3" fmla="*/ 1531 h 768805"/>
                  <a:gd name="connsiteX4" fmla="*/ 0 w 758312"/>
                  <a:gd name="connsiteY4" fmla="*/ 226669 h 768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12" h="768805">
                    <a:moveTo>
                      <a:pt x="0" y="226669"/>
                    </a:moveTo>
                    <a:lnTo>
                      <a:pt x="314682" y="768806"/>
                    </a:lnTo>
                    <a:lnTo>
                      <a:pt x="758312" y="0"/>
                    </a:lnTo>
                    <a:lnTo>
                      <a:pt x="129916" y="1531"/>
                    </a:lnTo>
                    <a:lnTo>
                      <a:pt x="0" y="226669"/>
                    </a:lnTo>
                    <a:close/>
                  </a:path>
                </a:pathLst>
              </a:custGeom>
              <a:solidFill>
                <a:schemeClr val="tx1"/>
              </a:solidFill>
              <a:ln w="8054" cap="flat">
                <a:noFill/>
                <a:prstDash val="solid"/>
                <a:miter/>
              </a:ln>
            </p:spPr>
            <p:txBody>
              <a:bodyPr rtlCol="0" anchor="ctr"/>
              <a:lstStyle/>
              <a:p>
                <a:endParaRPr lang="en-US"/>
              </a:p>
            </p:txBody>
          </p:sp>
        </p:grpSp>
      </p:grpSp>
      <p:sp>
        <p:nvSpPr>
          <p:cNvPr id="59" name="Text Placeholder 49">
            <a:extLst>
              <a:ext uri="{FF2B5EF4-FFF2-40B4-BE49-F238E27FC236}">
                <a16:creationId xmlns:a16="http://schemas.microsoft.com/office/drawing/2014/main" id="{8DC2517D-2170-2ED2-782C-2C421B8D0334}"/>
              </a:ext>
            </a:extLst>
          </p:cNvPr>
          <p:cNvSpPr>
            <a:spLocks noGrp="1"/>
          </p:cNvSpPr>
          <p:nvPr>
            <p:ph type="body" sz="quarter" idx="24" hasCustomPrompt="1"/>
          </p:nvPr>
        </p:nvSpPr>
        <p:spPr>
          <a:xfrm>
            <a:off x="955263" y="3281212"/>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0" name="Text Placeholder 49">
            <a:extLst>
              <a:ext uri="{FF2B5EF4-FFF2-40B4-BE49-F238E27FC236}">
                <a16:creationId xmlns:a16="http://schemas.microsoft.com/office/drawing/2014/main" id="{1A3EB3BA-2E32-CE01-73B6-7B1747104B14}"/>
              </a:ext>
            </a:extLst>
          </p:cNvPr>
          <p:cNvSpPr>
            <a:spLocks noGrp="1"/>
          </p:cNvSpPr>
          <p:nvPr>
            <p:ph type="body" sz="quarter" idx="25" hasCustomPrompt="1"/>
          </p:nvPr>
        </p:nvSpPr>
        <p:spPr>
          <a:xfrm>
            <a:off x="975003" y="2992363"/>
            <a:ext cx="3700114" cy="282497"/>
          </a:xfrm>
        </p:spPr>
        <p:txBody>
          <a:bodyPr>
            <a:normAutofit/>
          </a:bodyPr>
          <a:lstStyle>
            <a:lvl1pPr algn="l">
              <a:defRPr sz="1400" b="1">
                <a:solidFill>
                  <a:schemeClr val="tx1"/>
                </a:solidFill>
              </a:defRPr>
            </a:lvl1pPr>
          </a:lstStyle>
          <a:p>
            <a:pPr lvl="0"/>
            <a:r>
              <a:rPr lang="en-US"/>
              <a:t>Lorem ipsum dolor</a:t>
            </a:r>
          </a:p>
        </p:txBody>
      </p:sp>
      <p:sp>
        <p:nvSpPr>
          <p:cNvPr id="61" name="Text Placeholder 49">
            <a:extLst>
              <a:ext uri="{FF2B5EF4-FFF2-40B4-BE49-F238E27FC236}">
                <a16:creationId xmlns:a16="http://schemas.microsoft.com/office/drawing/2014/main" id="{48CD2EEA-03EE-6EA6-53E8-36DA32D6B213}"/>
              </a:ext>
            </a:extLst>
          </p:cNvPr>
          <p:cNvSpPr>
            <a:spLocks noGrp="1"/>
          </p:cNvSpPr>
          <p:nvPr>
            <p:ph type="body" sz="quarter" idx="26" hasCustomPrompt="1"/>
          </p:nvPr>
        </p:nvSpPr>
        <p:spPr>
          <a:xfrm>
            <a:off x="913974" y="4737568"/>
            <a:ext cx="3723337" cy="575650"/>
          </a:xfrm>
        </p:spPr>
        <p:txBody>
          <a:bodyPr>
            <a:normAutofit/>
          </a:bodyPr>
          <a:lstStyle>
            <a:lvl1pPr algn="l">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2" name="Text Placeholder 49">
            <a:extLst>
              <a:ext uri="{FF2B5EF4-FFF2-40B4-BE49-F238E27FC236}">
                <a16:creationId xmlns:a16="http://schemas.microsoft.com/office/drawing/2014/main" id="{A67F4953-ED25-FC75-A20A-7F3BC4396EF0}"/>
              </a:ext>
            </a:extLst>
          </p:cNvPr>
          <p:cNvSpPr>
            <a:spLocks noGrp="1"/>
          </p:cNvSpPr>
          <p:nvPr>
            <p:ph type="body" sz="quarter" idx="27" hasCustomPrompt="1"/>
          </p:nvPr>
        </p:nvSpPr>
        <p:spPr>
          <a:xfrm>
            <a:off x="933714" y="4448719"/>
            <a:ext cx="3700114" cy="282497"/>
          </a:xfrm>
        </p:spPr>
        <p:txBody>
          <a:bodyPr>
            <a:normAutofit/>
          </a:bodyPr>
          <a:lstStyle>
            <a:lvl1pPr algn="l">
              <a:defRPr sz="1400" b="1">
                <a:solidFill>
                  <a:schemeClr val="tx1"/>
                </a:solidFill>
              </a:defRPr>
            </a:lvl1pPr>
          </a:lstStyle>
          <a:p>
            <a:pPr lvl="0"/>
            <a:r>
              <a:rPr lang="en-US"/>
              <a:t>Lorem ipsum dolor</a:t>
            </a:r>
          </a:p>
        </p:txBody>
      </p:sp>
      <p:sp>
        <p:nvSpPr>
          <p:cNvPr id="63" name="Text Placeholder 49">
            <a:extLst>
              <a:ext uri="{FF2B5EF4-FFF2-40B4-BE49-F238E27FC236}">
                <a16:creationId xmlns:a16="http://schemas.microsoft.com/office/drawing/2014/main" id="{4963A2E7-8232-290D-2AC0-46C20EEA21F3}"/>
              </a:ext>
            </a:extLst>
          </p:cNvPr>
          <p:cNvSpPr>
            <a:spLocks noGrp="1"/>
          </p:cNvSpPr>
          <p:nvPr>
            <p:ph type="body" sz="quarter" idx="28" hasCustomPrompt="1"/>
          </p:nvPr>
        </p:nvSpPr>
        <p:spPr>
          <a:xfrm>
            <a:off x="7574667" y="3301994"/>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4" name="Text Placeholder 49">
            <a:extLst>
              <a:ext uri="{FF2B5EF4-FFF2-40B4-BE49-F238E27FC236}">
                <a16:creationId xmlns:a16="http://schemas.microsoft.com/office/drawing/2014/main" id="{00C17830-FBA9-2FD8-515E-EEAB08573018}"/>
              </a:ext>
            </a:extLst>
          </p:cNvPr>
          <p:cNvSpPr>
            <a:spLocks noGrp="1"/>
          </p:cNvSpPr>
          <p:nvPr>
            <p:ph type="body" sz="quarter" idx="29" hasCustomPrompt="1"/>
          </p:nvPr>
        </p:nvSpPr>
        <p:spPr>
          <a:xfrm>
            <a:off x="7594407" y="3013145"/>
            <a:ext cx="3700114" cy="282497"/>
          </a:xfrm>
        </p:spPr>
        <p:txBody>
          <a:bodyPr>
            <a:normAutofit/>
          </a:bodyPr>
          <a:lstStyle>
            <a:lvl1pPr algn="r">
              <a:defRPr sz="1400" b="1">
                <a:solidFill>
                  <a:schemeClr val="tx1"/>
                </a:solidFill>
              </a:defRPr>
            </a:lvl1pPr>
          </a:lstStyle>
          <a:p>
            <a:pPr lvl="0"/>
            <a:r>
              <a:rPr lang="en-US"/>
              <a:t>Lorem ipsum dolor</a:t>
            </a:r>
          </a:p>
        </p:txBody>
      </p:sp>
      <p:sp>
        <p:nvSpPr>
          <p:cNvPr id="65" name="Text Placeholder 49">
            <a:extLst>
              <a:ext uri="{FF2B5EF4-FFF2-40B4-BE49-F238E27FC236}">
                <a16:creationId xmlns:a16="http://schemas.microsoft.com/office/drawing/2014/main" id="{52270BF0-6BC5-68B8-66F7-05B9D5B61D5E}"/>
              </a:ext>
            </a:extLst>
          </p:cNvPr>
          <p:cNvSpPr>
            <a:spLocks noGrp="1"/>
          </p:cNvSpPr>
          <p:nvPr>
            <p:ph type="body" sz="quarter" idx="30" hasCustomPrompt="1"/>
          </p:nvPr>
        </p:nvSpPr>
        <p:spPr>
          <a:xfrm>
            <a:off x="7533378" y="4758350"/>
            <a:ext cx="3723337"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6" name="Text Placeholder 49">
            <a:extLst>
              <a:ext uri="{FF2B5EF4-FFF2-40B4-BE49-F238E27FC236}">
                <a16:creationId xmlns:a16="http://schemas.microsoft.com/office/drawing/2014/main" id="{C224497E-4393-BB1D-F792-E204F622C57B}"/>
              </a:ext>
            </a:extLst>
          </p:cNvPr>
          <p:cNvSpPr>
            <a:spLocks noGrp="1"/>
          </p:cNvSpPr>
          <p:nvPr>
            <p:ph type="body" sz="quarter" idx="31" hasCustomPrompt="1"/>
          </p:nvPr>
        </p:nvSpPr>
        <p:spPr>
          <a:xfrm>
            <a:off x="7553118" y="4469501"/>
            <a:ext cx="3700114" cy="282497"/>
          </a:xfrm>
        </p:spPr>
        <p:txBody>
          <a:bodyPr>
            <a:normAutofit/>
          </a:bodyPr>
          <a:lstStyle>
            <a:lvl1pPr algn="r">
              <a:defRPr sz="1400" b="1">
                <a:solidFill>
                  <a:schemeClr val="tx1"/>
                </a:solidFill>
              </a:defRPr>
            </a:lvl1pPr>
          </a:lstStyle>
          <a:p>
            <a:pPr lvl="0"/>
            <a:r>
              <a:rPr lang="en-US"/>
              <a:t>Lorem ipsum dolor</a:t>
            </a:r>
          </a:p>
        </p:txBody>
      </p:sp>
      <p:sp>
        <p:nvSpPr>
          <p:cNvPr id="67" name="Text Placeholder 49">
            <a:extLst>
              <a:ext uri="{FF2B5EF4-FFF2-40B4-BE49-F238E27FC236}">
                <a16:creationId xmlns:a16="http://schemas.microsoft.com/office/drawing/2014/main" id="{77B53CF5-08AB-0BF3-AA52-073EBB65322D}"/>
              </a:ext>
            </a:extLst>
          </p:cNvPr>
          <p:cNvSpPr>
            <a:spLocks noGrp="1"/>
          </p:cNvSpPr>
          <p:nvPr>
            <p:ph type="body" sz="quarter" idx="32" hasCustomPrompt="1"/>
          </p:nvPr>
        </p:nvSpPr>
        <p:spPr>
          <a:xfrm>
            <a:off x="4275981" y="6062642"/>
            <a:ext cx="3723337"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68" name="Text Placeholder 49">
            <a:extLst>
              <a:ext uri="{FF2B5EF4-FFF2-40B4-BE49-F238E27FC236}">
                <a16:creationId xmlns:a16="http://schemas.microsoft.com/office/drawing/2014/main" id="{53EE0B44-7239-F56A-C82D-9B26C7A3DD48}"/>
              </a:ext>
            </a:extLst>
          </p:cNvPr>
          <p:cNvSpPr>
            <a:spLocks noGrp="1"/>
          </p:cNvSpPr>
          <p:nvPr>
            <p:ph type="body" sz="quarter" idx="33" hasCustomPrompt="1"/>
          </p:nvPr>
        </p:nvSpPr>
        <p:spPr>
          <a:xfrm>
            <a:off x="4295721" y="5773793"/>
            <a:ext cx="3700114" cy="282497"/>
          </a:xfrm>
        </p:spPr>
        <p:txBody>
          <a:bodyPr>
            <a:normAutofit/>
          </a:bodyPr>
          <a:lstStyle>
            <a:lvl1pPr algn="ctr">
              <a:defRPr sz="1400" b="1">
                <a:solidFill>
                  <a:schemeClr val="tx1"/>
                </a:solidFill>
              </a:defRPr>
            </a:lvl1pPr>
          </a:lstStyle>
          <a:p>
            <a:pPr lvl="0"/>
            <a:r>
              <a:rPr lang="en-US"/>
              <a:t>Lorem ipsum dolor</a:t>
            </a:r>
          </a:p>
        </p:txBody>
      </p:sp>
      <p:sp>
        <p:nvSpPr>
          <p:cNvPr id="69" name="Text Placeholder 49">
            <a:extLst>
              <a:ext uri="{FF2B5EF4-FFF2-40B4-BE49-F238E27FC236}">
                <a16:creationId xmlns:a16="http://schemas.microsoft.com/office/drawing/2014/main" id="{6213677A-7643-5BC1-27AD-080FF456DB9A}"/>
              </a:ext>
            </a:extLst>
          </p:cNvPr>
          <p:cNvSpPr>
            <a:spLocks noGrp="1"/>
          </p:cNvSpPr>
          <p:nvPr>
            <p:ph type="body" sz="quarter" idx="34" hasCustomPrompt="1"/>
          </p:nvPr>
        </p:nvSpPr>
        <p:spPr>
          <a:xfrm>
            <a:off x="4204878" y="1965249"/>
            <a:ext cx="3723337" cy="575650"/>
          </a:xfrm>
        </p:spPr>
        <p:txBody>
          <a:bodyPr>
            <a:normAutofit/>
          </a:bodyPr>
          <a:lstStyle>
            <a:lvl1pPr algn="ctr">
              <a:defRPr sz="1200">
                <a:solidFill>
                  <a:schemeClr val="bg2"/>
                </a:solidFill>
              </a:defRPr>
            </a:lvl1pPr>
          </a:lstStyle>
          <a:p>
            <a:pPr lvl="0"/>
            <a:r>
              <a:rPr lang="en-US"/>
              <a:t>Lorem ipsum dolor sit amet, </a:t>
            </a:r>
            <a:r>
              <a:rPr lang="en-US" err="1"/>
              <a:t>consectetur</a:t>
            </a:r>
            <a:r>
              <a:rPr lang="en-US"/>
              <a:t> </a:t>
            </a:r>
            <a:r>
              <a:rPr lang="en-US" err="1"/>
              <a:t>adipiscing</a:t>
            </a:r>
            <a:endParaRPr lang="en-US"/>
          </a:p>
        </p:txBody>
      </p:sp>
      <p:sp>
        <p:nvSpPr>
          <p:cNvPr id="70" name="Text Placeholder 49">
            <a:extLst>
              <a:ext uri="{FF2B5EF4-FFF2-40B4-BE49-F238E27FC236}">
                <a16:creationId xmlns:a16="http://schemas.microsoft.com/office/drawing/2014/main" id="{65E30090-D797-F8A4-3DAA-BF62BEC39ECA}"/>
              </a:ext>
            </a:extLst>
          </p:cNvPr>
          <p:cNvSpPr>
            <a:spLocks noGrp="1"/>
          </p:cNvSpPr>
          <p:nvPr>
            <p:ph type="body" sz="quarter" idx="35" hasCustomPrompt="1"/>
          </p:nvPr>
        </p:nvSpPr>
        <p:spPr>
          <a:xfrm>
            <a:off x="4224618" y="1676400"/>
            <a:ext cx="3700114" cy="282497"/>
          </a:xfrm>
        </p:spPr>
        <p:txBody>
          <a:bodyPr>
            <a:normAutofit/>
          </a:bodyPr>
          <a:lstStyle>
            <a:lvl1pPr algn="ctr">
              <a:defRPr sz="1400" b="1">
                <a:solidFill>
                  <a:schemeClr val="tx1"/>
                </a:solidFill>
              </a:defRPr>
            </a:lvl1pPr>
          </a:lstStyle>
          <a:p>
            <a:pPr lvl="0"/>
            <a:r>
              <a:rPr lang="en-US"/>
              <a:t>Lorem ipsum dolor</a:t>
            </a:r>
          </a:p>
        </p:txBody>
      </p:sp>
    </p:spTree>
    <p:extLst>
      <p:ext uri="{BB962C8B-B14F-4D97-AF65-F5344CB8AC3E}">
        <p14:creationId xmlns:p14="http://schemas.microsoft.com/office/powerpoint/2010/main" val="3825654076"/>
      </p:ext>
    </p:extLst>
  </p:cSld>
  <p:clrMapOvr>
    <a:overrideClrMapping bg1="dk1" tx1="lt1" bg2="dk2" tx2="lt2" accent1="accent1" accent2="accent2" accent3="accent3" accent4="accent4" accent5="accent5" accent6="accent6" hlink="hlink" folHlink="folHlink"/>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userDrawn="1">
  <p:cSld name="Disclaimer slide – non-marketing">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bout us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a:t>
            </a:r>
            <a:r>
              <a:rPr lang="en-US" sz="800" kern="1200" baseline="30000">
                <a:solidFill>
                  <a:schemeClr val="bg1"/>
                </a:solidFill>
                <a:effectLst/>
                <a:latin typeface="+mn-lt"/>
                <a:ea typeface="+mn-ea"/>
                <a:cs typeface="+mn-cs"/>
              </a:rPr>
              <a:t>®</a:t>
            </a:r>
            <a:r>
              <a:rPr lang="en-US" sz="800" kern="1200">
                <a:solidFill>
                  <a:schemeClr val="bg1"/>
                </a:solidFill>
                <a:effectLst/>
                <a:latin typeface="+mn-lt"/>
                <a:ea typeface="+mn-ea"/>
                <a:cs typeface="+mn-cs"/>
              </a:rPr>
              <a:t>,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a:t>
            </a:r>
            <a:fld id="{AD14D0EA-4971-4294-AA6E-B450ADDDB240}" type="datetimeyyyy">
              <a:rPr lang="en-US" sz="800" smtClean="0">
                <a:solidFill>
                  <a:schemeClr val="bg1"/>
                </a:solidFill>
                <a:latin typeface="Arial" panose="020B0604020202020204" pitchFamily="34" charset="0"/>
                <a:cs typeface="Arial" panose="020B0604020202020204" pitchFamily="34" charset="0"/>
              </a:rPr>
              <a:t>2025</a:t>
            </a:fld>
            <a:r>
              <a:rPr lang="en-US" sz="800">
                <a:solidFill>
                  <a:schemeClr val="bg1"/>
                </a:solidFill>
                <a:latin typeface="Arial" panose="020B0604020202020204" pitchFamily="34" charset="0"/>
                <a:cs typeface="Arial" panose="020B0604020202020204" pitchFamily="34" charset="0"/>
              </a:rPr>
              <a:t>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283652401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lient Quote">
    <p:spTree>
      <p:nvGrpSpPr>
        <p:cNvPr id="1" name=""/>
        <p:cNvGrpSpPr/>
        <p:nvPr/>
      </p:nvGrpSpPr>
      <p:grpSpPr>
        <a:xfrm>
          <a:off x="0" y="0"/>
          <a:ext cx="0" cy="0"/>
          <a:chOff x="0" y="0"/>
          <a:chExt cx="0" cy="0"/>
        </a:xfrm>
      </p:grpSpPr>
      <p:pic>
        <p:nvPicPr>
          <p:cNvPr id="16" name="Progress blocks">
            <a:extLst>
              <a:ext uri="{FF2B5EF4-FFF2-40B4-BE49-F238E27FC236}">
                <a16:creationId xmlns:a16="http://schemas.microsoft.com/office/drawing/2014/main" id="{3DD5FEFE-78B1-4686-BFD6-878DBB0573C3}"/>
              </a:ext>
            </a:extLst>
          </p:cNvPr>
          <p:cNvPicPr>
            <a:picLocks noChangeAspect="1"/>
          </p:cNvPicPr>
          <p:nvPr/>
        </p:nvPicPr>
        <p:blipFill rotWithShape="1">
          <a:blip r:embed="rId2">
            <a:extLst>
              <a:ext uri="{28A0092B-C50C-407E-A947-70E740481C1C}">
                <a14:useLocalDpi xmlns:a14="http://schemas.microsoft.com/office/drawing/2010/main" val="0"/>
              </a:ext>
            </a:extLst>
          </a:blip>
          <a:srcRect l="24685"/>
          <a:stretch/>
        </p:blipFill>
        <p:spPr>
          <a:xfrm>
            <a:off x="3009900" y="883"/>
            <a:ext cx="9182098" cy="6856445"/>
          </a:xfrm>
          <a:prstGeom prst="rect">
            <a:avLst/>
          </a:prstGeom>
        </p:spPr>
      </p:pic>
      <p:pic>
        <p:nvPicPr>
          <p:cNvPr id="17" name="RSM Logo" descr="Z:\RSM International\1 Design\2015\Brand\Guidelines\Logos\Logos-03.png">
            <a:extLst>
              <a:ext uri="{FF2B5EF4-FFF2-40B4-BE49-F238E27FC236}">
                <a16:creationId xmlns:a16="http://schemas.microsoft.com/office/drawing/2014/main" id="{588AF03E-8289-47D1-8FF2-2A6DF4866A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37313" y="335301"/>
            <a:ext cx="1464507" cy="626854"/>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
          <p:cNvSpPr>
            <a:spLocks noGrp="1"/>
          </p:cNvSpPr>
          <p:nvPr>
            <p:ph type="body" sz="quarter" idx="13"/>
          </p:nvPr>
        </p:nvSpPr>
        <p:spPr>
          <a:xfrm>
            <a:off x="4811981" y="2165230"/>
            <a:ext cx="6949213" cy="4026550"/>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42441" y="318030"/>
            <a:ext cx="2018754" cy="1786466"/>
          </a:xfrm>
          <a:prstGeom prst="rect">
            <a:avLst/>
          </a:prstGeom>
        </p:spPr>
      </p:pic>
      <p:sp>
        <p:nvSpPr>
          <p:cNvPr id="14" name="Content Placeholder 7"/>
          <p:cNvSpPr>
            <a:spLocks noGrp="1"/>
          </p:cNvSpPr>
          <p:nvPr>
            <p:ph sz="quarter" idx="14" hasCustomPrompt="1"/>
          </p:nvPr>
        </p:nvSpPr>
        <p:spPr>
          <a:xfrm>
            <a:off x="704380" y="2135323"/>
            <a:ext cx="2228601" cy="1875960"/>
          </a:xfrm>
        </p:spPr>
        <p:txBody>
          <a:bodyPr>
            <a:normAutofit/>
          </a:bodyPr>
          <a:lstStyle>
            <a:lvl1pPr marL="0" indent="0" algn="r">
              <a:buNone/>
              <a:defRPr sz="1800">
                <a:solidFill>
                  <a:schemeClr val="accent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Quote speaker name and title</a:t>
            </a:r>
          </a:p>
        </p:txBody>
      </p:sp>
      <p:sp>
        <p:nvSpPr>
          <p:cNvPr id="2" name="Slide Number Placeholder 1">
            <a:extLst>
              <a:ext uri="{FF2B5EF4-FFF2-40B4-BE49-F238E27FC236}">
                <a16:creationId xmlns:a16="http://schemas.microsoft.com/office/drawing/2014/main" id="{CDEBD55C-C4A3-4E9E-8743-D13850B401FA}"/>
              </a:ext>
            </a:extLst>
          </p:cNvPr>
          <p:cNvSpPr>
            <a:spLocks noGrp="1"/>
          </p:cNvSpPr>
          <p:nvPr>
            <p:ph type="sldNum" sz="quarter" idx="15"/>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14733032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8"/>
            <a:ext cx="10620375" cy="4367211"/>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 name="Title 7">
            <a:extLst>
              <a:ext uri="{FF2B5EF4-FFF2-40B4-BE49-F238E27FC236}">
                <a16:creationId xmlns:a16="http://schemas.microsoft.com/office/drawing/2014/main" id="{2ACA7871-E42D-38D3-417E-2C6FC0F0E82E}"/>
              </a:ext>
            </a:extLst>
          </p:cNvPr>
          <p:cNvSpPr>
            <a:spLocks noGrp="1"/>
          </p:cNvSpPr>
          <p:nvPr>
            <p:ph type="title"/>
          </p:nvPr>
        </p:nvSpPr>
        <p:spPr/>
        <p:txBody>
          <a:bodyPr/>
          <a:lstStyle/>
          <a:p>
            <a:r>
              <a:rPr lang="en-US"/>
              <a:t>Click to edit Master title style</a:t>
            </a:r>
          </a:p>
        </p:txBody>
      </p:sp>
      <p:sp>
        <p:nvSpPr>
          <p:cNvPr id="4" name="PoP">
            <a:extLst>
              <a:ext uri="{FF2B5EF4-FFF2-40B4-BE49-F238E27FC236}">
                <a16:creationId xmlns:a16="http://schemas.microsoft.com/office/drawing/2014/main" id="{0871AFC9-39C6-F8B4-E0FF-2B84E4BE02F0}"/>
              </a:ext>
            </a:extLst>
          </p:cNvPr>
          <p:cNvSpPr>
            <a:spLocks noChangeAspect="1"/>
          </p:cNvSpPr>
          <p:nvPr userDrawn="1">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40282315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3_Front Option_5">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1277984-7ABF-F106-4A82-CEE4A92794EC}"/>
              </a:ext>
            </a:extLst>
          </p:cNvPr>
          <p:cNvSpPr/>
          <p:nvPr userDrawn="1"/>
        </p:nvSpPr>
        <p:spPr>
          <a:xfrm>
            <a:off x="0" y="10938"/>
            <a:ext cx="12204308" cy="227471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82"/>
          </a:p>
        </p:txBody>
      </p:sp>
      <p:sp>
        <p:nvSpPr>
          <p:cNvPr id="17" name="Text Placeholder 21">
            <a:extLst>
              <a:ext uri="{FF2B5EF4-FFF2-40B4-BE49-F238E27FC236}">
                <a16:creationId xmlns:a16="http://schemas.microsoft.com/office/drawing/2014/main" id="{4A2A1D2A-4B94-D64A-BCF0-16DBC9477E0C}"/>
              </a:ext>
            </a:extLst>
          </p:cNvPr>
          <p:cNvSpPr>
            <a:spLocks noGrp="1"/>
          </p:cNvSpPr>
          <p:nvPr>
            <p:ph type="body" sz="quarter" idx="40" hasCustomPrompt="1"/>
          </p:nvPr>
        </p:nvSpPr>
        <p:spPr>
          <a:xfrm>
            <a:off x="776942" y="553162"/>
            <a:ext cx="6441821" cy="610985"/>
          </a:xfrm>
          <a:prstGeom prst="rect">
            <a:avLst/>
          </a:prstGeom>
          <a:solidFill>
            <a:schemeClr val="tx1"/>
          </a:solidFill>
        </p:spPr>
        <p:txBody>
          <a:bodyPr anchor="b" anchorCtr="0">
            <a:noAutofit/>
          </a:bodyPr>
          <a:lstStyle>
            <a:lvl1pPr marL="0" indent="0">
              <a:buNone/>
              <a:defRPr sz="1765" b="1">
                <a:solidFill>
                  <a:schemeClr val="bg1"/>
                </a:solidFill>
              </a:defRPr>
            </a:lvl1pPr>
          </a:lstStyle>
          <a:p>
            <a:pPr lvl="0"/>
            <a:r>
              <a:rPr lang="en-US"/>
              <a:t>Click to edit title Lorem ipsum dolor sit </a:t>
            </a:r>
            <a:r>
              <a:rPr lang="en-US" err="1"/>
              <a:t>amet</a:t>
            </a:r>
            <a:endParaRPr lang="en-US"/>
          </a:p>
        </p:txBody>
      </p:sp>
      <p:sp>
        <p:nvSpPr>
          <p:cNvPr id="18" name="Text Placeholder 21">
            <a:extLst>
              <a:ext uri="{FF2B5EF4-FFF2-40B4-BE49-F238E27FC236}">
                <a16:creationId xmlns:a16="http://schemas.microsoft.com/office/drawing/2014/main" id="{4E3767BC-FB83-E69F-E887-A50167FED892}"/>
              </a:ext>
            </a:extLst>
          </p:cNvPr>
          <p:cNvSpPr>
            <a:spLocks noGrp="1"/>
          </p:cNvSpPr>
          <p:nvPr>
            <p:ph type="body" sz="quarter" idx="41" hasCustomPrompt="1"/>
          </p:nvPr>
        </p:nvSpPr>
        <p:spPr>
          <a:xfrm>
            <a:off x="776942" y="1351470"/>
            <a:ext cx="5598759" cy="291916"/>
          </a:xfrm>
          <a:prstGeom prst="rect">
            <a:avLst/>
          </a:prstGeom>
          <a:solidFill>
            <a:schemeClr val="accent1"/>
          </a:solidFill>
        </p:spPr>
        <p:txBody>
          <a:bodyPr anchor="b" anchorCtr="0">
            <a:noAutofit/>
          </a:bodyPr>
          <a:lstStyle>
            <a:lvl1pPr marL="0" indent="0">
              <a:buNone/>
              <a:defRPr sz="1235" b="0">
                <a:solidFill>
                  <a:schemeClr val="bg1"/>
                </a:solidFill>
              </a:defRPr>
            </a:lvl1pPr>
          </a:lstStyle>
          <a:p>
            <a:pPr lvl="0"/>
            <a:r>
              <a:rPr lang="en-US"/>
              <a:t>Click to edit subtitle</a:t>
            </a:r>
          </a:p>
        </p:txBody>
      </p:sp>
      <p:sp>
        <p:nvSpPr>
          <p:cNvPr id="70" name="Text Placeholder 4">
            <a:extLst>
              <a:ext uri="{FF2B5EF4-FFF2-40B4-BE49-F238E27FC236}">
                <a16:creationId xmlns:a16="http://schemas.microsoft.com/office/drawing/2014/main" id="{93FE0022-65E1-5BC0-F699-2A651541167A}"/>
              </a:ext>
            </a:extLst>
          </p:cNvPr>
          <p:cNvSpPr>
            <a:spLocks noGrp="1"/>
          </p:cNvSpPr>
          <p:nvPr>
            <p:ph type="body" sz="quarter" idx="37" hasCustomPrompt="1"/>
          </p:nvPr>
        </p:nvSpPr>
        <p:spPr>
          <a:xfrm>
            <a:off x="8964707" y="2404876"/>
            <a:ext cx="2714574" cy="263672"/>
          </a:xfrm>
          <a:prstGeom prst="rect">
            <a:avLst/>
          </a:prstGeom>
        </p:spPr>
        <p:txBody>
          <a:bodyPr anchor="b">
            <a:normAutofit/>
          </a:bodyPr>
          <a:lstStyle>
            <a:lvl1pPr marL="0" indent="0">
              <a:buNone/>
              <a:defRPr sz="1059" b="1" baseline="0">
                <a:solidFill>
                  <a:schemeClr val="accent2"/>
                </a:solidFill>
              </a:defRPr>
            </a:lvl1pPr>
            <a:lvl2pPr marL="645554" indent="0">
              <a:buNone/>
              <a:defRPr sz="2825" b="1"/>
            </a:lvl2pPr>
            <a:lvl3pPr marL="1291107" indent="0">
              <a:buNone/>
              <a:defRPr sz="2560" b="1"/>
            </a:lvl3pPr>
            <a:lvl4pPr marL="1936661" indent="0">
              <a:buNone/>
              <a:defRPr sz="2294" b="1"/>
            </a:lvl4pPr>
            <a:lvl5pPr marL="2582213" indent="0">
              <a:buNone/>
              <a:defRPr sz="2294" b="1"/>
            </a:lvl5pPr>
            <a:lvl6pPr marL="3227766" indent="0">
              <a:buNone/>
              <a:defRPr sz="2294" b="1"/>
            </a:lvl6pPr>
            <a:lvl7pPr marL="3873320" indent="0">
              <a:buNone/>
              <a:defRPr sz="2294" b="1"/>
            </a:lvl7pPr>
            <a:lvl8pPr marL="4518873" indent="0">
              <a:buNone/>
              <a:defRPr sz="2294" b="1"/>
            </a:lvl8pPr>
            <a:lvl9pPr marL="5164427" indent="0">
              <a:buNone/>
              <a:defRPr sz="2294" b="1"/>
            </a:lvl9pPr>
          </a:lstStyle>
          <a:p>
            <a:pPr lvl="0"/>
            <a:r>
              <a:rPr lang="en-US"/>
              <a:t>Click to edit intro text</a:t>
            </a:r>
          </a:p>
        </p:txBody>
      </p:sp>
      <p:sp>
        <p:nvSpPr>
          <p:cNvPr id="26" name="Picture Placeholder 15">
            <a:extLst>
              <a:ext uri="{FF2B5EF4-FFF2-40B4-BE49-F238E27FC236}">
                <a16:creationId xmlns:a16="http://schemas.microsoft.com/office/drawing/2014/main" id="{753044D4-CED8-A3AD-F166-04A459967CC3}"/>
              </a:ext>
            </a:extLst>
          </p:cNvPr>
          <p:cNvSpPr>
            <a:spLocks noGrp="1"/>
          </p:cNvSpPr>
          <p:nvPr>
            <p:ph type="pic" sz="quarter" idx="12"/>
          </p:nvPr>
        </p:nvSpPr>
        <p:spPr>
          <a:xfrm>
            <a:off x="6484470" y="191907"/>
            <a:ext cx="5719839" cy="2093747"/>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endParaRPr lang="en-GB"/>
          </a:p>
        </p:txBody>
      </p:sp>
      <p:pic>
        <p:nvPicPr>
          <p:cNvPr id="3" name="Picture 2">
            <a:extLst>
              <a:ext uri="{FF2B5EF4-FFF2-40B4-BE49-F238E27FC236}">
                <a16:creationId xmlns:a16="http://schemas.microsoft.com/office/drawing/2014/main" id="{AC0B5E56-47E7-595A-70E5-F2DBD27B3646}"/>
              </a:ext>
            </a:extLst>
          </p:cNvPr>
          <p:cNvPicPr>
            <a:picLocks noChangeAspect="1"/>
          </p:cNvPicPr>
          <p:nvPr userDrawn="1"/>
        </p:nvPicPr>
        <p:blipFill>
          <a:blip r:embed="rId2" cstate="screen">
            <a:biLevel thresh="25000"/>
            <a:alphaModFix amt="50000"/>
            <a:extLst>
              <a:ext uri="{28A0092B-C50C-407E-A947-70E740481C1C}">
                <a14:useLocalDpi xmlns:a14="http://schemas.microsoft.com/office/drawing/2010/main"/>
              </a:ext>
            </a:extLst>
          </a:blip>
          <a:srcRect/>
          <a:stretch/>
        </p:blipFill>
        <p:spPr>
          <a:xfrm rot="16200000">
            <a:off x="-225871" y="1144305"/>
            <a:ext cx="1384123" cy="189666"/>
          </a:xfrm>
          <a:prstGeom prst="rect">
            <a:avLst/>
          </a:prstGeom>
        </p:spPr>
      </p:pic>
      <p:pic>
        <p:nvPicPr>
          <p:cNvPr id="11" name="Picture 10">
            <a:extLst>
              <a:ext uri="{FF2B5EF4-FFF2-40B4-BE49-F238E27FC236}">
                <a16:creationId xmlns:a16="http://schemas.microsoft.com/office/drawing/2014/main" id="{A3719708-8A55-7BF0-04D0-3216D1EBA9B0}"/>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9724572" y="278494"/>
            <a:ext cx="921695" cy="359070"/>
          </a:xfrm>
          <a:prstGeom prst="rect">
            <a:avLst/>
          </a:prstGeom>
        </p:spPr>
      </p:pic>
      <p:sp>
        <p:nvSpPr>
          <p:cNvPr id="12" name="TextBox 11">
            <a:extLst>
              <a:ext uri="{FF2B5EF4-FFF2-40B4-BE49-F238E27FC236}">
                <a16:creationId xmlns:a16="http://schemas.microsoft.com/office/drawing/2014/main" id="{268E4D5A-BA01-B589-F579-0E3143C4AB1F}"/>
              </a:ext>
            </a:extLst>
          </p:cNvPr>
          <p:cNvSpPr txBox="1"/>
          <p:nvPr userDrawn="1"/>
        </p:nvSpPr>
        <p:spPr>
          <a:xfrm>
            <a:off x="194479" y="5961231"/>
            <a:ext cx="5030664" cy="740906"/>
          </a:xfrm>
          <a:prstGeom prst="rect">
            <a:avLst/>
          </a:prstGeom>
          <a:noFill/>
        </p:spPr>
        <p:txBody>
          <a:bodyPr wrap="square" lIns="129092" tIns="64547" rIns="129092" bIns="64547" rtlCol="0" anchor="b">
            <a:spAutoFit/>
          </a:bodyPr>
          <a:lstStyle/>
          <a:p>
            <a:r>
              <a:rPr lang="en-US" sz="441" kern="1200">
                <a:solidFill>
                  <a:schemeClr val="tx2"/>
                </a:solidFill>
                <a:effectLst/>
                <a:latin typeface="Arial" panose="020B0604020202020204" pitchFamily="34" charset="0"/>
                <a:ea typeface="+mn-ea"/>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r>
              <a:rPr lang="en-US" sz="441" kern="1200" baseline="0">
                <a:solidFill>
                  <a:schemeClr val="tx2"/>
                </a:solidFill>
                <a:effectLst/>
                <a:latin typeface="Arial" panose="020B0604020202020204" pitchFamily="34" charset="0"/>
                <a:ea typeface="+mn-ea"/>
                <a:cs typeface="Arial" panose="020B0604020202020204" pitchFamily="34" charset="0"/>
              </a:rPr>
              <a:t> </a:t>
            </a:r>
            <a:r>
              <a:rPr lang="en-US" sz="441" kern="1200">
                <a:solidFill>
                  <a:schemeClr val="tx2"/>
                </a:solidFill>
                <a:effectLst/>
                <a:latin typeface="Arial" panose="020B0604020202020204" pitchFamily="34" charset="0"/>
                <a:ea typeface="+mn-ea"/>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bout us for more information regarding RSM US LLP and RSM International. </a:t>
            </a:r>
            <a:r>
              <a:rPr lang="en-US" sz="441" b="0" kern="1200">
                <a:solidFill>
                  <a:schemeClr val="tx2"/>
                </a:solidFill>
                <a:effectLst/>
                <a:latin typeface="Arial" panose="020B0604020202020204" pitchFamily="34" charset="0"/>
                <a:ea typeface="+mn-ea"/>
                <a:cs typeface="Arial" panose="020B0604020202020204" pitchFamily="34" charset="0"/>
              </a:rPr>
              <a:t>RSM, the RSM logo and </a:t>
            </a:r>
            <a:r>
              <a:rPr lang="en-US" sz="441" b="0" i="1" kern="1200">
                <a:solidFill>
                  <a:schemeClr val="tx2"/>
                </a:solidFill>
                <a:effectLst/>
                <a:latin typeface="Arial" panose="020B0604020202020204" pitchFamily="34" charset="0"/>
                <a:ea typeface="+mn-ea"/>
                <a:cs typeface="Arial" panose="020B0604020202020204" pitchFamily="34" charset="0"/>
              </a:rPr>
              <a:t>the power of being understood</a:t>
            </a:r>
            <a:r>
              <a:rPr lang="en-US" sz="441" b="0" kern="1200">
                <a:solidFill>
                  <a:schemeClr val="tx2"/>
                </a:solidFill>
                <a:effectLst/>
                <a:latin typeface="Arial" panose="020B0604020202020204" pitchFamily="34" charset="0"/>
                <a:ea typeface="+mn-ea"/>
                <a:cs typeface="Arial" panose="020B0604020202020204" pitchFamily="34" charset="0"/>
              </a:rPr>
              <a:t> are registered trademarks of RSM International Association. </a:t>
            </a:r>
            <a:r>
              <a:rPr lang="en-US" sz="441" kern="1200">
                <a:solidFill>
                  <a:schemeClr val="tx2"/>
                </a:solidFill>
                <a:effectLst/>
                <a:latin typeface="Arial" panose="020B0604020202020204" pitchFamily="34" charset="0"/>
                <a:ea typeface="+mn-ea"/>
                <a:cs typeface="Arial" panose="020B0604020202020204" pitchFamily="34" charset="0"/>
              </a:rPr>
              <a:t>© 2024 RSM US LLP. All Rights Reserved.</a:t>
            </a:r>
            <a:endParaRPr lang="en-US" sz="441" b="0" i="0" u="none" strike="noStrike" kern="1200" baseline="30000">
              <a:solidFill>
                <a:schemeClr val="tx2"/>
              </a:solidFill>
              <a:latin typeface="Arial" panose="020B0604020202020204" pitchFamily="34" charset="0"/>
              <a:ea typeface="+mn-ea"/>
              <a:cs typeface="Arial" panose="020B0604020202020204" pitchFamily="34" charset="0"/>
            </a:endParaRPr>
          </a:p>
        </p:txBody>
      </p:sp>
      <p:sp>
        <p:nvSpPr>
          <p:cNvPr id="13" name="Content Placeholder 19">
            <a:extLst>
              <a:ext uri="{FF2B5EF4-FFF2-40B4-BE49-F238E27FC236}">
                <a16:creationId xmlns:a16="http://schemas.microsoft.com/office/drawing/2014/main" id="{EE1AE1DA-91DC-B559-A62D-939E5992EEA7}"/>
              </a:ext>
            </a:extLst>
          </p:cNvPr>
          <p:cNvSpPr>
            <a:spLocks noGrp="1"/>
          </p:cNvSpPr>
          <p:nvPr>
            <p:ph sz="quarter" idx="38" hasCustomPrompt="1"/>
          </p:nvPr>
        </p:nvSpPr>
        <p:spPr>
          <a:xfrm>
            <a:off x="6484471" y="2384878"/>
            <a:ext cx="2271059" cy="3679538"/>
          </a:xfrm>
          <a:prstGeom prst="rect">
            <a:avLst/>
          </a:prstGeom>
          <a:solidFill>
            <a:schemeClr val="accent1"/>
          </a:solidFill>
        </p:spPr>
        <p:txBody>
          <a:bodyPr tIns="91440" bIns="91440" anchor="t" anchorCtr="0">
            <a:normAutofit/>
          </a:bodyPr>
          <a:lstStyle>
            <a:lvl1pPr marL="9806" indent="0" algn="ctr">
              <a:buNone/>
              <a:tabLst/>
              <a:defRPr sz="1235" baseline="0">
                <a:solidFill>
                  <a:schemeClr val="bg1"/>
                </a:solidFill>
              </a:defRPr>
            </a:lvl1pPr>
          </a:lstStyle>
          <a:p>
            <a:pPr lvl="0"/>
            <a:r>
              <a:rPr lang="en-US"/>
              <a:t>Click to to insert call out content. Text should not go smaller than 10 </a:t>
            </a:r>
            <a:r>
              <a:rPr lang="en-US" err="1"/>
              <a:t>pt</a:t>
            </a:r>
            <a:endParaRPr lang="en-US"/>
          </a:p>
        </p:txBody>
      </p:sp>
      <p:sp>
        <p:nvSpPr>
          <p:cNvPr id="14" name="Content Placeholder 5">
            <a:extLst>
              <a:ext uri="{FF2B5EF4-FFF2-40B4-BE49-F238E27FC236}">
                <a16:creationId xmlns:a16="http://schemas.microsoft.com/office/drawing/2014/main" id="{DA13FDFA-4BC3-B2F0-6656-54ED157447AD}"/>
              </a:ext>
            </a:extLst>
          </p:cNvPr>
          <p:cNvSpPr>
            <a:spLocks noGrp="1"/>
          </p:cNvSpPr>
          <p:nvPr>
            <p:ph sz="quarter" idx="46" hasCustomPrompt="1"/>
          </p:nvPr>
        </p:nvSpPr>
        <p:spPr>
          <a:xfrm>
            <a:off x="371356" y="2412962"/>
            <a:ext cx="6014930" cy="3651453"/>
          </a:xfrm>
          <a:prstGeom prst="rect">
            <a:avLst/>
          </a:prstGeom>
        </p:spPr>
        <p:txBody>
          <a:bodyPr>
            <a:normAutofit/>
          </a:bodyPr>
          <a:lstStyle>
            <a:lvl1pPr marL="9806" indent="0">
              <a:buNone/>
              <a:tabLst/>
              <a:defRPr sz="882" baseline="0"/>
            </a:lvl1pPr>
            <a:lvl2pPr marL="406235" indent="-224130">
              <a:tabLst/>
              <a:defRPr sz="882"/>
            </a:lvl2pPr>
            <a:lvl3pPr marL="713013" indent="-204518">
              <a:tabLst/>
              <a:defRPr sz="882"/>
            </a:lvl3pPr>
            <a:lvl4pPr marL="1018389" indent="-204518">
              <a:tabLst/>
              <a:defRPr sz="882"/>
            </a:lvl4pPr>
            <a:lvl5pPr marL="1466649" indent="-245142">
              <a:tabLst/>
              <a:defRPr sz="882"/>
            </a:lvl5pPr>
            <a:lvl6pPr>
              <a:defRPr sz="2294"/>
            </a:lvl6pPr>
            <a:lvl7pPr>
              <a:defRPr sz="2294"/>
            </a:lvl7pPr>
            <a:lvl8pPr>
              <a:defRPr sz="2294"/>
            </a:lvl8pPr>
            <a:lvl9pPr>
              <a:defRPr sz="2294"/>
            </a:lvl9pPr>
          </a:lstStyle>
          <a:p>
            <a:pPr lvl="0"/>
            <a:r>
              <a:rPr lang="en-US"/>
              <a:t>Click to edit paragraph copy</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BCE64F9F-E89A-4185-7ECB-F79A87ABF5F8}"/>
              </a:ext>
            </a:extLst>
          </p:cNvPr>
          <p:cNvSpPr>
            <a:spLocks noGrp="1"/>
          </p:cNvSpPr>
          <p:nvPr>
            <p:ph sz="quarter" idx="47" hasCustomPrompt="1"/>
          </p:nvPr>
        </p:nvSpPr>
        <p:spPr>
          <a:xfrm>
            <a:off x="8964707" y="2665564"/>
            <a:ext cx="2714574" cy="3398850"/>
          </a:xfrm>
          <a:prstGeom prst="rect">
            <a:avLst/>
          </a:prstGeom>
        </p:spPr>
        <p:txBody>
          <a:bodyPr>
            <a:normAutofit/>
          </a:bodyPr>
          <a:lstStyle>
            <a:lvl1pPr marL="9806" indent="0">
              <a:buNone/>
              <a:tabLst/>
              <a:defRPr sz="882" baseline="0"/>
            </a:lvl1pPr>
            <a:lvl2pPr marL="406235" indent="-224130">
              <a:tabLst/>
              <a:defRPr sz="882"/>
            </a:lvl2pPr>
            <a:lvl3pPr marL="713013" indent="-204518">
              <a:tabLst/>
              <a:defRPr sz="882"/>
            </a:lvl3pPr>
            <a:lvl4pPr marL="1018389" indent="-204518">
              <a:tabLst/>
              <a:defRPr sz="882"/>
            </a:lvl4pPr>
            <a:lvl5pPr marL="1466649" indent="-245142">
              <a:tabLst/>
              <a:defRPr sz="882"/>
            </a:lvl5pPr>
            <a:lvl6pPr>
              <a:defRPr sz="2294"/>
            </a:lvl6pPr>
            <a:lvl7pPr>
              <a:defRPr sz="2294"/>
            </a:lvl7pPr>
            <a:lvl8pPr>
              <a:defRPr sz="2294"/>
            </a:lvl8pPr>
            <a:lvl9pPr>
              <a:defRPr sz="2294"/>
            </a:lvl9pPr>
          </a:lstStyle>
          <a:p>
            <a:pPr lvl="0"/>
            <a:r>
              <a:rPr lang="en-US"/>
              <a:t>Click to edit paragraph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594072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Front Option_2">
    <p:spTree>
      <p:nvGrpSpPr>
        <p:cNvPr id="1" name=""/>
        <p:cNvGrpSpPr/>
        <p:nvPr/>
      </p:nvGrpSpPr>
      <p:grpSpPr>
        <a:xfrm>
          <a:off x="0" y="0"/>
          <a:ext cx="0" cy="0"/>
          <a:chOff x="0" y="0"/>
          <a:chExt cx="0" cy="0"/>
        </a:xfrm>
      </p:grpSpPr>
      <p:sp>
        <p:nvSpPr>
          <p:cNvPr id="42" name="Rectangle 41"/>
          <p:cNvSpPr/>
          <p:nvPr userDrawn="1"/>
        </p:nvSpPr>
        <p:spPr>
          <a:xfrm>
            <a:off x="4209143" y="228600"/>
            <a:ext cx="7474856" cy="8258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latin typeface="Arial" panose="020B0604020202020204" pitchFamily="34" charset="0"/>
              <a:cs typeface="Arial" panose="020B0604020202020204" pitchFamily="34" charset="0"/>
            </a:endParaRPr>
          </a:p>
        </p:txBody>
      </p:sp>
      <p:sp>
        <p:nvSpPr>
          <p:cNvPr id="43" name="Title 1"/>
          <p:cNvSpPr>
            <a:spLocks noGrp="1"/>
          </p:cNvSpPr>
          <p:nvPr>
            <p:ph type="ctrTitle"/>
          </p:nvPr>
        </p:nvSpPr>
        <p:spPr>
          <a:xfrm>
            <a:off x="4209143" y="228600"/>
            <a:ext cx="7036430" cy="825879"/>
          </a:xfrm>
          <a:noFill/>
        </p:spPr>
        <p:txBody>
          <a:bodyPr lIns="457200">
            <a:normAutofit/>
          </a:bodyPr>
          <a:lstStyle>
            <a:lvl1pPr marL="76204" indent="0" algn="l">
              <a:defRPr sz="1941" b="0">
                <a:solidFill>
                  <a:schemeClr val="bg1"/>
                </a:solidFill>
                <a:latin typeface="Arial" pitchFamily="34" charset="0"/>
                <a:cs typeface="Arial" pitchFamily="34" charset="0"/>
              </a:defRPr>
            </a:lvl1pPr>
          </a:lstStyle>
          <a:p>
            <a:endParaRPr lang="en-US"/>
          </a:p>
        </p:txBody>
      </p:sp>
      <p:sp>
        <p:nvSpPr>
          <p:cNvPr id="44" name="Rectangle 43"/>
          <p:cNvSpPr/>
          <p:nvPr userDrawn="1"/>
        </p:nvSpPr>
        <p:spPr>
          <a:xfrm>
            <a:off x="-1" y="228600"/>
            <a:ext cx="265685" cy="8258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latin typeface="Arial" panose="020B0604020202020204" pitchFamily="34" charset="0"/>
              <a:cs typeface="Arial" panose="020B0604020202020204" pitchFamily="34" charset="0"/>
            </a:endParaRPr>
          </a:p>
        </p:txBody>
      </p:sp>
      <p:sp>
        <p:nvSpPr>
          <p:cNvPr id="45" name="Rectangle 44"/>
          <p:cNvSpPr/>
          <p:nvPr userDrawn="1"/>
        </p:nvSpPr>
        <p:spPr>
          <a:xfrm>
            <a:off x="362857" y="228600"/>
            <a:ext cx="3773714" cy="8258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latin typeface="Arial" panose="020B0604020202020204" pitchFamily="34" charset="0"/>
              <a:cs typeface="Arial" panose="020B0604020202020204" pitchFamily="34" charset="0"/>
            </a:endParaRP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12062" y="6143708"/>
            <a:ext cx="1271937" cy="494666"/>
          </a:xfrm>
          <a:prstGeom prst="rect">
            <a:avLst/>
          </a:prstGeom>
        </p:spPr>
      </p:pic>
    </p:spTree>
    <p:extLst>
      <p:ext uri="{BB962C8B-B14F-4D97-AF65-F5344CB8AC3E}">
        <p14:creationId xmlns:p14="http://schemas.microsoft.com/office/powerpoint/2010/main" val="106464993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1_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bout us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5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8" name="Picture 7" descr="A black background with white text&#10;&#10;Description automatically generated">
            <a:extLst>
              <a:ext uri="{FF2B5EF4-FFF2-40B4-BE49-F238E27FC236}">
                <a16:creationId xmlns:a16="http://schemas.microsoft.com/office/drawing/2014/main" id="{855FE9E7-9460-8457-F3D4-B4C0B226FA48}"/>
              </a:ext>
            </a:extLst>
          </p:cNvPr>
          <p:cNvPicPr>
            <a:picLocks noChangeAspect="1"/>
          </p:cNvPicPr>
          <p:nvPr userDrawn="1"/>
        </p:nvPicPr>
        <p:blipFill>
          <a:blip r:embed="rId5"/>
          <a:stretch>
            <a:fillRect/>
          </a:stretch>
        </p:blipFill>
        <p:spPr>
          <a:xfrm>
            <a:off x="696090" y="3788994"/>
            <a:ext cx="3184289" cy="650932"/>
          </a:xfrm>
          <a:prstGeom prst="rect">
            <a:avLst/>
          </a:prstGeom>
        </p:spPr>
      </p:pic>
    </p:spTree>
    <p:extLst>
      <p:ext uri="{BB962C8B-B14F-4D97-AF65-F5344CB8AC3E}">
        <p14:creationId xmlns:p14="http://schemas.microsoft.com/office/powerpoint/2010/main" val="3138056161"/>
      </p:ext>
    </p:extLst>
  </p:cSld>
  <p:clrMapOvr>
    <a:masterClrMapping/>
  </p:clrMapOvr>
  <p:extLst>
    <p:ext uri="{DCECCB84-F9BA-43D5-87BE-67443E8EF086}">
      <p15:sldGuideLst xmlns:p15="http://schemas.microsoft.com/office/powerpoint/2012/main"/>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2_One column">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64016274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90D9DDC1-EB26-4F6E-B6C1-ABCF1125200D}"/>
              </a:ext>
            </a:extLst>
          </p:cNvPr>
          <p:cNvSpPr/>
          <p:nvPr userDrawn="1">
            <p:custDataLst>
              <p:tags r:id="rId1"/>
            </p:custDataLst>
          </p:nvPr>
        </p:nvSpPr>
        <p:spPr>
          <a:xfrm>
            <a:off x="0" y="0"/>
            <a:ext cx="16933" cy="12700"/>
          </a:xfrm>
          <a:prstGeom prst="octagon">
            <a:avLst/>
          </a:prstGeom>
          <a:noFill/>
          <a:ln w="9525" cap="flat" cmpd="sng" algn="ctr">
            <a:noFill/>
            <a:prstDash val="solid"/>
          </a:ln>
          <a:effectLst>
            <a:outerShdw blurRad="40000" dist="23000" dir="5400000" rotWithShape="0">
              <a:srgbClr val="000000">
                <a:alpha val="35000"/>
              </a:srgbClr>
            </a:outerShdw>
          </a:effectLst>
          <a:extLst>
            <a:ext uri="{909E8E84-426E-40DD-AFC4-6F175D3DCCD1}">
              <a14:hiddenFill xmlns:a14="http://schemas.microsoft.com/office/drawing/2010/main">
                <a:gradFill rotWithShape="1">
                  <a:gsLst>
                    <a:gs pos="0">
                      <a:schemeClr val="accent1">
                        <a:tint val="100000"/>
                        <a:shade val="100000"/>
                        <a:satMod val="130000"/>
                      </a:schemeClr>
                    </a:gs>
                    <a:gs pos="100000">
                      <a:schemeClr val="accent1">
                        <a:tint val="50000"/>
                        <a:shade val="100000"/>
                        <a:satMod val="350000"/>
                      </a:schemeClr>
                    </a:gs>
                  </a:gsLst>
                  <a:lin ang="16200000" scaled="0"/>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aphicFrame>
        <p:nvGraphicFramePr>
          <p:cNvPr id="5" name="Object 4" hidden="1">
            <a:extLst>
              <a:ext uri="{FF2B5EF4-FFF2-40B4-BE49-F238E27FC236}">
                <a16:creationId xmlns:a16="http://schemas.microsoft.com/office/drawing/2014/main" id="{3900CB67-65A8-47CD-84B1-C6A325CE58A2}"/>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3900CB67-65A8-47CD-84B1-C6A325CE58A2}"/>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72E08156-196C-5940-847B-E643F83CD916}" type="datetime1">
              <a:rPr lang="en-US" smtClean="0"/>
              <a:pPr/>
              <a:t>11/21/2025</a:t>
            </a:fld>
            <a:endParaRPr lang="en-US"/>
          </a:p>
        </p:txBody>
      </p:sp>
      <p:sp>
        <p:nvSpPr>
          <p:cNvPr id="3" name="Footer Placeholder 2"/>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a:t>CONFIDENTIAL</a:t>
            </a:r>
          </a:p>
        </p:txBody>
      </p:sp>
      <p:sp>
        <p:nvSpPr>
          <p:cNvPr id="4" name="Slide Number Placeholder 3"/>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B14039C-0D21-594F-B323-F74E43C32709}" type="slidenum">
              <a:rPr lang="en-US" smtClean="0"/>
              <a:pPr/>
              <a:t>‹#›</a:t>
            </a:fld>
            <a:endParaRPr lang="en-US"/>
          </a:p>
        </p:txBody>
      </p:sp>
      <p:sp>
        <p:nvSpPr>
          <p:cNvPr id="12" name="Rectangle 11"/>
          <p:cNvSpPr/>
          <p:nvPr userDrawn="1"/>
        </p:nvSpPr>
        <p:spPr>
          <a:xfrm>
            <a:off x="0" y="725895"/>
            <a:ext cx="12091245" cy="91789"/>
          </a:xfrm>
          <a:prstGeom prst="rect">
            <a:avLst/>
          </a:prstGeom>
          <a:solidFill>
            <a:srgbClr val="216CB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pic>
        <p:nvPicPr>
          <p:cNvPr id="13" name="Picture 12" descr="OAG_CorpID-Email_Logo1_2835.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73070" y="22678"/>
            <a:ext cx="1818175" cy="681816"/>
          </a:xfrm>
          <a:prstGeom prst="rect">
            <a:avLst/>
          </a:prstGeom>
        </p:spPr>
      </p:pic>
      <p:sp>
        <p:nvSpPr>
          <p:cNvPr id="8" name="Title 1">
            <a:extLst>
              <a:ext uri="{FF2B5EF4-FFF2-40B4-BE49-F238E27FC236}">
                <a16:creationId xmlns:a16="http://schemas.microsoft.com/office/drawing/2014/main" id="{5FF739A3-F1FB-4035-8EEC-BDAACB48A4FF}"/>
              </a:ext>
            </a:extLst>
          </p:cNvPr>
          <p:cNvSpPr>
            <a:spLocks noGrp="1"/>
          </p:cNvSpPr>
          <p:nvPr>
            <p:ph type="title"/>
          </p:nvPr>
        </p:nvSpPr>
        <p:spPr>
          <a:xfrm>
            <a:off x="265471" y="18861"/>
            <a:ext cx="10007599" cy="696890"/>
          </a:xfrm>
        </p:spPr>
        <p:txBody>
          <a:bodyPr>
            <a:noAutofit/>
          </a:bodyPr>
          <a:lstStyle>
            <a:lvl1pPr algn="l">
              <a:defRPr sz="2400">
                <a:solidFill>
                  <a:srgbClr val="0A50A4"/>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95873342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490" cy="6858000"/>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38048978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262134461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55120247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2" name="Text Placeholder 5">
            <a:extLst>
              <a:ext uri="{FF2B5EF4-FFF2-40B4-BE49-F238E27FC236}">
                <a16:creationId xmlns:a16="http://schemas.microsoft.com/office/drawing/2014/main" id="{15476F96-96A3-F297-64CD-A68870CAC866}"/>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3" name="Rectangle 2">
            <a:extLst>
              <a:ext uri="{FF2B5EF4-FFF2-40B4-BE49-F238E27FC236}">
                <a16:creationId xmlns:a16="http://schemas.microsoft.com/office/drawing/2014/main" id="{C9F37950-57D5-285F-ED6F-B80D85ADAC01}"/>
              </a:ext>
            </a:extLst>
          </p:cNvPr>
          <p:cNvSpPr/>
          <p:nvPr userDrawn="1"/>
        </p:nvSpPr>
        <p:spPr>
          <a:xfrm>
            <a:off x="8075966" y="-950927"/>
            <a:ext cx="4116033" cy="7799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Mix and match color only divider slides</a:t>
            </a: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187131" y="687949"/>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7230368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lient Quot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sp>
        <p:nvSpPr>
          <p:cNvPr id="7" name="Text Placeholder 5"/>
          <p:cNvSpPr>
            <a:spLocks noGrp="1"/>
          </p:cNvSpPr>
          <p:nvPr>
            <p:ph type="body" sz="quarter" idx="20" hasCustomPrompt="1"/>
          </p:nvPr>
        </p:nvSpPr>
        <p:spPr>
          <a:xfrm>
            <a:off x="6354763" y="3924022"/>
            <a:ext cx="4825071" cy="1821170"/>
          </a:xfrm>
          <a:prstGeom prst="rect">
            <a:avLst/>
          </a:prstGeom>
        </p:spPr>
        <p:txBody>
          <a:bodyPr anchor="ctr" anchorCtr="0">
            <a:normAutofit/>
          </a:bodyPr>
          <a:lstStyle>
            <a:lvl1pPr marL="0" indent="0">
              <a:buNone/>
              <a:defRPr sz="1600">
                <a:solidFill>
                  <a:schemeClr val="tx1"/>
                </a:solidFill>
                <a:latin typeface="Arial" panose="020B0604020202020204" pitchFamily="34" charset="0"/>
                <a:cs typeface="Arial" panose="020B0604020202020204" pitchFamily="34" charset="0"/>
              </a:defRPr>
            </a:lvl1pPr>
          </a:lstStyle>
          <a:p>
            <a:pPr lvl="0"/>
            <a:r>
              <a:rPr lang="en-US"/>
              <a:t>“Click to edit quote”</a:t>
            </a:r>
          </a:p>
        </p:txBody>
      </p:sp>
      <p:sp>
        <p:nvSpPr>
          <p:cNvPr id="8" name="Text Placeholder 5"/>
          <p:cNvSpPr>
            <a:spLocks noGrp="1"/>
          </p:cNvSpPr>
          <p:nvPr>
            <p:ph type="body" sz="quarter" idx="22" hasCustomPrompt="1"/>
          </p:nvPr>
        </p:nvSpPr>
        <p:spPr>
          <a:xfrm>
            <a:off x="6354763" y="1526875"/>
            <a:ext cx="4825071" cy="1992702"/>
          </a:xfrm>
          <a:prstGeom prst="rect">
            <a:avLst/>
          </a:prstGeom>
        </p:spPr>
        <p:txBody>
          <a:bodyPr anchor="ctr" anchorCtr="0">
            <a:normAutofit/>
          </a:bodyPr>
          <a:lstStyle>
            <a:lvl1pPr marL="0" indent="0">
              <a:buNone/>
              <a:defRPr sz="1600">
                <a:solidFill>
                  <a:schemeClr val="accent2"/>
                </a:solidFill>
                <a:latin typeface="Arial" panose="020B0604020202020204" pitchFamily="34" charset="0"/>
                <a:cs typeface="Arial" panose="020B0604020202020204" pitchFamily="34" charset="0"/>
              </a:defRPr>
            </a:lvl1pPr>
          </a:lstStyle>
          <a:p>
            <a:pPr lvl="0"/>
            <a:r>
              <a:rPr lang="en-US"/>
              <a:t>“Click to edit quote”</a:t>
            </a:r>
          </a:p>
        </p:txBody>
      </p:sp>
      <p:sp>
        <p:nvSpPr>
          <p:cNvPr id="9" name="Text Placeholder 5"/>
          <p:cNvSpPr>
            <a:spLocks noGrp="1"/>
          </p:cNvSpPr>
          <p:nvPr>
            <p:ph type="body" sz="quarter" idx="23" hasCustomPrompt="1"/>
          </p:nvPr>
        </p:nvSpPr>
        <p:spPr>
          <a:xfrm>
            <a:off x="586596" y="1526875"/>
            <a:ext cx="5236233" cy="4149305"/>
          </a:xfrm>
          <a:prstGeom prst="rect">
            <a:avLst/>
          </a:prstGeom>
        </p:spPr>
        <p:txBody>
          <a:bodyPr anchor="ctr" anchorCtr="0">
            <a:normAutofit/>
          </a:bodyPr>
          <a:lstStyle>
            <a:lvl1pPr marL="0" indent="0">
              <a:buNone/>
              <a:defRPr sz="1600">
                <a:solidFill>
                  <a:schemeClr val="accent1"/>
                </a:solidFill>
                <a:latin typeface="Arial" panose="020B0604020202020204" pitchFamily="34" charset="0"/>
                <a:cs typeface="Arial" panose="020B0604020202020204" pitchFamily="34" charset="0"/>
              </a:defRPr>
            </a:lvl1pPr>
          </a:lstStyle>
          <a:p>
            <a:pPr lvl="0"/>
            <a:r>
              <a:rPr lang="en-US"/>
              <a:t>“Click to edit quote”</a:t>
            </a:r>
          </a:p>
        </p:txBody>
      </p:sp>
      <p:sp>
        <p:nvSpPr>
          <p:cNvPr id="10" name="Rectangle: Rounded Corners 9">
            <a:extLst>
              <a:ext uri="{FF2B5EF4-FFF2-40B4-BE49-F238E27FC236}">
                <a16:creationId xmlns:a16="http://schemas.microsoft.com/office/drawing/2014/main" id="{C98B3E50-B2CE-4C8A-A72F-6BD7F30E3185}"/>
              </a:ext>
            </a:extLst>
          </p:cNvPr>
          <p:cNvSpPr/>
          <p:nvPr/>
        </p:nvSpPr>
        <p:spPr>
          <a:xfrm>
            <a:off x="6216953" y="1415521"/>
            <a:ext cx="5066398" cy="2197250"/>
          </a:xfrm>
          <a:prstGeom prst="roundRect">
            <a:avLst>
              <a:gd name="adj" fmla="val 3711"/>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Rounded Corners 10">
            <a:extLst>
              <a:ext uri="{FF2B5EF4-FFF2-40B4-BE49-F238E27FC236}">
                <a16:creationId xmlns:a16="http://schemas.microsoft.com/office/drawing/2014/main" id="{B6FD26F2-6C44-44F2-967B-A30288356854}"/>
              </a:ext>
            </a:extLst>
          </p:cNvPr>
          <p:cNvSpPr/>
          <p:nvPr/>
        </p:nvSpPr>
        <p:spPr>
          <a:xfrm>
            <a:off x="6216953" y="3828670"/>
            <a:ext cx="5066398" cy="1985533"/>
          </a:xfrm>
          <a:prstGeom prst="roundRect">
            <a:avLst>
              <a:gd name="adj" fmla="val 3711"/>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Rounded Corners 11">
            <a:extLst>
              <a:ext uri="{FF2B5EF4-FFF2-40B4-BE49-F238E27FC236}">
                <a16:creationId xmlns:a16="http://schemas.microsoft.com/office/drawing/2014/main" id="{C949F983-0B0E-41B5-ACB2-F5536BC9CF82}"/>
              </a:ext>
            </a:extLst>
          </p:cNvPr>
          <p:cNvSpPr/>
          <p:nvPr/>
        </p:nvSpPr>
        <p:spPr>
          <a:xfrm>
            <a:off x="457199" y="1420556"/>
            <a:ext cx="5517849" cy="4393647"/>
          </a:xfrm>
          <a:prstGeom prst="roundRect">
            <a:avLst>
              <a:gd name="adj" fmla="val 3711"/>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52262942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tx1"/>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r>
              <a:rPr lang="en-US"/>
              <a:t>Click icon to add picture</a:t>
            </a:r>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0900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4" name="Rectangle 3">
            <a:extLst>
              <a:ext uri="{FF2B5EF4-FFF2-40B4-BE49-F238E27FC236}">
                <a16:creationId xmlns:a16="http://schemas.microsoft.com/office/drawing/2014/main" id="{6E50E2FF-EA26-870F-B676-8DAF035F30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Either use photo dividers or </a:t>
            </a:r>
            <a:r>
              <a:rPr lang="en-US" sz="1400" b="0" err="1">
                <a:solidFill>
                  <a:srgbClr val="E40046"/>
                </a:solidFill>
              </a:rPr>
              <a:t>colour</a:t>
            </a:r>
            <a:r>
              <a:rPr lang="en-US" sz="1400" b="0">
                <a:solidFill>
                  <a:srgbClr val="E40046"/>
                </a:solidFill>
              </a:rPr>
              <a:t> dividers don’t mix and match</a:t>
            </a:r>
          </a:p>
          <a:p>
            <a:pPr marL="0" indent="0" algn="l">
              <a:buFont typeface="+mj-lt"/>
              <a:buNone/>
            </a:pPr>
            <a:endParaRPr lang="en-US" sz="1800" b="0">
              <a:solidFill>
                <a:srgbClr val="E40046"/>
              </a:solidFill>
            </a:endParaRPr>
          </a:p>
        </p:txBody>
      </p:sp>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1645724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Tree>
    <p:extLst>
      <p:ext uri="{BB962C8B-B14F-4D97-AF65-F5344CB8AC3E}">
        <p14:creationId xmlns:p14="http://schemas.microsoft.com/office/powerpoint/2010/main" val="249160472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33793747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300523736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170629404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02211579"/>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6257355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subtitle and content layout">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9168168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Title, subtitle and content layout">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38200"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86C72681-8C5E-0677-81BC-19D52016E5E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387172941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slide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9484759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peakers_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Picture Placeholder 11"/>
          <p:cNvSpPr>
            <a:spLocks noGrp="1"/>
          </p:cNvSpPr>
          <p:nvPr>
            <p:ph type="pic" sz="quarter" idx="14"/>
          </p:nvPr>
        </p:nvSpPr>
        <p:spPr>
          <a:xfrm>
            <a:off x="870309" y="2015502"/>
            <a:ext cx="2459561" cy="2457866"/>
          </a:xfrm>
          <a:prstGeom prst="rect">
            <a:avLst/>
          </a:prstGeom>
        </p:spPr>
        <p:txBody>
          <a:bodyPr>
            <a:normAutofit/>
          </a:bodyPr>
          <a:lstStyle>
            <a:lvl1pPr marL="0" indent="0">
              <a:buNone/>
              <a:defRPr sz="1000"/>
            </a:lvl1pPr>
          </a:lstStyle>
          <a:p>
            <a:r>
              <a:rPr lang="en-US"/>
              <a:t>Click icon to add picture</a:t>
            </a:r>
          </a:p>
        </p:txBody>
      </p:sp>
      <p:sp>
        <p:nvSpPr>
          <p:cNvPr id="9" name="Text Placeholder 24"/>
          <p:cNvSpPr>
            <a:spLocks noGrp="1"/>
          </p:cNvSpPr>
          <p:nvPr>
            <p:ph type="body" sz="quarter" idx="20" hasCustomPrompt="1"/>
          </p:nvPr>
        </p:nvSpPr>
        <p:spPr>
          <a:xfrm>
            <a:off x="3452140" y="2687228"/>
            <a:ext cx="5619014" cy="1786140"/>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or bio about the team member.</a:t>
            </a:r>
          </a:p>
        </p:txBody>
      </p:sp>
      <p:sp>
        <p:nvSpPr>
          <p:cNvPr id="10" name="Text Placeholder 24"/>
          <p:cNvSpPr>
            <a:spLocks noGrp="1"/>
          </p:cNvSpPr>
          <p:nvPr>
            <p:ph type="body" sz="quarter" idx="21" hasCustomPrompt="1"/>
          </p:nvPr>
        </p:nvSpPr>
        <p:spPr>
          <a:xfrm>
            <a:off x="3452141" y="2015502"/>
            <a:ext cx="5619010" cy="316129"/>
          </a:xfrm>
          <a:prstGeom prst="rect">
            <a:avLst/>
          </a:prstGeom>
        </p:spPr>
        <p:txBody>
          <a:bodyPr>
            <a:noAutofit/>
          </a:bodyPr>
          <a:lstStyle>
            <a:lvl1pPr marL="0" indent="0">
              <a:buNone/>
              <a:defRPr sz="1800" b="1"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Name</a:t>
            </a:r>
          </a:p>
        </p:txBody>
      </p:sp>
      <p:sp>
        <p:nvSpPr>
          <p:cNvPr id="11" name="Text Placeholder 24"/>
          <p:cNvSpPr>
            <a:spLocks noGrp="1"/>
          </p:cNvSpPr>
          <p:nvPr>
            <p:ph type="body" sz="quarter" idx="22" hasCustomPrompt="1"/>
          </p:nvPr>
        </p:nvSpPr>
        <p:spPr>
          <a:xfrm>
            <a:off x="3452141" y="2362305"/>
            <a:ext cx="5619010" cy="324923"/>
          </a:xfrm>
          <a:prstGeom prst="rect">
            <a:avLst/>
          </a:prstGeom>
        </p:spPr>
        <p:txBody>
          <a:bodyPr>
            <a:noAutofit/>
          </a:bodyPr>
          <a:lstStyle>
            <a:lvl1pPr marL="0" indent="0">
              <a:buNone/>
              <a:defRPr sz="18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12" name="Rectangle: Rounded Corners 11">
            <a:extLst>
              <a:ext uri="{FF2B5EF4-FFF2-40B4-BE49-F238E27FC236}">
                <a16:creationId xmlns:a16="http://schemas.microsoft.com/office/drawing/2014/main" id="{473777AF-F665-4C7C-B5D3-43CE81C55C4A}"/>
              </a:ext>
            </a:extLst>
          </p:cNvPr>
          <p:cNvSpPr/>
          <p:nvPr/>
        </p:nvSpPr>
        <p:spPr>
          <a:xfrm>
            <a:off x="379557" y="1409543"/>
            <a:ext cx="8885213" cy="3421250"/>
          </a:xfrm>
          <a:prstGeom prst="roundRect">
            <a:avLst>
              <a:gd name="adj" fmla="val 3711"/>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Rounded Corners 12">
            <a:extLst>
              <a:ext uri="{FF2B5EF4-FFF2-40B4-BE49-F238E27FC236}">
                <a16:creationId xmlns:a16="http://schemas.microsoft.com/office/drawing/2014/main" id="{F4A889CC-AC70-4BD2-9F56-DEDCB1C3E745}"/>
              </a:ext>
            </a:extLst>
          </p:cNvPr>
          <p:cNvSpPr/>
          <p:nvPr/>
        </p:nvSpPr>
        <p:spPr>
          <a:xfrm>
            <a:off x="647068" y="1758421"/>
            <a:ext cx="9592487" cy="3897376"/>
          </a:xfrm>
          <a:prstGeom prst="roundRect">
            <a:avLst>
              <a:gd name="adj" fmla="val 3711"/>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Rounded Corners 13">
            <a:extLst>
              <a:ext uri="{FF2B5EF4-FFF2-40B4-BE49-F238E27FC236}">
                <a16:creationId xmlns:a16="http://schemas.microsoft.com/office/drawing/2014/main" id="{A6D6BD6D-A881-46E6-92F3-0B5CEAFF3C87}"/>
              </a:ext>
            </a:extLst>
          </p:cNvPr>
          <p:cNvSpPr/>
          <p:nvPr/>
        </p:nvSpPr>
        <p:spPr>
          <a:xfrm flipH="1" flipV="1">
            <a:off x="3071004" y="5155713"/>
            <a:ext cx="2327157" cy="848963"/>
          </a:xfrm>
          <a:prstGeom prst="roundRect">
            <a:avLst>
              <a:gd name="adj" fmla="val 20204"/>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lide Number Placeholder 2">
            <a:extLst>
              <a:ext uri="{FF2B5EF4-FFF2-40B4-BE49-F238E27FC236}">
                <a16:creationId xmlns:a16="http://schemas.microsoft.com/office/drawing/2014/main" id="{810072FF-F7AD-4438-9A39-1A9317545FAA}"/>
              </a:ext>
            </a:extLst>
          </p:cNvPr>
          <p:cNvSpPr>
            <a:spLocks noGrp="1"/>
          </p:cNvSpPr>
          <p:nvPr>
            <p:ph type="sldNum" sz="quarter" idx="23"/>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3186970450"/>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grpSp>
        <p:nvGrpSpPr>
          <p:cNvPr id="4" name="Group 3">
            <a:extLst>
              <a:ext uri="{FF2B5EF4-FFF2-40B4-BE49-F238E27FC236}">
                <a16:creationId xmlns:a16="http://schemas.microsoft.com/office/drawing/2014/main" id="{65B9153A-9F04-345A-4CA1-963B01DA3273}"/>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accent4"/>
                </a:solidFill>
              </a:defRPr>
            </a:lvl1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a:extLst>
              <a:ext uri="{FF2B5EF4-FFF2-40B4-BE49-F238E27FC236}">
                <a16:creationId xmlns:a16="http://schemas.microsoft.com/office/drawing/2014/main" id="{7BEF0843-863D-70F2-4F87-921E41A6C3C2}"/>
              </a:ext>
            </a:extLst>
          </p:cNvPr>
          <p:cNvSpPr>
            <a:spLocks noGrp="1"/>
          </p:cNvSpPr>
          <p:nvPr>
            <p:ph sz="quarter" idx="19"/>
          </p:nvPr>
        </p:nvSpPr>
        <p:spPr>
          <a:xfrm>
            <a:off x="6219825" y="1983440"/>
            <a:ext cx="5190004" cy="442408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359439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1_Two column layout">
    <p:bg>
      <p:bgPr>
        <a:solidFill>
          <a:schemeClr val="tx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76E4936-B714-2B4B-2E2F-7DE308A8C3D7}"/>
              </a:ext>
            </a:extLst>
          </p:cNvPr>
          <p:cNvSpPr>
            <a:spLocks noGrp="1"/>
          </p:cNvSpPr>
          <p:nvPr>
            <p:ph sz="quarter" idx="17"/>
          </p:nvPr>
        </p:nvSpPr>
        <p:spPr>
          <a:xfrm>
            <a:off x="620877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Graphic 1">
            <a:extLst>
              <a:ext uri="{FF2B5EF4-FFF2-40B4-BE49-F238E27FC236}">
                <a16:creationId xmlns:a16="http://schemas.microsoft.com/office/drawing/2014/main" id="{95CD01D7-56B5-9C8A-0FB6-B47B59DA2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378435096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hree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447800"/>
            <a:ext cx="3403771"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a:t>
            </a:r>
            <a:endParaRPr lang="en-GB"/>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447800"/>
            <a:ext cx="3397405"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447800"/>
            <a:ext cx="3420657"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grpSp>
        <p:nvGrpSpPr>
          <p:cNvPr id="5" name="Group 4">
            <a:extLst>
              <a:ext uri="{FF2B5EF4-FFF2-40B4-BE49-F238E27FC236}">
                <a16:creationId xmlns:a16="http://schemas.microsoft.com/office/drawing/2014/main" id="{591F3DED-33E1-2A27-8417-C862386CC9D7}"/>
              </a:ext>
            </a:extLst>
          </p:cNvPr>
          <p:cNvGrpSpPr/>
          <p:nvPr/>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7" name="Content Placeholder 17">
            <a:extLst>
              <a:ext uri="{FF2B5EF4-FFF2-40B4-BE49-F238E27FC236}">
                <a16:creationId xmlns:a16="http://schemas.microsoft.com/office/drawing/2014/main" id="{0A776850-50EE-E561-4FFE-50964993BAB6}"/>
              </a:ext>
            </a:extLst>
          </p:cNvPr>
          <p:cNvSpPr>
            <a:spLocks noGrp="1"/>
          </p:cNvSpPr>
          <p:nvPr>
            <p:ph sz="quarter" idx="20"/>
          </p:nvPr>
        </p:nvSpPr>
        <p:spPr>
          <a:xfrm>
            <a:off x="82296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7E6C179B-B0FB-66D9-590F-5E20DFE7C553}"/>
              </a:ext>
            </a:extLst>
          </p:cNvPr>
          <p:cNvSpPr>
            <a:spLocks noGrp="1"/>
          </p:cNvSpPr>
          <p:nvPr>
            <p:ph sz="quarter" idx="21"/>
          </p:nvPr>
        </p:nvSpPr>
        <p:spPr>
          <a:xfrm>
            <a:off x="44196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Content Placeholder 17">
            <a:extLst>
              <a:ext uri="{FF2B5EF4-FFF2-40B4-BE49-F238E27FC236}">
                <a16:creationId xmlns:a16="http://schemas.microsoft.com/office/drawing/2014/main" id="{A9EE28E5-77BF-A362-4864-199E18F99C58}"/>
              </a:ext>
            </a:extLst>
          </p:cNvPr>
          <p:cNvSpPr>
            <a:spLocks noGrp="1"/>
          </p:cNvSpPr>
          <p:nvPr>
            <p:ph sz="quarter" idx="22"/>
          </p:nvPr>
        </p:nvSpPr>
        <p:spPr>
          <a:xfrm>
            <a:off x="80010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0143676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Four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444752"/>
            <a:ext cx="2514650"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Four column</a:t>
            </a:r>
            <a:endParaRPr lang="en-GB"/>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444752"/>
            <a:ext cx="2514731"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444752"/>
            <a:ext cx="2538964"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444752"/>
            <a:ext cx="2528283" cy="382587"/>
          </a:xfrm>
        </p:spPr>
        <p:txBody>
          <a:bodyPr anchor="b"/>
          <a:lstStyle>
            <a:lvl1pPr marL="0" indent="0">
              <a:buNone/>
              <a:defRPr sz="2000" b="1">
                <a:solidFill>
                  <a:schemeClr val="tx2"/>
                </a:solidFill>
                <a:latin typeface="+mn-lt"/>
              </a:defRPr>
            </a:lvl1pPr>
          </a:lstStyle>
          <a:p>
            <a:pPr lvl="0"/>
            <a:r>
              <a:rPr lang="en-US"/>
              <a:t>Click to add text</a:t>
            </a:r>
          </a:p>
        </p:txBody>
      </p:sp>
      <p:grpSp>
        <p:nvGrpSpPr>
          <p:cNvPr id="2" name="Group 1">
            <a:extLst>
              <a:ext uri="{FF2B5EF4-FFF2-40B4-BE49-F238E27FC236}">
                <a16:creationId xmlns:a16="http://schemas.microsoft.com/office/drawing/2014/main" id="{16C66BC4-CE7E-E443-BEF3-B7BBA49FE37B}"/>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 name="Content Placeholder 17">
            <a:extLst>
              <a:ext uri="{FF2B5EF4-FFF2-40B4-BE49-F238E27FC236}">
                <a16:creationId xmlns:a16="http://schemas.microsoft.com/office/drawing/2014/main" id="{6836F395-4748-2751-1D21-D93193CB7721}"/>
              </a:ext>
            </a:extLst>
          </p:cNvPr>
          <p:cNvSpPr>
            <a:spLocks noGrp="1"/>
          </p:cNvSpPr>
          <p:nvPr>
            <p:ph sz="quarter" idx="22"/>
          </p:nvPr>
        </p:nvSpPr>
        <p:spPr>
          <a:xfrm>
            <a:off x="82296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24FDCD0B-78AD-B0E5-5A66-A6DC66DC0B27}"/>
              </a:ext>
            </a:extLst>
          </p:cNvPr>
          <p:cNvSpPr>
            <a:spLocks noGrp="1"/>
          </p:cNvSpPr>
          <p:nvPr>
            <p:ph sz="quarter" idx="23"/>
          </p:nvPr>
        </p:nvSpPr>
        <p:spPr>
          <a:xfrm>
            <a:off x="350520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Content Placeholder 17">
            <a:extLst>
              <a:ext uri="{FF2B5EF4-FFF2-40B4-BE49-F238E27FC236}">
                <a16:creationId xmlns:a16="http://schemas.microsoft.com/office/drawing/2014/main" id="{EA511637-20FB-46F5-8612-86CB87549DD6}"/>
              </a:ext>
            </a:extLst>
          </p:cNvPr>
          <p:cNvSpPr>
            <a:spLocks noGrp="1"/>
          </p:cNvSpPr>
          <p:nvPr>
            <p:ph sz="quarter" idx="24"/>
          </p:nvPr>
        </p:nvSpPr>
        <p:spPr>
          <a:xfrm>
            <a:off x="6199632"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tent Placeholder 17">
            <a:extLst>
              <a:ext uri="{FF2B5EF4-FFF2-40B4-BE49-F238E27FC236}">
                <a16:creationId xmlns:a16="http://schemas.microsoft.com/office/drawing/2014/main" id="{8D7C06DE-97BF-BAF3-02DD-41639AF97BE4}"/>
              </a:ext>
            </a:extLst>
          </p:cNvPr>
          <p:cNvSpPr>
            <a:spLocks noGrp="1"/>
          </p:cNvSpPr>
          <p:nvPr>
            <p:ph sz="quarter" idx="25"/>
          </p:nvPr>
        </p:nvSpPr>
        <p:spPr>
          <a:xfrm>
            <a:off x="8915400" y="1981200"/>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5431923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08520450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2663891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9290317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5632620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62503107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7082583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peakers_Gr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Picture Placeholder 11"/>
          <p:cNvSpPr>
            <a:spLocks noGrp="1"/>
          </p:cNvSpPr>
          <p:nvPr>
            <p:ph type="pic" sz="quarter" idx="14"/>
          </p:nvPr>
        </p:nvSpPr>
        <p:spPr>
          <a:xfrm>
            <a:off x="622300" y="1606021"/>
            <a:ext cx="1783077" cy="1781848"/>
          </a:xfrm>
          <a:prstGeom prst="rect">
            <a:avLst/>
          </a:prstGeom>
        </p:spPr>
        <p:txBody>
          <a:bodyPr>
            <a:normAutofit/>
          </a:bodyPr>
          <a:lstStyle>
            <a:lvl1pPr marL="0" indent="0">
              <a:buNone/>
              <a:defRPr sz="1000"/>
            </a:lvl1pPr>
          </a:lstStyle>
          <a:p>
            <a:r>
              <a:rPr lang="en-US"/>
              <a:t>Click icon to add picture</a:t>
            </a:r>
          </a:p>
        </p:txBody>
      </p:sp>
      <p:sp>
        <p:nvSpPr>
          <p:cNvPr id="9" name="Text Placeholder 24"/>
          <p:cNvSpPr>
            <a:spLocks noGrp="1"/>
          </p:cNvSpPr>
          <p:nvPr>
            <p:ph type="body" sz="quarter" idx="20" hasCustomPrompt="1"/>
          </p:nvPr>
        </p:nvSpPr>
        <p:spPr>
          <a:xfrm>
            <a:off x="2477452" y="2189287"/>
            <a:ext cx="3275647" cy="1198582"/>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10" name="Text Placeholder 24"/>
          <p:cNvSpPr>
            <a:spLocks noGrp="1"/>
          </p:cNvSpPr>
          <p:nvPr>
            <p:ph type="body" sz="quarter" idx="21" hasCustomPrompt="1"/>
          </p:nvPr>
        </p:nvSpPr>
        <p:spPr>
          <a:xfrm>
            <a:off x="2477453" y="1613225"/>
            <a:ext cx="3275644" cy="286804"/>
          </a:xfrm>
          <a:prstGeom prst="rect">
            <a:avLst/>
          </a:prstGeom>
        </p:spPr>
        <p:txBody>
          <a:bodyPr>
            <a:noAutofit/>
          </a:bodyPr>
          <a:lstStyle>
            <a:lvl1pPr marL="0" indent="0">
              <a:buNone/>
              <a:defRPr sz="1400" b="1"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Name</a:t>
            </a:r>
          </a:p>
        </p:txBody>
      </p:sp>
      <p:sp>
        <p:nvSpPr>
          <p:cNvPr id="11" name="Text Placeholder 24"/>
          <p:cNvSpPr>
            <a:spLocks noGrp="1"/>
          </p:cNvSpPr>
          <p:nvPr>
            <p:ph type="body" sz="quarter" idx="22" hasCustomPrompt="1"/>
          </p:nvPr>
        </p:nvSpPr>
        <p:spPr>
          <a:xfrm>
            <a:off x="2477453" y="1901257"/>
            <a:ext cx="3275644" cy="286804"/>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12" name="Picture Placeholder 11"/>
          <p:cNvSpPr>
            <a:spLocks noGrp="1"/>
          </p:cNvSpPr>
          <p:nvPr>
            <p:ph type="pic" sz="quarter" idx="27"/>
          </p:nvPr>
        </p:nvSpPr>
        <p:spPr>
          <a:xfrm>
            <a:off x="622300" y="3816348"/>
            <a:ext cx="1783077" cy="1781848"/>
          </a:xfrm>
          <a:prstGeom prst="rect">
            <a:avLst/>
          </a:prstGeom>
        </p:spPr>
        <p:txBody>
          <a:bodyPr>
            <a:normAutofit/>
          </a:bodyPr>
          <a:lstStyle>
            <a:lvl1pPr marL="0" indent="0">
              <a:buNone/>
              <a:defRPr sz="1000"/>
            </a:lvl1pPr>
          </a:lstStyle>
          <a:p>
            <a:r>
              <a:rPr lang="en-US"/>
              <a:t>Click icon to add picture</a:t>
            </a:r>
          </a:p>
        </p:txBody>
      </p:sp>
      <p:sp>
        <p:nvSpPr>
          <p:cNvPr id="14" name="Text Placeholder 24"/>
          <p:cNvSpPr>
            <a:spLocks noGrp="1"/>
          </p:cNvSpPr>
          <p:nvPr>
            <p:ph type="body" sz="quarter" idx="28" hasCustomPrompt="1"/>
          </p:nvPr>
        </p:nvSpPr>
        <p:spPr>
          <a:xfrm>
            <a:off x="2464803" y="4399614"/>
            <a:ext cx="3288836" cy="1198581"/>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15" name="Text Placeholder 24"/>
          <p:cNvSpPr>
            <a:spLocks noGrp="1"/>
          </p:cNvSpPr>
          <p:nvPr>
            <p:ph type="body" sz="quarter" idx="29" hasCustomPrompt="1"/>
          </p:nvPr>
        </p:nvSpPr>
        <p:spPr>
          <a:xfrm>
            <a:off x="2464803" y="3823552"/>
            <a:ext cx="3288833" cy="288032"/>
          </a:xfrm>
          <a:prstGeom prst="rect">
            <a:avLst/>
          </a:prstGeom>
        </p:spPr>
        <p:txBody>
          <a:bodyPr>
            <a:noAutofit/>
          </a:bodyPr>
          <a:lstStyle>
            <a:lvl1pPr marL="0" indent="0">
              <a:buNone/>
              <a:defRPr sz="1400" b="1" baseline="0">
                <a:solidFill>
                  <a:schemeClr val="accent2"/>
                </a:solidFill>
              </a:defRPr>
            </a:lvl1pPr>
            <a:lvl2pPr>
              <a:defRPr sz="1600"/>
            </a:lvl2pPr>
            <a:lvl3pPr>
              <a:defRPr sz="1400"/>
            </a:lvl3pPr>
            <a:lvl4pPr>
              <a:defRPr sz="1200"/>
            </a:lvl4pPr>
            <a:lvl5pPr>
              <a:defRPr sz="1200"/>
            </a:lvl5pPr>
          </a:lstStyle>
          <a:p>
            <a:pPr lvl="0"/>
            <a:r>
              <a:rPr lang="en-US"/>
              <a:t>Name</a:t>
            </a:r>
          </a:p>
        </p:txBody>
      </p:sp>
      <p:sp>
        <p:nvSpPr>
          <p:cNvPr id="16" name="Text Placeholder 24"/>
          <p:cNvSpPr>
            <a:spLocks noGrp="1"/>
          </p:cNvSpPr>
          <p:nvPr>
            <p:ph type="body" sz="quarter" idx="30" hasCustomPrompt="1"/>
          </p:nvPr>
        </p:nvSpPr>
        <p:spPr>
          <a:xfrm>
            <a:off x="2464803" y="4111584"/>
            <a:ext cx="3288833" cy="288032"/>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28" name="Picture Placeholder 11"/>
          <p:cNvSpPr>
            <a:spLocks noGrp="1"/>
          </p:cNvSpPr>
          <p:nvPr>
            <p:ph type="pic" sz="quarter" idx="31"/>
          </p:nvPr>
        </p:nvSpPr>
        <p:spPr>
          <a:xfrm>
            <a:off x="6215258" y="1606021"/>
            <a:ext cx="1783077" cy="1781848"/>
          </a:xfrm>
          <a:prstGeom prst="rect">
            <a:avLst/>
          </a:prstGeom>
        </p:spPr>
        <p:txBody>
          <a:bodyPr>
            <a:normAutofit/>
          </a:bodyPr>
          <a:lstStyle>
            <a:lvl1pPr marL="0" indent="0">
              <a:buNone/>
              <a:defRPr sz="1000"/>
            </a:lvl1pPr>
          </a:lstStyle>
          <a:p>
            <a:r>
              <a:rPr lang="en-US"/>
              <a:t>Click icon to add picture</a:t>
            </a:r>
          </a:p>
        </p:txBody>
      </p:sp>
      <p:sp>
        <p:nvSpPr>
          <p:cNvPr id="30" name="Text Placeholder 24"/>
          <p:cNvSpPr>
            <a:spLocks noGrp="1"/>
          </p:cNvSpPr>
          <p:nvPr>
            <p:ph type="body" sz="quarter" idx="32" hasCustomPrompt="1"/>
          </p:nvPr>
        </p:nvSpPr>
        <p:spPr>
          <a:xfrm>
            <a:off x="8085890" y="2196403"/>
            <a:ext cx="3264909" cy="1191466"/>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31" name="Text Placeholder 24"/>
          <p:cNvSpPr>
            <a:spLocks noGrp="1"/>
          </p:cNvSpPr>
          <p:nvPr>
            <p:ph type="body" sz="quarter" idx="33" hasCustomPrompt="1"/>
          </p:nvPr>
        </p:nvSpPr>
        <p:spPr>
          <a:xfrm>
            <a:off x="8085891" y="1620341"/>
            <a:ext cx="3264906" cy="286804"/>
          </a:xfrm>
          <a:prstGeom prst="rect">
            <a:avLst/>
          </a:prstGeom>
        </p:spPr>
        <p:txBody>
          <a:bodyPr>
            <a:noAutofit/>
          </a:bodyPr>
          <a:lstStyle>
            <a:lvl1pPr marL="0" indent="0">
              <a:buNone/>
              <a:defRPr sz="1400" b="1"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Name</a:t>
            </a:r>
          </a:p>
        </p:txBody>
      </p:sp>
      <p:sp>
        <p:nvSpPr>
          <p:cNvPr id="32" name="Text Placeholder 24"/>
          <p:cNvSpPr>
            <a:spLocks noGrp="1"/>
          </p:cNvSpPr>
          <p:nvPr>
            <p:ph type="body" sz="quarter" idx="34" hasCustomPrompt="1"/>
          </p:nvPr>
        </p:nvSpPr>
        <p:spPr>
          <a:xfrm>
            <a:off x="8085891" y="1908373"/>
            <a:ext cx="3264906" cy="286804"/>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33" name="Picture Placeholder 11"/>
          <p:cNvSpPr>
            <a:spLocks noGrp="1"/>
          </p:cNvSpPr>
          <p:nvPr>
            <p:ph type="pic" sz="quarter" idx="35"/>
          </p:nvPr>
        </p:nvSpPr>
        <p:spPr>
          <a:xfrm>
            <a:off x="6215258" y="3816348"/>
            <a:ext cx="1783077" cy="1781848"/>
          </a:xfrm>
          <a:prstGeom prst="rect">
            <a:avLst/>
          </a:prstGeom>
        </p:spPr>
        <p:txBody>
          <a:bodyPr>
            <a:normAutofit/>
          </a:bodyPr>
          <a:lstStyle>
            <a:lvl1pPr marL="0" indent="0">
              <a:buNone/>
              <a:defRPr sz="1000"/>
            </a:lvl1pPr>
          </a:lstStyle>
          <a:p>
            <a:r>
              <a:rPr lang="en-US"/>
              <a:t>Click icon to add picture</a:t>
            </a:r>
          </a:p>
        </p:txBody>
      </p:sp>
      <p:sp>
        <p:nvSpPr>
          <p:cNvPr id="35" name="Text Placeholder 24"/>
          <p:cNvSpPr>
            <a:spLocks noGrp="1"/>
          </p:cNvSpPr>
          <p:nvPr>
            <p:ph type="body" sz="quarter" idx="36" hasCustomPrompt="1"/>
          </p:nvPr>
        </p:nvSpPr>
        <p:spPr>
          <a:xfrm>
            <a:off x="8073241" y="4389479"/>
            <a:ext cx="3278054" cy="1191466"/>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about the team member.</a:t>
            </a:r>
          </a:p>
        </p:txBody>
      </p:sp>
      <p:sp>
        <p:nvSpPr>
          <p:cNvPr id="36" name="Text Placeholder 24"/>
          <p:cNvSpPr>
            <a:spLocks noGrp="1"/>
          </p:cNvSpPr>
          <p:nvPr>
            <p:ph type="body" sz="quarter" idx="37" hasCustomPrompt="1"/>
          </p:nvPr>
        </p:nvSpPr>
        <p:spPr>
          <a:xfrm>
            <a:off x="8073241" y="3813416"/>
            <a:ext cx="3278051" cy="288032"/>
          </a:xfrm>
          <a:prstGeom prst="rect">
            <a:avLst/>
          </a:prstGeom>
        </p:spPr>
        <p:txBody>
          <a:bodyPr>
            <a:noAutofit/>
          </a:bodyPr>
          <a:lstStyle>
            <a:lvl1pPr marL="0" indent="0">
              <a:buNone/>
              <a:defRPr sz="1400" b="1" baseline="0">
                <a:solidFill>
                  <a:schemeClr val="accent2"/>
                </a:solidFill>
              </a:defRPr>
            </a:lvl1pPr>
            <a:lvl2pPr>
              <a:defRPr sz="1600"/>
            </a:lvl2pPr>
            <a:lvl3pPr>
              <a:defRPr sz="1400"/>
            </a:lvl3pPr>
            <a:lvl4pPr>
              <a:defRPr sz="1200"/>
            </a:lvl4pPr>
            <a:lvl5pPr>
              <a:defRPr sz="1200"/>
            </a:lvl5pPr>
          </a:lstStyle>
          <a:p>
            <a:pPr lvl="0"/>
            <a:r>
              <a:rPr lang="en-US"/>
              <a:t>Name</a:t>
            </a:r>
          </a:p>
        </p:txBody>
      </p:sp>
      <p:sp>
        <p:nvSpPr>
          <p:cNvPr id="37" name="Text Placeholder 24"/>
          <p:cNvSpPr>
            <a:spLocks noGrp="1"/>
          </p:cNvSpPr>
          <p:nvPr>
            <p:ph type="body" sz="quarter" idx="38" hasCustomPrompt="1"/>
          </p:nvPr>
        </p:nvSpPr>
        <p:spPr>
          <a:xfrm>
            <a:off x="8073241" y="4101448"/>
            <a:ext cx="3278051" cy="288032"/>
          </a:xfrm>
          <a:prstGeom prst="rect">
            <a:avLst/>
          </a:prstGeom>
        </p:spPr>
        <p:txBody>
          <a:bodyPr>
            <a:noAutofit/>
          </a:bodyPr>
          <a:lstStyle>
            <a:lvl1pPr marL="0" indent="0">
              <a:buNone/>
              <a:defRPr sz="14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3" name="Slide Number Placeholder 2">
            <a:extLst>
              <a:ext uri="{FF2B5EF4-FFF2-40B4-BE49-F238E27FC236}">
                <a16:creationId xmlns:a16="http://schemas.microsoft.com/office/drawing/2014/main" id="{61B7F0C9-9986-407C-948C-63C5ED6BDFC7}"/>
              </a:ext>
            </a:extLst>
          </p:cNvPr>
          <p:cNvSpPr>
            <a:spLocks noGrp="1"/>
          </p:cNvSpPr>
          <p:nvPr>
            <p:ph type="sldNum" sz="quarter" idx="39"/>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80058914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181797338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6624048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105954361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09266243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335193540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04898124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706579087"/>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6535329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27024488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453818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plash screen 2">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883"/>
            <a:ext cx="12191617" cy="6856445"/>
          </a:xfrm>
          <a:prstGeom prst="rect">
            <a:avLst/>
          </a:prstGeom>
        </p:spPr>
      </p:pic>
      <p:sp>
        <p:nvSpPr>
          <p:cNvPr id="5" name="TextBox 4">
            <a:extLst>
              <a:ext uri="{FF2B5EF4-FFF2-40B4-BE49-F238E27FC236}">
                <a16:creationId xmlns:a16="http://schemas.microsoft.com/office/drawing/2014/main" id="{1EEF823C-FE1A-4D7D-97A8-108F041ECC7C}"/>
              </a:ext>
            </a:extLst>
          </p:cNvPr>
          <p:cNvSpPr txBox="1"/>
          <p:nvPr/>
        </p:nvSpPr>
        <p:spPr>
          <a:xfrm>
            <a:off x="5270741" y="2682814"/>
            <a:ext cx="5098211" cy="2308324"/>
          </a:xfrm>
          <a:prstGeom prst="rect">
            <a:avLst/>
          </a:prstGeom>
          <a:noFill/>
        </p:spPr>
        <p:txBody>
          <a:bodyPr wrap="square" rtlCol="0">
            <a:spAutoFit/>
          </a:bodyPr>
          <a:lstStyle/>
          <a:p>
            <a:r>
              <a:rPr lang="en-US" sz="4800">
                <a:solidFill>
                  <a:schemeClr val="bg1"/>
                </a:solidFill>
              </a:rPr>
              <a:t>THANK YOU FOR YOUR TIME AND ATTENTION</a:t>
            </a:r>
          </a:p>
        </p:txBody>
      </p:sp>
    </p:spTree>
    <p:extLst>
      <p:ext uri="{BB962C8B-B14F-4D97-AF65-F5344CB8AC3E}">
        <p14:creationId xmlns:p14="http://schemas.microsoft.com/office/powerpoint/2010/main" val="2617335884"/>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73220205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86764053"/>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3601882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015578993"/>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95889411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56418704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sp>
        <p:nvSpPr>
          <p:cNvPr id="4" name="Text Placeholder 3">
            <a:extLst>
              <a:ext uri="{FF2B5EF4-FFF2-40B4-BE49-F238E27FC236}">
                <a16:creationId xmlns:a16="http://schemas.microsoft.com/office/drawing/2014/main" id="{10E304D8-E056-A7AA-58D8-A147EFD98485}"/>
              </a:ext>
            </a:extLst>
          </p:cNvPr>
          <p:cNvSpPr>
            <a:spLocks noGrp="1"/>
          </p:cNvSpPr>
          <p:nvPr>
            <p:ph type="body" sz="quarter" idx="16" hasCustomPrompt="1"/>
          </p:nvPr>
        </p:nvSpPr>
        <p:spPr>
          <a:xfrm>
            <a:off x="4956048" y="1252728"/>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0" name="Text Placeholder 9">
            <a:extLst>
              <a:ext uri="{FF2B5EF4-FFF2-40B4-BE49-F238E27FC236}">
                <a16:creationId xmlns:a16="http://schemas.microsoft.com/office/drawing/2014/main" id="{969D1756-695B-B522-5749-6A28C9BCED27}"/>
              </a:ext>
            </a:extLst>
          </p:cNvPr>
          <p:cNvSpPr>
            <a:spLocks noGrp="1"/>
          </p:cNvSpPr>
          <p:nvPr>
            <p:ph type="body" sz="quarter" idx="17" hasCustomPrompt="1"/>
          </p:nvPr>
        </p:nvSpPr>
        <p:spPr>
          <a:xfrm>
            <a:off x="49560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11" name="Text Placeholder 3">
            <a:extLst>
              <a:ext uri="{FF2B5EF4-FFF2-40B4-BE49-F238E27FC236}">
                <a16:creationId xmlns:a16="http://schemas.microsoft.com/office/drawing/2014/main" id="{C8D3A221-BC13-56A4-A300-930347348C77}"/>
              </a:ext>
            </a:extLst>
          </p:cNvPr>
          <p:cNvSpPr>
            <a:spLocks noGrp="1"/>
          </p:cNvSpPr>
          <p:nvPr>
            <p:ph type="body" sz="quarter" idx="18" hasCustomPrompt="1"/>
          </p:nvPr>
        </p:nvSpPr>
        <p:spPr>
          <a:xfrm>
            <a:off x="8156448" y="1280160"/>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2" name="Text Placeholder 3">
            <a:extLst>
              <a:ext uri="{FF2B5EF4-FFF2-40B4-BE49-F238E27FC236}">
                <a16:creationId xmlns:a16="http://schemas.microsoft.com/office/drawing/2014/main" id="{74C486AC-0049-6245-B083-A937EBC236AB}"/>
              </a:ext>
            </a:extLst>
          </p:cNvPr>
          <p:cNvSpPr>
            <a:spLocks noGrp="1"/>
          </p:cNvSpPr>
          <p:nvPr>
            <p:ph type="body" sz="quarter" idx="19" hasCustomPrompt="1"/>
          </p:nvPr>
        </p:nvSpPr>
        <p:spPr>
          <a:xfrm>
            <a:off x="4956048" y="4169664"/>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4" name="Text Placeholder 3">
            <a:extLst>
              <a:ext uri="{FF2B5EF4-FFF2-40B4-BE49-F238E27FC236}">
                <a16:creationId xmlns:a16="http://schemas.microsoft.com/office/drawing/2014/main" id="{CD3B0620-9894-F125-14B9-CD640560FD6A}"/>
              </a:ext>
            </a:extLst>
          </p:cNvPr>
          <p:cNvSpPr>
            <a:spLocks noGrp="1"/>
          </p:cNvSpPr>
          <p:nvPr>
            <p:ph type="body" sz="quarter" idx="20" hasCustomPrompt="1"/>
          </p:nvPr>
        </p:nvSpPr>
        <p:spPr>
          <a:xfrm>
            <a:off x="8153870" y="4197096"/>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9" name="Text Placeholder 9">
            <a:extLst>
              <a:ext uri="{FF2B5EF4-FFF2-40B4-BE49-F238E27FC236}">
                <a16:creationId xmlns:a16="http://schemas.microsoft.com/office/drawing/2014/main" id="{04F6BC5D-29CC-231E-4719-983E8BA15AA8}"/>
              </a:ext>
            </a:extLst>
          </p:cNvPr>
          <p:cNvSpPr>
            <a:spLocks noGrp="1"/>
          </p:cNvSpPr>
          <p:nvPr>
            <p:ph type="body" sz="quarter" idx="21" hasCustomPrompt="1"/>
          </p:nvPr>
        </p:nvSpPr>
        <p:spPr>
          <a:xfrm>
            <a:off x="81564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0" name="Text Placeholder 9">
            <a:extLst>
              <a:ext uri="{FF2B5EF4-FFF2-40B4-BE49-F238E27FC236}">
                <a16:creationId xmlns:a16="http://schemas.microsoft.com/office/drawing/2014/main" id="{01FEAD51-6040-1673-BC66-C9E1B8FC27F9}"/>
              </a:ext>
            </a:extLst>
          </p:cNvPr>
          <p:cNvSpPr>
            <a:spLocks noGrp="1"/>
          </p:cNvSpPr>
          <p:nvPr>
            <p:ph type="body" sz="quarter" idx="22" hasCustomPrompt="1"/>
          </p:nvPr>
        </p:nvSpPr>
        <p:spPr>
          <a:xfrm>
            <a:off x="4956048" y="553212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4" name="Text Placeholder 9">
            <a:extLst>
              <a:ext uri="{FF2B5EF4-FFF2-40B4-BE49-F238E27FC236}">
                <a16:creationId xmlns:a16="http://schemas.microsoft.com/office/drawing/2014/main" id="{EAEAE809-2E7A-2AF1-FB64-4210F149FF24}"/>
              </a:ext>
            </a:extLst>
          </p:cNvPr>
          <p:cNvSpPr>
            <a:spLocks noGrp="1"/>
          </p:cNvSpPr>
          <p:nvPr>
            <p:ph type="body" sz="quarter" idx="23" hasCustomPrompt="1"/>
          </p:nvPr>
        </p:nvSpPr>
        <p:spPr>
          <a:xfrm>
            <a:off x="8156448" y="5530584"/>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Tree>
    <p:extLst>
      <p:ext uri="{BB962C8B-B14F-4D97-AF65-F5344CB8AC3E}">
        <p14:creationId xmlns:p14="http://schemas.microsoft.com/office/powerpoint/2010/main" val="1447476740"/>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3277990"/>
            <a:ext cx="10647929" cy="451005"/>
            <a:chOff x="815974" y="3277990"/>
            <a:chExt cx="7080250" cy="451005"/>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Text Placeholder 22">
            <a:extLst>
              <a:ext uri="{FF2B5EF4-FFF2-40B4-BE49-F238E27FC236}">
                <a16:creationId xmlns:a16="http://schemas.microsoft.com/office/drawing/2014/main" id="{D5AF262E-3C8F-28B1-BCCF-0A97917A8B4F}"/>
              </a:ext>
            </a:extLst>
          </p:cNvPr>
          <p:cNvSpPr>
            <a:spLocks noGrp="1"/>
          </p:cNvSpPr>
          <p:nvPr>
            <p:ph type="body" sz="quarter" idx="15" hasCustomPrompt="1"/>
          </p:nvPr>
        </p:nvSpPr>
        <p:spPr>
          <a:xfrm>
            <a:off x="813816" y="2862072"/>
            <a:ext cx="5321808" cy="676656"/>
          </a:xfrm>
        </p:spPr>
        <p:txBody>
          <a:bodyPr anchor="ctr" anchorCtr="0">
            <a:normAutofit/>
          </a:bodyPr>
          <a:lstStyle>
            <a:lvl1pPr algn="ctr">
              <a:defRPr sz="4400" b="1">
                <a:solidFill>
                  <a:schemeClr val="tx1"/>
                </a:solidFill>
              </a:defRPr>
            </a:lvl1pPr>
          </a:lstStyle>
          <a:p>
            <a:pPr lvl="0"/>
            <a:r>
              <a:rPr lang="en-US"/>
              <a:t>01</a:t>
            </a:r>
          </a:p>
        </p:txBody>
      </p:sp>
      <p:sp>
        <p:nvSpPr>
          <p:cNvPr id="24" name="Text Placeholder 22">
            <a:extLst>
              <a:ext uri="{FF2B5EF4-FFF2-40B4-BE49-F238E27FC236}">
                <a16:creationId xmlns:a16="http://schemas.microsoft.com/office/drawing/2014/main" id="{0DE0CA70-573A-82EE-EA48-2FD42347E080}"/>
              </a:ext>
            </a:extLst>
          </p:cNvPr>
          <p:cNvSpPr>
            <a:spLocks noGrp="1"/>
          </p:cNvSpPr>
          <p:nvPr>
            <p:ph type="body" sz="quarter" idx="16" hasCustomPrompt="1"/>
          </p:nvPr>
        </p:nvSpPr>
        <p:spPr>
          <a:xfrm>
            <a:off x="6172200" y="2633472"/>
            <a:ext cx="5321808" cy="676656"/>
          </a:xfrm>
        </p:spPr>
        <p:txBody>
          <a:bodyPr anchor="ctr" anchorCtr="0">
            <a:normAutofit/>
          </a:bodyPr>
          <a:lstStyle>
            <a:lvl1pPr algn="ctr">
              <a:defRPr sz="4400" b="1">
                <a:solidFill>
                  <a:schemeClr val="tx1"/>
                </a:solidFill>
              </a:defRPr>
            </a:lvl1pPr>
          </a:lstStyle>
          <a:p>
            <a:pPr lvl="0"/>
            <a:r>
              <a:rPr lang="en-US"/>
              <a:t>02</a:t>
            </a:r>
          </a:p>
        </p:txBody>
      </p:sp>
    </p:spTree>
    <p:extLst>
      <p:ext uri="{BB962C8B-B14F-4D97-AF65-F5344CB8AC3E}">
        <p14:creationId xmlns:p14="http://schemas.microsoft.com/office/powerpoint/2010/main" val="265426854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7955770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Text Placeholder 25">
            <a:extLst>
              <a:ext uri="{FF2B5EF4-FFF2-40B4-BE49-F238E27FC236}">
                <a16:creationId xmlns:a16="http://schemas.microsoft.com/office/drawing/2014/main" id="{5055A999-4100-1F48-E076-B4B41D3A070A}"/>
              </a:ext>
            </a:extLst>
          </p:cNvPr>
          <p:cNvSpPr>
            <a:spLocks noGrp="1"/>
          </p:cNvSpPr>
          <p:nvPr>
            <p:ph type="body" sz="quarter" idx="17" hasCustomPrompt="1"/>
          </p:nvPr>
        </p:nvSpPr>
        <p:spPr>
          <a:xfrm>
            <a:off x="813816" y="2862072"/>
            <a:ext cx="2651760" cy="813816"/>
          </a:xfrm>
        </p:spPr>
        <p:txBody>
          <a:bodyPr anchor="ctr" anchorCtr="0">
            <a:normAutofit/>
          </a:bodyPr>
          <a:lstStyle>
            <a:lvl1pPr algn="ctr">
              <a:defRPr sz="4400" b="1">
                <a:solidFill>
                  <a:schemeClr val="tx1"/>
                </a:solidFill>
              </a:defRPr>
            </a:lvl1pPr>
          </a:lstStyle>
          <a:p>
            <a:pPr lvl="0"/>
            <a:r>
              <a:rPr lang="en-US"/>
              <a:t>01</a:t>
            </a:r>
          </a:p>
        </p:txBody>
      </p:sp>
      <p:sp>
        <p:nvSpPr>
          <p:cNvPr id="31" name="Text Placeholder 25">
            <a:extLst>
              <a:ext uri="{FF2B5EF4-FFF2-40B4-BE49-F238E27FC236}">
                <a16:creationId xmlns:a16="http://schemas.microsoft.com/office/drawing/2014/main" id="{99F001E0-F189-607B-C6FA-DA3C0646966B}"/>
              </a:ext>
            </a:extLst>
          </p:cNvPr>
          <p:cNvSpPr>
            <a:spLocks noGrp="1"/>
          </p:cNvSpPr>
          <p:nvPr>
            <p:ph type="body" sz="quarter" idx="18" hasCustomPrompt="1"/>
          </p:nvPr>
        </p:nvSpPr>
        <p:spPr>
          <a:xfrm>
            <a:off x="3483864" y="2633472"/>
            <a:ext cx="2651760" cy="813816"/>
          </a:xfrm>
        </p:spPr>
        <p:txBody>
          <a:bodyPr anchor="ctr" anchorCtr="0">
            <a:normAutofit/>
          </a:bodyPr>
          <a:lstStyle>
            <a:lvl1pPr algn="ctr">
              <a:defRPr sz="4400" b="1">
                <a:solidFill>
                  <a:schemeClr val="tx1"/>
                </a:solidFill>
              </a:defRPr>
            </a:lvl1pPr>
          </a:lstStyle>
          <a:p>
            <a:pPr lvl="0"/>
            <a:r>
              <a:rPr lang="en-US"/>
              <a:t>02</a:t>
            </a:r>
          </a:p>
        </p:txBody>
      </p:sp>
      <p:sp>
        <p:nvSpPr>
          <p:cNvPr id="32" name="Text Placeholder 25">
            <a:extLst>
              <a:ext uri="{FF2B5EF4-FFF2-40B4-BE49-F238E27FC236}">
                <a16:creationId xmlns:a16="http://schemas.microsoft.com/office/drawing/2014/main" id="{7AA02A4B-ABF3-889B-1E7C-DBCB4E50825D}"/>
              </a:ext>
            </a:extLst>
          </p:cNvPr>
          <p:cNvSpPr>
            <a:spLocks noGrp="1"/>
          </p:cNvSpPr>
          <p:nvPr>
            <p:ph type="body" sz="quarter" idx="19" hasCustomPrompt="1"/>
          </p:nvPr>
        </p:nvSpPr>
        <p:spPr>
          <a:xfrm>
            <a:off x="6113709" y="2414016"/>
            <a:ext cx="2651760" cy="813816"/>
          </a:xfrm>
        </p:spPr>
        <p:txBody>
          <a:bodyPr anchor="ctr" anchorCtr="0">
            <a:normAutofit/>
          </a:bodyPr>
          <a:lstStyle>
            <a:lvl1pPr algn="ctr">
              <a:defRPr sz="4400" b="1">
                <a:solidFill>
                  <a:schemeClr val="tx1"/>
                </a:solidFill>
              </a:defRPr>
            </a:lvl1pPr>
          </a:lstStyle>
          <a:p>
            <a:pPr lvl="0"/>
            <a:r>
              <a:rPr lang="en-US"/>
              <a:t>03</a:t>
            </a:r>
          </a:p>
        </p:txBody>
      </p:sp>
      <p:sp>
        <p:nvSpPr>
          <p:cNvPr id="33" name="Text Placeholder 25">
            <a:extLst>
              <a:ext uri="{FF2B5EF4-FFF2-40B4-BE49-F238E27FC236}">
                <a16:creationId xmlns:a16="http://schemas.microsoft.com/office/drawing/2014/main" id="{DFCCF825-70A5-94CB-90F5-1678DEA0AC13}"/>
              </a:ext>
            </a:extLst>
          </p:cNvPr>
          <p:cNvSpPr>
            <a:spLocks noGrp="1"/>
          </p:cNvSpPr>
          <p:nvPr>
            <p:ph type="body" sz="quarter" idx="20" hasCustomPrompt="1"/>
          </p:nvPr>
        </p:nvSpPr>
        <p:spPr>
          <a:xfrm>
            <a:off x="8783472" y="2203704"/>
            <a:ext cx="2651760" cy="813816"/>
          </a:xfrm>
        </p:spPr>
        <p:txBody>
          <a:bodyPr anchor="ctr" anchorCtr="0">
            <a:normAutofit/>
          </a:bodyPr>
          <a:lstStyle>
            <a:lvl1pPr algn="ctr">
              <a:defRPr sz="4400" b="1">
                <a:solidFill>
                  <a:schemeClr val="tx1"/>
                </a:solidFill>
              </a:defRPr>
            </a:lvl1pPr>
          </a:lstStyle>
          <a:p>
            <a:pPr lvl="0"/>
            <a:r>
              <a:rPr lang="en-US"/>
              <a:t>04</a:t>
            </a:r>
          </a:p>
        </p:txBody>
      </p:sp>
    </p:spTree>
    <p:extLst>
      <p:ext uri="{BB962C8B-B14F-4D97-AF65-F5344CB8AC3E}">
        <p14:creationId xmlns:p14="http://schemas.microsoft.com/office/powerpoint/2010/main" val="17612882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Questions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883"/>
            <a:ext cx="12191616" cy="6856444"/>
          </a:xfrm>
          <a:prstGeom prst="rect">
            <a:avLst/>
          </a:prstGeom>
        </p:spPr>
      </p:pic>
      <p:sp>
        <p:nvSpPr>
          <p:cNvPr id="5" name="TextBox 4">
            <a:extLst>
              <a:ext uri="{FF2B5EF4-FFF2-40B4-BE49-F238E27FC236}">
                <a16:creationId xmlns:a16="http://schemas.microsoft.com/office/drawing/2014/main" id="{EA2960BB-6963-450F-907C-277E0DFF0F3C}"/>
              </a:ext>
            </a:extLst>
          </p:cNvPr>
          <p:cNvSpPr txBox="1"/>
          <p:nvPr/>
        </p:nvSpPr>
        <p:spPr>
          <a:xfrm>
            <a:off x="5270741" y="2682814"/>
            <a:ext cx="5098211" cy="1569660"/>
          </a:xfrm>
          <a:prstGeom prst="rect">
            <a:avLst/>
          </a:prstGeom>
          <a:noFill/>
        </p:spPr>
        <p:txBody>
          <a:bodyPr wrap="square" rtlCol="0">
            <a:spAutoFit/>
          </a:bodyPr>
          <a:lstStyle/>
          <a:p>
            <a:r>
              <a:rPr lang="en-US" sz="4800">
                <a:solidFill>
                  <a:schemeClr val="bg1"/>
                </a:solidFill>
              </a:rPr>
              <a:t>QUESTIONS AND ANSWERS</a:t>
            </a:r>
          </a:p>
        </p:txBody>
      </p:sp>
    </p:spTree>
    <p:extLst>
      <p:ext uri="{BB962C8B-B14F-4D97-AF65-F5344CB8AC3E}">
        <p14:creationId xmlns:p14="http://schemas.microsoft.com/office/powerpoint/2010/main" val="21451360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B0860C9-5209-1EB8-47AE-58CEA829E162}"/>
              </a:ext>
            </a:extLst>
          </p:cNvPr>
          <p:cNvSpPr>
            <a:spLocks noGrp="1"/>
          </p:cNvSpPr>
          <p:nvPr>
            <p:ph type="body" sz="quarter" idx="16" hasCustomPrompt="1"/>
          </p:nvPr>
        </p:nvSpPr>
        <p:spPr>
          <a:xfrm>
            <a:off x="1060704" y="1984248"/>
            <a:ext cx="1051560" cy="1051560"/>
          </a:xfrm>
          <a:solidFill>
            <a:schemeClr val="accent1"/>
          </a:solidFill>
        </p:spPr>
        <p:txBody>
          <a:bodyPr anchor="ctr" anchorCtr="0">
            <a:normAutofit/>
          </a:bodyPr>
          <a:lstStyle>
            <a:lvl1pPr algn="ctr">
              <a:defRPr sz="3600">
                <a:solidFill>
                  <a:schemeClr val="bg1"/>
                </a:solidFill>
              </a:defRPr>
            </a:lvl1pPr>
          </a:lstStyle>
          <a:p>
            <a:pPr lvl="0"/>
            <a:r>
              <a:rPr lang="en-US"/>
              <a:t>01</a:t>
            </a:r>
          </a:p>
        </p:txBody>
      </p:sp>
      <p:sp>
        <p:nvSpPr>
          <p:cNvPr id="23" name="Text Placeholder 21">
            <a:extLst>
              <a:ext uri="{FF2B5EF4-FFF2-40B4-BE49-F238E27FC236}">
                <a16:creationId xmlns:a16="http://schemas.microsoft.com/office/drawing/2014/main" id="{26181DBB-22A2-2829-138C-ED75F0DD6BC8}"/>
              </a:ext>
            </a:extLst>
          </p:cNvPr>
          <p:cNvSpPr>
            <a:spLocks noGrp="1"/>
          </p:cNvSpPr>
          <p:nvPr>
            <p:ph type="body" sz="quarter" idx="17" hasCustomPrompt="1"/>
          </p:nvPr>
        </p:nvSpPr>
        <p:spPr>
          <a:xfrm>
            <a:off x="6455664" y="1975104"/>
            <a:ext cx="1051560" cy="1051560"/>
          </a:xfrm>
          <a:solidFill>
            <a:schemeClr val="accent2"/>
          </a:solidFill>
        </p:spPr>
        <p:txBody>
          <a:bodyPr anchor="ctr" anchorCtr="0">
            <a:normAutofit/>
          </a:bodyPr>
          <a:lstStyle>
            <a:lvl1pPr algn="ctr">
              <a:defRPr sz="3600">
                <a:solidFill>
                  <a:schemeClr val="bg1"/>
                </a:solidFill>
              </a:defRPr>
            </a:lvl1pPr>
          </a:lstStyle>
          <a:p>
            <a:pPr lvl="0"/>
            <a:r>
              <a:rPr lang="en-US"/>
              <a:t>02</a:t>
            </a:r>
          </a:p>
        </p:txBody>
      </p:sp>
    </p:spTree>
    <p:extLst>
      <p:ext uri="{BB962C8B-B14F-4D97-AF65-F5344CB8AC3E}">
        <p14:creationId xmlns:p14="http://schemas.microsoft.com/office/powerpoint/2010/main" val="142837171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Three point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7BB5EF85-EA9E-3034-9AA7-3941942DDA58}"/>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99BADEA4-37D5-F262-1B68-0F2093F461FF}"/>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1B5CFE7E-0C43-2CC1-DF64-129ED37C241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CA2C38B0-0DF7-AD0C-8FCB-52F2242765EA}"/>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3B2CBE38-0F56-C0D6-98DE-2397D80DE88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6B21A685-8CB7-602E-9C15-B4E716E7DC5B}"/>
              </a:ext>
            </a:extLst>
          </p:cNvPr>
          <p:cNvSpPr>
            <a:spLocks noGrp="1"/>
          </p:cNvSpPr>
          <p:nvPr>
            <p:ph sz="quarter" idx="20"/>
          </p:nvPr>
        </p:nvSpPr>
        <p:spPr>
          <a:xfrm>
            <a:off x="1060704"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17">
            <a:extLst>
              <a:ext uri="{FF2B5EF4-FFF2-40B4-BE49-F238E27FC236}">
                <a16:creationId xmlns:a16="http://schemas.microsoft.com/office/drawing/2014/main" id="{B41AE74C-6FDB-F859-8319-02B2C62959D4}"/>
              </a:ext>
            </a:extLst>
          </p:cNvPr>
          <p:cNvSpPr>
            <a:spLocks noGrp="1"/>
          </p:cNvSpPr>
          <p:nvPr>
            <p:ph sz="quarter" idx="21"/>
          </p:nvPr>
        </p:nvSpPr>
        <p:spPr>
          <a:xfrm>
            <a:off x="4572000"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FB801FE-3167-9359-BDD6-13E2C567BBB8}"/>
              </a:ext>
            </a:extLst>
          </p:cNvPr>
          <p:cNvSpPr>
            <a:spLocks noGrp="1"/>
          </p:cNvSpPr>
          <p:nvPr>
            <p:ph sz="quarter" idx="22"/>
          </p:nvPr>
        </p:nvSpPr>
        <p:spPr>
          <a:xfrm>
            <a:off x="8180832"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21077814"/>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hree point layou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C5743957-88D8-6563-88B1-3ADB23349BF0}"/>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12FBE549-8D23-F9ED-3121-708612E983BD}"/>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8AAED02F-0C2A-6705-0290-F2F54583BA7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491D960A-8FA4-573D-BFAA-85E0E9D20C45}"/>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EF9A0D2B-9A40-D3A8-CC66-650BEE54971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BA87037E-2DDA-B8D4-FC38-C03C64ECA203}"/>
              </a:ext>
            </a:extLst>
          </p:cNvPr>
          <p:cNvSpPr>
            <a:spLocks noGrp="1"/>
          </p:cNvSpPr>
          <p:nvPr>
            <p:ph sz="quarter" idx="20"/>
          </p:nvPr>
        </p:nvSpPr>
        <p:spPr>
          <a:xfrm>
            <a:off x="1060704"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8503487-2A2A-2577-E414-533AD55B9ACE}"/>
              </a:ext>
            </a:extLst>
          </p:cNvPr>
          <p:cNvSpPr>
            <a:spLocks noGrp="1"/>
          </p:cNvSpPr>
          <p:nvPr>
            <p:ph sz="quarter" idx="21"/>
          </p:nvPr>
        </p:nvSpPr>
        <p:spPr>
          <a:xfrm>
            <a:off x="4648200"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8BB224DA-BFA8-0A2D-EADF-72388F605911}"/>
              </a:ext>
            </a:extLst>
          </p:cNvPr>
          <p:cNvSpPr>
            <a:spLocks noGrp="1"/>
          </p:cNvSpPr>
          <p:nvPr>
            <p:ph sz="quarter" idx="22"/>
          </p:nvPr>
        </p:nvSpPr>
        <p:spPr>
          <a:xfrm>
            <a:off x="8257032"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742898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Four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74924541-1F26-5765-7BB0-61DBC3FA8377}"/>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0" name="Text Placeholder 29">
            <a:extLst>
              <a:ext uri="{FF2B5EF4-FFF2-40B4-BE49-F238E27FC236}">
                <a16:creationId xmlns:a16="http://schemas.microsoft.com/office/drawing/2014/main" id="{2E695CE5-E6EE-D658-7023-0D09649BD102}"/>
              </a:ext>
            </a:extLst>
          </p:cNvPr>
          <p:cNvSpPr>
            <a:spLocks noGrp="1"/>
          </p:cNvSpPr>
          <p:nvPr>
            <p:ph type="body" sz="quarter" idx="18" hasCustomPrompt="1"/>
          </p:nvPr>
        </p:nvSpPr>
        <p:spPr>
          <a:xfrm>
            <a:off x="996696" y="2109788"/>
            <a:ext cx="782638" cy="78105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4" name="Text Placeholder 33">
            <a:extLst>
              <a:ext uri="{FF2B5EF4-FFF2-40B4-BE49-F238E27FC236}">
                <a16:creationId xmlns:a16="http://schemas.microsoft.com/office/drawing/2014/main" id="{F444F38C-5AE1-E0D9-5ED6-130DC7942DF3}"/>
              </a:ext>
            </a:extLst>
          </p:cNvPr>
          <p:cNvSpPr>
            <a:spLocks noGrp="1"/>
          </p:cNvSpPr>
          <p:nvPr>
            <p:ph type="body" sz="quarter" idx="19" hasCustomPrompt="1"/>
          </p:nvPr>
        </p:nvSpPr>
        <p:spPr>
          <a:xfrm>
            <a:off x="3694176" y="2112963"/>
            <a:ext cx="782638" cy="786384"/>
          </a:xfrm>
          <a:solidFill>
            <a:schemeClr val="tx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5" name="Text Placeholder 33">
            <a:extLst>
              <a:ext uri="{FF2B5EF4-FFF2-40B4-BE49-F238E27FC236}">
                <a16:creationId xmlns:a16="http://schemas.microsoft.com/office/drawing/2014/main" id="{B902F693-4C99-132F-221F-AA15FF85CBF5}"/>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6" name="Text Placeholder 33">
            <a:extLst>
              <a:ext uri="{FF2B5EF4-FFF2-40B4-BE49-F238E27FC236}">
                <a16:creationId xmlns:a16="http://schemas.microsoft.com/office/drawing/2014/main" id="{7BFB5199-74B1-632A-03F1-B4E90075FF4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Content Placeholder 17">
            <a:extLst>
              <a:ext uri="{FF2B5EF4-FFF2-40B4-BE49-F238E27FC236}">
                <a16:creationId xmlns:a16="http://schemas.microsoft.com/office/drawing/2014/main" id="{DC71B040-FDDF-7FA3-18C6-3F41B67FC329}"/>
              </a:ext>
            </a:extLst>
          </p:cNvPr>
          <p:cNvSpPr>
            <a:spLocks noGrp="1"/>
          </p:cNvSpPr>
          <p:nvPr>
            <p:ph sz="quarter" idx="22"/>
          </p:nvPr>
        </p:nvSpPr>
        <p:spPr>
          <a:xfrm>
            <a:off x="99669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A7906F8-CD9F-CC32-EBD8-6B586993D425}"/>
              </a:ext>
            </a:extLst>
          </p:cNvPr>
          <p:cNvSpPr>
            <a:spLocks noGrp="1"/>
          </p:cNvSpPr>
          <p:nvPr>
            <p:ph sz="quarter" idx="23"/>
          </p:nvPr>
        </p:nvSpPr>
        <p:spPr>
          <a:xfrm>
            <a:off x="369417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D013BD34-3139-6621-2415-B725830EA9EC}"/>
              </a:ext>
            </a:extLst>
          </p:cNvPr>
          <p:cNvSpPr>
            <a:spLocks noGrp="1"/>
          </p:cNvSpPr>
          <p:nvPr>
            <p:ph sz="quarter" idx="24"/>
          </p:nvPr>
        </p:nvSpPr>
        <p:spPr>
          <a:xfrm>
            <a:off x="639165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C9CF1EB2-5F5E-6353-E227-AF8E97696C5C}"/>
              </a:ext>
            </a:extLst>
          </p:cNvPr>
          <p:cNvSpPr>
            <a:spLocks noGrp="1"/>
          </p:cNvSpPr>
          <p:nvPr>
            <p:ph sz="quarter" idx="25"/>
          </p:nvPr>
        </p:nvSpPr>
        <p:spPr>
          <a:xfrm>
            <a:off x="9098280"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274430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Four point layout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grpSp>
        <p:nvGrpSpPr>
          <p:cNvPr id="4" name="Group 3">
            <a:extLst>
              <a:ext uri="{FF2B5EF4-FFF2-40B4-BE49-F238E27FC236}">
                <a16:creationId xmlns:a16="http://schemas.microsoft.com/office/drawing/2014/main" id="{EBF1A456-1439-4FB5-BB78-B79ADD19D336}"/>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4" name="Text Placeholder 33">
            <a:extLst>
              <a:ext uri="{FF2B5EF4-FFF2-40B4-BE49-F238E27FC236}">
                <a16:creationId xmlns:a16="http://schemas.microsoft.com/office/drawing/2014/main" id="{794529AB-56E3-F921-E788-9BE34EA4A256}"/>
              </a:ext>
            </a:extLst>
          </p:cNvPr>
          <p:cNvSpPr>
            <a:spLocks noGrp="1"/>
          </p:cNvSpPr>
          <p:nvPr>
            <p:ph type="body" sz="quarter" idx="18" hasCustomPrompt="1"/>
          </p:nvPr>
        </p:nvSpPr>
        <p:spPr>
          <a:xfrm>
            <a:off x="996696" y="2109788"/>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5" name="Text Placeholder 33">
            <a:extLst>
              <a:ext uri="{FF2B5EF4-FFF2-40B4-BE49-F238E27FC236}">
                <a16:creationId xmlns:a16="http://schemas.microsoft.com/office/drawing/2014/main" id="{F1C5F5BC-3FE0-BFD1-A477-F533FEA22779}"/>
              </a:ext>
            </a:extLst>
          </p:cNvPr>
          <p:cNvSpPr>
            <a:spLocks noGrp="1"/>
          </p:cNvSpPr>
          <p:nvPr>
            <p:ph type="body" sz="quarter" idx="19" hasCustomPrompt="1"/>
          </p:nvPr>
        </p:nvSpPr>
        <p:spPr>
          <a:xfrm>
            <a:off x="3694176" y="2112264"/>
            <a:ext cx="782638" cy="78638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6" name="Text Placeholder 33">
            <a:extLst>
              <a:ext uri="{FF2B5EF4-FFF2-40B4-BE49-F238E27FC236}">
                <a16:creationId xmlns:a16="http://schemas.microsoft.com/office/drawing/2014/main" id="{7BD6BDF9-E3B0-43EC-96F4-09938223C6E1}"/>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7" name="Text Placeholder 33">
            <a:extLst>
              <a:ext uri="{FF2B5EF4-FFF2-40B4-BE49-F238E27FC236}">
                <a16:creationId xmlns:a16="http://schemas.microsoft.com/office/drawing/2014/main" id="{7A607500-6628-89AA-DC09-275E677931C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Text Placeholder 5">
            <a:extLst>
              <a:ext uri="{FF2B5EF4-FFF2-40B4-BE49-F238E27FC236}">
                <a16:creationId xmlns:a16="http://schemas.microsoft.com/office/drawing/2014/main" id="{939FEAFF-2B05-15D5-F83D-AFB37993037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3" name="Content Placeholder 17">
            <a:extLst>
              <a:ext uri="{FF2B5EF4-FFF2-40B4-BE49-F238E27FC236}">
                <a16:creationId xmlns:a16="http://schemas.microsoft.com/office/drawing/2014/main" id="{99D7A353-2824-AD68-ABF9-A9B6647BC142}"/>
              </a:ext>
            </a:extLst>
          </p:cNvPr>
          <p:cNvSpPr>
            <a:spLocks noGrp="1"/>
          </p:cNvSpPr>
          <p:nvPr>
            <p:ph sz="quarter" idx="22"/>
          </p:nvPr>
        </p:nvSpPr>
        <p:spPr>
          <a:xfrm>
            <a:off x="99669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1BE278AE-5885-4329-9304-7E4B0E6E23AE}"/>
              </a:ext>
            </a:extLst>
          </p:cNvPr>
          <p:cNvSpPr>
            <a:spLocks noGrp="1"/>
          </p:cNvSpPr>
          <p:nvPr>
            <p:ph sz="quarter" idx="23"/>
          </p:nvPr>
        </p:nvSpPr>
        <p:spPr>
          <a:xfrm>
            <a:off x="369417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1C223556-1E41-659A-1704-6EC49BAAF059}"/>
              </a:ext>
            </a:extLst>
          </p:cNvPr>
          <p:cNvSpPr>
            <a:spLocks noGrp="1"/>
          </p:cNvSpPr>
          <p:nvPr>
            <p:ph sz="quarter" idx="24"/>
          </p:nvPr>
        </p:nvSpPr>
        <p:spPr>
          <a:xfrm>
            <a:off x="639165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48F10A1C-9114-5544-7240-C722E4EA96BC}"/>
              </a:ext>
            </a:extLst>
          </p:cNvPr>
          <p:cNvSpPr>
            <a:spLocks noGrp="1"/>
          </p:cNvSpPr>
          <p:nvPr>
            <p:ph sz="quarter" idx="25"/>
          </p:nvPr>
        </p:nvSpPr>
        <p:spPr>
          <a:xfrm>
            <a:off x="9098280"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7032700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1_Five point layout 3">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6" name="Rectangle 25">
            <a:extLst>
              <a:ext uri="{FF2B5EF4-FFF2-40B4-BE49-F238E27FC236}">
                <a16:creationId xmlns:a16="http://schemas.microsoft.com/office/drawing/2014/main" id="{C7303873-522F-9510-3C03-12FB53DC434E}"/>
              </a:ext>
            </a:extLst>
          </p:cNvPr>
          <p:cNvSpPr/>
          <p:nvPr/>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726F2FA3-CF30-5ACA-8D01-170E03AC0205}"/>
              </a:ext>
            </a:extLst>
          </p:cNvPr>
          <p:cNvSpPr/>
          <p:nvPr/>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0" name="Rectangle 29">
            <a:extLst>
              <a:ext uri="{FF2B5EF4-FFF2-40B4-BE49-F238E27FC236}">
                <a16:creationId xmlns:a16="http://schemas.microsoft.com/office/drawing/2014/main" id="{B19CD226-8331-7490-8999-02DEC32221A5}"/>
              </a:ext>
            </a:extLst>
          </p:cNvPr>
          <p:cNvSpPr/>
          <p:nvPr/>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2" name="Rectangle 31">
            <a:extLst>
              <a:ext uri="{FF2B5EF4-FFF2-40B4-BE49-F238E27FC236}">
                <a16:creationId xmlns:a16="http://schemas.microsoft.com/office/drawing/2014/main" id="{A0D890D1-F42C-988F-84F3-9F7F4EEFC16D}"/>
              </a:ext>
            </a:extLst>
          </p:cNvPr>
          <p:cNvSpPr/>
          <p:nvPr/>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 name="Rectangle 2">
            <a:extLst>
              <a:ext uri="{FF2B5EF4-FFF2-40B4-BE49-F238E27FC236}">
                <a16:creationId xmlns:a16="http://schemas.microsoft.com/office/drawing/2014/main" id="{6CEA7CE0-6AF0-30FC-5354-C84DD26A1E43}"/>
              </a:ext>
            </a:extLst>
          </p:cNvPr>
          <p:cNvSpPr/>
          <p:nvPr/>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Text Placeholder 17">
            <a:extLst>
              <a:ext uri="{FF2B5EF4-FFF2-40B4-BE49-F238E27FC236}">
                <a16:creationId xmlns:a16="http://schemas.microsoft.com/office/drawing/2014/main" id="{552157F3-4757-5D33-BE17-8C94E96A4862}"/>
              </a:ext>
            </a:extLst>
          </p:cNvPr>
          <p:cNvSpPr>
            <a:spLocks noGrp="1"/>
          </p:cNvSpPr>
          <p:nvPr>
            <p:ph type="body" sz="quarter" idx="20" hasCustomPrompt="1"/>
          </p:nvPr>
        </p:nvSpPr>
        <p:spPr>
          <a:xfrm>
            <a:off x="4594225" y="9522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9" name="Text Placeholder 17">
            <a:extLst>
              <a:ext uri="{FF2B5EF4-FFF2-40B4-BE49-F238E27FC236}">
                <a16:creationId xmlns:a16="http://schemas.microsoft.com/office/drawing/2014/main" id="{A7E3F7D9-8193-5A11-1A4E-6EC7B9DDCA15}"/>
              </a:ext>
            </a:extLst>
          </p:cNvPr>
          <p:cNvSpPr>
            <a:spLocks noGrp="1"/>
          </p:cNvSpPr>
          <p:nvPr>
            <p:ph type="body" sz="quarter" idx="21" hasCustomPrompt="1"/>
          </p:nvPr>
        </p:nvSpPr>
        <p:spPr>
          <a:xfrm>
            <a:off x="4599432" y="39240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20" name="Text Placeholder 17">
            <a:extLst>
              <a:ext uri="{FF2B5EF4-FFF2-40B4-BE49-F238E27FC236}">
                <a16:creationId xmlns:a16="http://schemas.microsoft.com/office/drawing/2014/main" id="{6D7B440E-1826-AA3C-AE0C-153AECC30CBE}"/>
              </a:ext>
            </a:extLst>
          </p:cNvPr>
          <p:cNvSpPr>
            <a:spLocks noGrp="1"/>
          </p:cNvSpPr>
          <p:nvPr>
            <p:ph type="body" sz="quarter" idx="22" hasCustomPrompt="1"/>
          </p:nvPr>
        </p:nvSpPr>
        <p:spPr>
          <a:xfrm>
            <a:off x="4599432" y="19428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1" name="Text Placeholder 17">
            <a:extLst>
              <a:ext uri="{FF2B5EF4-FFF2-40B4-BE49-F238E27FC236}">
                <a16:creationId xmlns:a16="http://schemas.microsoft.com/office/drawing/2014/main" id="{DE85A369-97AF-8B0E-418D-9BA5273407FC}"/>
              </a:ext>
            </a:extLst>
          </p:cNvPr>
          <p:cNvSpPr>
            <a:spLocks noGrp="1"/>
          </p:cNvSpPr>
          <p:nvPr>
            <p:ph type="body" sz="quarter" idx="23" hasCustomPrompt="1"/>
          </p:nvPr>
        </p:nvSpPr>
        <p:spPr>
          <a:xfrm>
            <a:off x="4599432" y="49146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17">
            <a:extLst>
              <a:ext uri="{FF2B5EF4-FFF2-40B4-BE49-F238E27FC236}">
                <a16:creationId xmlns:a16="http://schemas.microsoft.com/office/drawing/2014/main" id="{6E51DDF7-09CC-E9F3-5E13-887846636959}"/>
              </a:ext>
            </a:extLst>
          </p:cNvPr>
          <p:cNvSpPr>
            <a:spLocks noGrp="1"/>
          </p:cNvSpPr>
          <p:nvPr>
            <p:ph type="body" sz="quarter" idx="24" hasCustomPrompt="1"/>
          </p:nvPr>
        </p:nvSpPr>
        <p:spPr>
          <a:xfrm>
            <a:off x="4599432" y="2933475"/>
            <a:ext cx="768096" cy="69494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7" name="Content Placeholder 17">
            <a:extLst>
              <a:ext uri="{FF2B5EF4-FFF2-40B4-BE49-F238E27FC236}">
                <a16:creationId xmlns:a16="http://schemas.microsoft.com/office/drawing/2014/main" id="{C9030E85-B7BF-F051-CBF2-4E9130632033}"/>
              </a:ext>
            </a:extLst>
          </p:cNvPr>
          <p:cNvSpPr>
            <a:spLocks noGrp="1"/>
          </p:cNvSpPr>
          <p:nvPr>
            <p:ph sz="quarter" idx="26"/>
          </p:nvPr>
        </p:nvSpPr>
        <p:spPr>
          <a:xfrm>
            <a:off x="5638800" y="9477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B9A39866-1BF8-6E69-7577-26A7459C2805}"/>
              </a:ext>
            </a:extLst>
          </p:cNvPr>
          <p:cNvSpPr>
            <a:spLocks noGrp="1"/>
          </p:cNvSpPr>
          <p:nvPr>
            <p:ph sz="quarter" idx="27"/>
          </p:nvPr>
        </p:nvSpPr>
        <p:spPr>
          <a:xfrm>
            <a:off x="5638800" y="19383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3" name="Content Placeholder 17">
            <a:extLst>
              <a:ext uri="{FF2B5EF4-FFF2-40B4-BE49-F238E27FC236}">
                <a16:creationId xmlns:a16="http://schemas.microsoft.com/office/drawing/2014/main" id="{836B8BFB-AB56-1859-2B52-558D9A723ED0}"/>
              </a:ext>
            </a:extLst>
          </p:cNvPr>
          <p:cNvSpPr>
            <a:spLocks noGrp="1"/>
          </p:cNvSpPr>
          <p:nvPr>
            <p:ph sz="quarter" idx="28" hasCustomPrompt="1"/>
          </p:nvPr>
        </p:nvSpPr>
        <p:spPr>
          <a:xfrm>
            <a:off x="5638800" y="29289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a:t>
            </a:r>
            <a:r>
              <a:rPr lang="en-US" err="1"/>
              <a:t>stylesFourth</a:t>
            </a:r>
            <a:r>
              <a:rPr lang="en-US"/>
              <a:t> level</a:t>
            </a:r>
          </a:p>
        </p:txBody>
      </p:sp>
      <p:sp>
        <p:nvSpPr>
          <p:cNvPr id="24" name="Content Placeholder 17">
            <a:extLst>
              <a:ext uri="{FF2B5EF4-FFF2-40B4-BE49-F238E27FC236}">
                <a16:creationId xmlns:a16="http://schemas.microsoft.com/office/drawing/2014/main" id="{2AF180FA-369B-BE97-8766-AD281839F45D}"/>
              </a:ext>
            </a:extLst>
          </p:cNvPr>
          <p:cNvSpPr>
            <a:spLocks noGrp="1"/>
          </p:cNvSpPr>
          <p:nvPr>
            <p:ph sz="quarter" idx="29"/>
          </p:nvPr>
        </p:nvSpPr>
        <p:spPr>
          <a:xfrm>
            <a:off x="5638800" y="49101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5" name="Content Placeholder 17">
            <a:extLst>
              <a:ext uri="{FF2B5EF4-FFF2-40B4-BE49-F238E27FC236}">
                <a16:creationId xmlns:a16="http://schemas.microsoft.com/office/drawing/2014/main" id="{549397A2-0AB0-F824-0155-D6710460520D}"/>
              </a:ext>
            </a:extLst>
          </p:cNvPr>
          <p:cNvSpPr>
            <a:spLocks noGrp="1"/>
          </p:cNvSpPr>
          <p:nvPr>
            <p:ph sz="quarter" idx="30"/>
          </p:nvPr>
        </p:nvSpPr>
        <p:spPr>
          <a:xfrm>
            <a:off x="5638800" y="39195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3035804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1_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p:nvSpPr>
        <p:spPr>
          <a:xfrm>
            <a:off x="806289"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F5FFE906-4F19-DDCB-02D2-8D5F4368166D}"/>
              </a:ext>
            </a:extLst>
          </p:cNvPr>
          <p:cNvSpPr/>
          <p:nvPr/>
        </p:nvSpPr>
        <p:spPr>
          <a:xfrm>
            <a:off x="806288"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3" name="Rectangle 22">
            <a:extLst>
              <a:ext uri="{FF2B5EF4-FFF2-40B4-BE49-F238E27FC236}">
                <a16:creationId xmlns:a16="http://schemas.microsoft.com/office/drawing/2014/main" id="{360B642B-C832-01F1-B2C5-C0FA060F9BBA}"/>
              </a:ext>
            </a:extLst>
          </p:cNvPr>
          <p:cNvSpPr/>
          <p:nvPr/>
        </p:nvSpPr>
        <p:spPr>
          <a:xfrm>
            <a:off x="6223503"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p:nvSpPr>
        <p:spPr>
          <a:xfrm>
            <a:off x="6223503"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8D126E5A-C3FD-1E81-E69E-1DC585D3A13B}"/>
              </a:ext>
            </a:extLst>
          </p:cNvPr>
          <p:cNvSpPr/>
          <p:nvPr/>
        </p:nvSpPr>
        <p:spPr>
          <a:xfrm>
            <a:off x="6223502"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Eight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4" name="Rectangle 3">
            <a:extLst>
              <a:ext uri="{FF2B5EF4-FFF2-40B4-BE49-F238E27FC236}">
                <a16:creationId xmlns:a16="http://schemas.microsoft.com/office/drawing/2014/main" id="{BD41C8D4-3DEF-AC4C-C9DF-6BC0ECE0A76F}"/>
              </a:ext>
            </a:extLst>
          </p:cNvPr>
          <p:cNvSpPr/>
          <p:nvPr/>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7" name="Rectangle 6">
            <a:extLst>
              <a:ext uri="{FF2B5EF4-FFF2-40B4-BE49-F238E27FC236}">
                <a16:creationId xmlns:a16="http://schemas.microsoft.com/office/drawing/2014/main" id="{ECB16B80-C336-C91C-9709-8FEA29DA0E7D}"/>
              </a:ext>
            </a:extLst>
          </p:cNvPr>
          <p:cNvSpPr/>
          <p:nvPr/>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grpSp>
        <p:nvGrpSpPr>
          <p:cNvPr id="12" name="Group 11">
            <a:extLst>
              <a:ext uri="{FF2B5EF4-FFF2-40B4-BE49-F238E27FC236}">
                <a16:creationId xmlns:a16="http://schemas.microsoft.com/office/drawing/2014/main" id="{681E2C51-5620-BA24-0CAD-2462496E7CD0}"/>
              </a:ext>
            </a:extLst>
          </p:cNvPr>
          <p:cNvGrpSpPr/>
          <p:nvPr/>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7" name="Content Placeholder 17">
            <a:extLst>
              <a:ext uri="{FF2B5EF4-FFF2-40B4-BE49-F238E27FC236}">
                <a16:creationId xmlns:a16="http://schemas.microsoft.com/office/drawing/2014/main" id="{0ABC318F-1300-9700-0954-8EA9EF1D2E1B}"/>
              </a:ext>
            </a:extLst>
          </p:cNvPr>
          <p:cNvSpPr>
            <a:spLocks noGrp="1"/>
          </p:cNvSpPr>
          <p:nvPr>
            <p:ph sz="quarter" idx="26"/>
          </p:nvPr>
        </p:nvSpPr>
        <p:spPr>
          <a:xfrm>
            <a:off x="16002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8" name="Content Placeholder 17">
            <a:extLst>
              <a:ext uri="{FF2B5EF4-FFF2-40B4-BE49-F238E27FC236}">
                <a16:creationId xmlns:a16="http://schemas.microsoft.com/office/drawing/2014/main" id="{048D2424-6F33-3A1D-0E03-A2052CAA7714}"/>
              </a:ext>
            </a:extLst>
          </p:cNvPr>
          <p:cNvSpPr>
            <a:spLocks noGrp="1"/>
          </p:cNvSpPr>
          <p:nvPr>
            <p:ph sz="quarter" idx="27"/>
          </p:nvPr>
        </p:nvSpPr>
        <p:spPr>
          <a:xfrm>
            <a:off x="16002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9" name="Content Placeholder 17">
            <a:extLst>
              <a:ext uri="{FF2B5EF4-FFF2-40B4-BE49-F238E27FC236}">
                <a16:creationId xmlns:a16="http://schemas.microsoft.com/office/drawing/2014/main" id="{7BDE6555-D111-E0C4-F6E1-53ADB973BD89}"/>
              </a:ext>
            </a:extLst>
          </p:cNvPr>
          <p:cNvSpPr>
            <a:spLocks noGrp="1"/>
          </p:cNvSpPr>
          <p:nvPr>
            <p:ph sz="quarter" idx="28"/>
          </p:nvPr>
        </p:nvSpPr>
        <p:spPr>
          <a:xfrm>
            <a:off x="16002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0" name="Content Placeholder 17">
            <a:extLst>
              <a:ext uri="{FF2B5EF4-FFF2-40B4-BE49-F238E27FC236}">
                <a16:creationId xmlns:a16="http://schemas.microsoft.com/office/drawing/2014/main" id="{C98DBD47-4156-6878-26EF-DC2A47F4910C}"/>
              </a:ext>
            </a:extLst>
          </p:cNvPr>
          <p:cNvSpPr>
            <a:spLocks noGrp="1"/>
          </p:cNvSpPr>
          <p:nvPr>
            <p:ph sz="quarter" idx="29"/>
          </p:nvPr>
        </p:nvSpPr>
        <p:spPr>
          <a:xfrm>
            <a:off x="16002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1" name="Content Placeholder 17">
            <a:extLst>
              <a:ext uri="{FF2B5EF4-FFF2-40B4-BE49-F238E27FC236}">
                <a16:creationId xmlns:a16="http://schemas.microsoft.com/office/drawing/2014/main" id="{EFD331E6-A71B-D3EF-C98A-D1F7100F82DA}"/>
              </a:ext>
            </a:extLst>
          </p:cNvPr>
          <p:cNvSpPr>
            <a:spLocks noGrp="1"/>
          </p:cNvSpPr>
          <p:nvPr>
            <p:ph sz="quarter" idx="30"/>
          </p:nvPr>
        </p:nvSpPr>
        <p:spPr>
          <a:xfrm>
            <a:off x="71628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2" name="Content Placeholder 17">
            <a:extLst>
              <a:ext uri="{FF2B5EF4-FFF2-40B4-BE49-F238E27FC236}">
                <a16:creationId xmlns:a16="http://schemas.microsoft.com/office/drawing/2014/main" id="{1C073818-6C6A-D24A-F3C1-73FC80CF8620}"/>
              </a:ext>
            </a:extLst>
          </p:cNvPr>
          <p:cNvSpPr>
            <a:spLocks noGrp="1"/>
          </p:cNvSpPr>
          <p:nvPr>
            <p:ph sz="quarter" idx="31"/>
          </p:nvPr>
        </p:nvSpPr>
        <p:spPr>
          <a:xfrm>
            <a:off x="71628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3" name="Content Placeholder 17">
            <a:extLst>
              <a:ext uri="{FF2B5EF4-FFF2-40B4-BE49-F238E27FC236}">
                <a16:creationId xmlns:a16="http://schemas.microsoft.com/office/drawing/2014/main" id="{4B5FF665-216A-73E8-7920-63BCEC7A21AE}"/>
              </a:ext>
            </a:extLst>
          </p:cNvPr>
          <p:cNvSpPr>
            <a:spLocks noGrp="1"/>
          </p:cNvSpPr>
          <p:nvPr>
            <p:ph sz="quarter" idx="32"/>
          </p:nvPr>
        </p:nvSpPr>
        <p:spPr>
          <a:xfrm>
            <a:off x="71628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4" name="Content Placeholder 17">
            <a:extLst>
              <a:ext uri="{FF2B5EF4-FFF2-40B4-BE49-F238E27FC236}">
                <a16:creationId xmlns:a16="http://schemas.microsoft.com/office/drawing/2014/main" id="{FEFB9B61-74DA-6DED-1F22-72BBA36D9305}"/>
              </a:ext>
            </a:extLst>
          </p:cNvPr>
          <p:cNvSpPr>
            <a:spLocks noGrp="1"/>
          </p:cNvSpPr>
          <p:nvPr>
            <p:ph sz="quarter" idx="33"/>
          </p:nvPr>
        </p:nvSpPr>
        <p:spPr>
          <a:xfrm>
            <a:off x="71628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6" name="Text Placeholder 29">
            <a:extLst>
              <a:ext uri="{FF2B5EF4-FFF2-40B4-BE49-F238E27FC236}">
                <a16:creationId xmlns:a16="http://schemas.microsoft.com/office/drawing/2014/main" id="{C29102B5-DBD3-3087-6871-2EBF11C1D972}"/>
              </a:ext>
            </a:extLst>
          </p:cNvPr>
          <p:cNvSpPr>
            <a:spLocks noGrp="1"/>
          </p:cNvSpPr>
          <p:nvPr>
            <p:ph type="body" sz="quarter" idx="20" hasCustomPrompt="1"/>
          </p:nvPr>
        </p:nvSpPr>
        <p:spPr>
          <a:xfrm>
            <a:off x="6858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1" name="Text Placeholder 29">
            <a:extLst>
              <a:ext uri="{FF2B5EF4-FFF2-40B4-BE49-F238E27FC236}">
                <a16:creationId xmlns:a16="http://schemas.microsoft.com/office/drawing/2014/main" id="{293A630C-818A-4448-D569-B51CB04221BB}"/>
              </a:ext>
            </a:extLst>
          </p:cNvPr>
          <p:cNvSpPr>
            <a:spLocks noGrp="1"/>
          </p:cNvSpPr>
          <p:nvPr>
            <p:ph type="body" sz="quarter" idx="21" hasCustomPrompt="1"/>
          </p:nvPr>
        </p:nvSpPr>
        <p:spPr>
          <a:xfrm>
            <a:off x="6858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15" name="Text Placeholder 29">
            <a:extLst>
              <a:ext uri="{FF2B5EF4-FFF2-40B4-BE49-F238E27FC236}">
                <a16:creationId xmlns:a16="http://schemas.microsoft.com/office/drawing/2014/main" id="{59406EA4-18A0-B235-5DA5-A5FA3D0CF6E8}"/>
              </a:ext>
            </a:extLst>
          </p:cNvPr>
          <p:cNvSpPr>
            <a:spLocks noGrp="1"/>
          </p:cNvSpPr>
          <p:nvPr>
            <p:ph type="body" sz="quarter" idx="22" hasCustomPrompt="1"/>
          </p:nvPr>
        </p:nvSpPr>
        <p:spPr>
          <a:xfrm>
            <a:off x="685800" y="3124708"/>
            <a:ext cx="762000" cy="62411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0" name="Text Placeholder 29">
            <a:extLst>
              <a:ext uri="{FF2B5EF4-FFF2-40B4-BE49-F238E27FC236}">
                <a16:creationId xmlns:a16="http://schemas.microsoft.com/office/drawing/2014/main" id="{0684EDDC-851D-C769-37DD-CA5A5DDFE3F6}"/>
              </a:ext>
            </a:extLst>
          </p:cNvPr>
          <p:cNvSpPr>
            <a:spLocks noGrp="1"/>
          </p:cNvSpPr>
          <p:nvPr>
            <p:ph type="body" sz="quarter" idx="23" hasCustomPrompt="1"/>
          </p:nvPr>
        </p:nvSpPr>
        <p:spPr>
          <a:xfrm>
            <a:off x="60960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29">
            <a:extLst>
              <a:ext uri="{FF2B5EF4-FFF2-40B4-BE49-F238E27FC236}">
                <a16:creationId xmlns:a16="http://schemas.microsoft.com/office/drawing/2014/main" id="{A2026319-6E90-B700-39BF-1B80C564A3B5}"/>
              </a:ext>
            </a:extLst>
          </p:cNvPr>
          <p:cNvSpPr>
            <a:spLocks noGrp="1"/>
          </p:cNvSpPr>
          <p:nvPr>
            <p:ph type="body" sz="quarter" idx="24" hasCustomPrompt="1"/>
          </p:nvPr>
        </p:nvSpPr>
        <p:spPr>
          <a:xfrm>
            <a:off x="685800" y="4125142"/>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29" name="Text Placeholder 29">
            <a:extLst>
              <a:ext uri="{FF2B5EF4-FFF2-40B4-BE49-F238E27FC236}">
                <a16:creationId xmlns:a16="http://schemas.microsoft.com/office/drawing/2014/main" id="{A425B4F1-9ABC-2362-3320-A71B25763EC1}"/>
              </a:ext>
            </a:extLst>
          </p:cNvPr>
          <p:cNvSpPr>
            <a:spLocks noGrp="1"/>
          </p:cNvSpPr>
          <p:nvPr>
            <p:ph type="body" sz="quarter" idx="25" hasCustomPrompt="1"/>
          </p:nvPr>
        </p:nvSpPr>
        <p:spPr>
          <a:xfrm>
            <a:off x="6096000" y="3124708"/>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6</a:t>
            </a:r>
          </a:p>
        </p:txBody>
      </p:sp>
      <p:sp>
        <p:nvSpPr>
          <p:cNvPr id="32" name="Text Placeholder 29">
            <a:extLst>
              <a:ext uri="{FF2B5EF4-FFF2-40B4-BE49-F238E27FC236}">
                <a16:creationId xmlns:a16="http://schemas.microsoft.com/office/drawing/2014/main" id="{5A5CDF2D-9B36-1492-9A22-6705F3D46E10}"/>
              </a:ext>
            </a:extLst>
          </p:cNvPr>
          <p:cNvSpPr>
            <a:spLocks noGrp="1"/>
          </p:cNvSpPr>
          <p:nvPr>
            <p:ph type="body" sz="quarter" idx="34" hasCustomPrompt="1"/>
          </p:nvPr>
        </p:nvSpPr>
        <p:spPr>
          <a:xfrm>
            <a:off x="6096000" y="4125142"/>
            <a:ext cx="762000" cy="624114"/>
          </a:xfrm>
          <a:solidFill>
            <a:schemeClr val="tx2"/>
          </a:solidFill>
        </p:spPr>
        <p:txBody>
          <a:bodyPr anchor="ctr" anchorCtr="0">
            <a:normAutofit/>
          </a:bodyPr>
          <a:lstStyle>
            <a:lvl1pPr marL="0" indent="0" algn="ctr">
              <a:buNone/>
              <a:defRPr sz="3600">
                <a:solidFill>
                  <a:schemeClr val="bg1"/>
                </a:solidFill>
              </a:defRPr>
            </a:lvl1pPr>
          </a:lstStyle>
          <a:p>
            <a:pPr lvl="0"/>
            <a:r>
              <a:rPr lang="en-US"/>
              <a:t>07</a:t>
            </a:r>
          </a:p>
        </p:txBody>
      </p:sp>
      <p:sp>
        <p:nvSpPr>
          <p:cNvPr id="45" name="Text Placeholder 29">
            <a:extLst>
              <a:ext uri="{FF2B5EF4-FFF2-40B4-BE49-F238E27FC236}">
                <a16:creationId xmlns:a16="http://schemas.microsoft.com/office/drawing/2014/main" id="{53ABA493-3207-93BC-2E4C-610216CB36DB}"/>
              </a:ext>
            </a:extLst>
          </p:cNvPr>
          <p:cNvSpPr>
            <a:spLocks noGrp="1"/>
          </p:cNvSpPr>
          <p:nvPr>
            <p:ph type="body" sz="quarter" idx="36" hasCustomPrompt="1"/>
          </p:nvPr>
        </p:nvSpPr>
        <p:spPr>
          <a:xfrm>
            <a:off x="60960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8</a:t>
            </a:r>
          </a:p>
        </p:txBody>
      </p:sp>
    </p:spTree>
    <p:extLst>
      <p:ext uri="{BB962C8B-B14F-4D97-AF65-F5344CB8AC3E}">
        <p14:creationId xmlns:p14="http://schemas.microsoft.com/office/powerpoint/2010/main" val="1928061104"/>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1_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solidFill>
                  <a:schemeClr val="bg1"/>
                </a:solidFill>
              </a:endParaRPr>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B72B5471-BD5B-6CE5-858A-0CDBF2C473E8}"/>
              </a:ext>
            </a:extLst>
          </p:cNvPr>
          <p:cNvSpPr>
            <a:spLocks noGrp="1"/>
          </p:cNvSpPr>
          <p:nvPr>
            <p:ph sz="quarter" idx="20"/>
          </p:nvPr>
        </p:nvSpPr>
        <p:spPr>
          <a:xfrm>
            <a:off x="106070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B04CAE37-30C7-F870-09F2-F7673710C74B}"/>
              </a:ext>
            </a:extLst>
          </p:cNvPr>
          <p:cNvSpPr>
            <a:spLocks noGrp="1"/>
          </p:cNvSpPr>
          <p:nvPr>
            <p:ph sz="quarter" idx="21"/>
          </p:nvPr>
        </p:nvSpPr>
        <p:spPr>
          <a:xfrm>
            <a:off x="645566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411147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1_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Content Placeholder 17">
            <a:extLst>
              <a:ext uri="{FF2B5EF4-FFF2-40B4-BE49-F238E27FC236}">
                <a16:creationId xmlns:a16="http://schemas.microsoft.com/office/drawing/2014/main" id="{691641AC-20B3-7EFA-C0EB-5D52891E1E6C}"/>
              </a:ext>
            </a:extLst>
          </p:cNvPr>
          <p:cNvSpPr>
            <a:spLocks noGrp="1"/>
          </p:cNvSpPr>
          <p:nvPr>
            <p:ph sz="quarter" idx="20"/>
          </p:nvPr>
        </p:nvSpPr>
        <p:spPr>
          <a:xfrm>
            <a:off x="106070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2F04EE25-85CC-68C1-A421-157500D216EE}"/>
              </a:ext>
            </a:extLst>
          </p:cNvPr>
          <p:cNvSpPr>
            <a:spLocks noGrp="1"/>
          </p:cNvSpPr>
          <p:nvPr>
            <p:ph sz="quarter" idx="21"/>
          </p:nvPr>
        </p:nvSpPr>
        <p:spPr>
          <a:xfrm>
            <a:off x="645566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7110827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3577829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ack Disclaimer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rcRect/>
          <a:stretch/>
        </p:blipFill>
        <p:spPr>
          <a:xfrm>
            <a:off x="380" y="883"/>
            <a:ext cx="12191619" cy="6856446"/>
          </a:xfrm>
          <a:prstGeom prst="rect">
            <a:avLst/>
          </a:prstGeom>
        </p:spPr>
      </p:pic>
    </p:spTree>
    <p:extLst>
      <p:ext uri="{BB962C8B-B14F-4D97-AF65-F5344CB8AC3E}">
        <p14:creationId xmlns:p14="http://schemas.microsoft.com/office/powerpoint/2010/main" val="306623343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normAutofit/>
          </a:bodyPr>
          <a:lstStyle>
            <a:lvl1pPr marL="0" indent="0">
              <a:buNone/>
              <a:defRPr sz="1200" b="1">
                <a:solidFill>
                  <a:schemeClr val="bg1"/>
                </a:solidFill>
              </a:defRPr>
            </a:lvl1p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Content Placeholder 17">
            <a:extLst>
              <a:ext uri="{FF2B5EF4-FFF2-40B4-BE49-F238E27FC236}">
                <a16:creationId xmlns:a16="http://schemas.microsoft.com/office/drawing/2014/main" id="{DC4D1A3F-81F5-BB1B-F47C-07713712F540}"/>
              </a:ext>
            </a:extLst>
          </p:cNvPr>
          <p:cNvSpPr>
            <a:spLocks noGrp="1"/>
          </p:cNvSpPr>
          <p:nvPr>
            <p:ph sz="quarter" idx="20"/>
          </p:nvPr>
        </p:nvSpPr>
        <p:spPr>
          <a:xfrm>
            <a:off x="1060704"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Content Placeholder 17">
            <a:extLst>
              <a:ext uri="{FF2B5EF4-FFF2-40B4-BE49-F238E27FC236}">
                <a16:creationId xmlns:a16="http://schemas.microsoft.com/office/drawing/2014/main" id="{259A02CD-D601-E8A9-FE91-EB7F5F470B5D}"/>
              </a:ext>
            </a:extLst>
          </p:cNvPr>
          <p:cNvSpPr>
            <a:spLocks noGrp="1"/>
          </p:cNvSpPr>
          <p:nvPr>
            <p:ph sz="quarter" idx="21"/>
          </p:nvPr>
        </p:nvSpPr>
        <p:spPr>
          <a:xfrm>
            <a:off x="4648200"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Content Placeholder 17">
            <a:extLst>
              <a:ext uri="{FF2B5EF4-FFF2-40B4-BE49-F238E27FC236}">
                <a16:creationId xmlns:a16="http://schemas.microsoft.com/office/drawing/2014/main" id="{88DF9C5A-F4A0-8BCB-2E61-5854FE61AF49}"/>
              </a:ext>
            </a:extLst>
          </p:cNvPr>
          <p:cNvSpPr>
            <a:spLocks noGrp="1"/>
          </p:cNvSpPr>
          <p:nvPr>
            <p:ph sz="quarter" idx="22"/>
          </p:nvPr>
        </p:nvSpPr>
        <p:spPr>
          <a:xfrm>
            <a:off x="8257032"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8321582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18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norm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3" name="Content Placeholder 17">
            <a:extLst>
              <a:ext uri="{FF2B5EF4-FFF2-40B4-BE49-F238E27FC236}">
                <a16:creationId xmlns:a16="http://schemas.microsoft.com/office/drawing/2014/main" id="{5031F53F-D3EA-8985-E402-F7C2CDF7AA27}"/>
              </a:ext>
            </a:extLst>
          </p:cNvPr>
          <p:cNvSpPr>
            <a:spLocks noGrp="1"/>
          </p:cNvSpPr>
          <p:nvPr>
            <p:ph sz="quarter" idx="22"/>
          </p:nvPr>
        </p:nvSpPr>
        <p:spPr>
          <a:xfrm>
            <a:off x="99669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Content Placeholder 17">
            <a:extLst>
              <a:ext uri="{FF2B5EF4-FFF2-40B4-BE49-F238E27FC236}">
                <a16:creationId xmlns:a16="http://schemas.microsoft.com/office/drawing/2014/main" id="{753F2516-0890-B56D-1C13-9AFB7CF91D2A}"/>
              </a:ext>
            </a:extLst>
          </p:cNvPr>
          <p:cNvSpPr>
            <a:spLocks noGrp="1"/>
          </p:cNvSpPr>
          <p:nvPr>
            <p:ph sz="quarter" idx="23"/>
          </p:nvPr>
        </p:nvSpPr>
        <p:spPr>
          <a:xfrm>
            <a:off x="369417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Content Placeholder 17">
            <a:extLst>
              <a:ext uri="{FF2B5EF4-FFF2-40B4-BE49-F238E27FC236}">
                <a16:creationId xmlns:a16="http://schemas.microsoft.com/office/drawing/2014/main" id="{04470E80-3EAA-F5B8-97CB-1624AFB82ECA}"/>
              </a:ext>
            </a:extLst>
          </p:cNvPr>
          <p:cNvSpPr>
            <a:spLocks noGrp="1"/>
          </p:cNvSpPr>
          <p:nvPr>
            <p:ph sz="quarter" idx="24"/>
          </p:nvPr>
        </p:nvSpPr>
        <p:spPr>
          <a:xfrm>
            <a:off x="639165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Content Placeholder 17">
            <a:extLst>
              <a:ext uri="{FF2B5EF4-FFF2-40B4-BE49-F238E27FC236}">
                <a16:creationId xmlns:a16="http://schemas.microsoft.com/office/drawing/2014/main" id="{A6BB3462-521B-7D0A-E0AA-75D04A28758C}"/>
              </a:ext>
            </a:extLst>
          </p:cNvPr>
          <p:cNvSpPr>
            <a:spLocks noGrp="1"/>
          </p:cNvSpPr>
          <p:nvPr>
            <p:ph sz="quarter" idx="25"/>
          </p:nvPr>
        </p:nvSpPr>
        <p:spPr>
          <a:xfrm>
            <a:off x="9098280"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9141883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Six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33" name="Rectangle 32">
            <a:extLst>
              <a:ext uri="{FF2B5EF4-FFF2-40B4-BE49-F238E27FC236}">
                <a16:creationId xmlns:a16="http://schemas.microsoft.com/office/drawing/2014/main" id="{FD9BCE3B-4762-C661-5C9C-B1DC7338A906}"/>
              </a:ext>
            </a:extLst>
          </p:cNvPr>
          <p:cNvSpPr/>
          <p:nvPr/>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B129E26F-9EAB-58D3-8BE0-92C03DF5A2B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E93EFC32-2E6A-B131-0C23-F0010AD9B58F}"/>
              </a:ext>
            </a:extLst>
          </p:cNvPr>
          <p:cNvSpPr>
            <a:spLocks noGrp="1"/>
          </p:cNvSpPr>
          <p:nvPr>
            <p:ph sz="quarter" idx="28"/>
          </p:nvPr>
        </p:nvSpPr>
        <p:spPr>
          <a:xfrm>
            <a:off x="1060797"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6" name="Content Placeholder 17">
            <a:extLst>
              <a:ext uri="{FF2B5EF4-FFF2-40B4-BE49-F238E27FC236}">
                <a16:creationId xmlns:a16="http://schemas.microsoft.com/office/drawing/2014/main" id="{52B3257F-6803-6233-9D64-82C0E49AC3A6}"/>
              </a:ext>
            </a:extLst>
          </p:cNvPr>
          <p:cNvSpPr>
            <a:spLocks noGrp="1"/>
          </p:cNvSpPr>
          <p:nvPr>
            <p:ph sz="quarter" idx="29"/>
          </p:nvPr>
        </p:nvSpPr>
        <p:spPr>
          <a:xfrm>
            <a:off x="4662268"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8" name="Content Placeholder 17">
            <a:extLst>
              <a:ext uri="{FF2B5EF4-FFF2-40B4-BE49-F238E27FC236}">
                <a16:creationId xmlns:a16="http://schemas.microsoft.com/office/drawing/2014/main" id="{FC75CEE2-25FD-4AF1-8299-4621D4406942}"/>
              </a:ext>
            </a:extLst>
          </p:cNvPr>
          <p:cNvSpPr>
            <a:spLocks noGrp="1"/>
          </p:cNvSpPr>
          <p:nvPr>
            <p:ph sz="quarter" idx="30"/>
          </p:nvPr>
        </p:nvSpPr>
        <p:spPr>
          <a:xfrm>
            <a:off x="8262206"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9" name="Content Placeholder 17">
            <a:extLst>
              <a:ext uri="{FF2B5EF4-FFF2-40B4-BE49-F238E27FC236}">
                <a16:creationId xmlns:a16="http://schemas.microsoft.com/office/drawing/2014/main" id="{BE84CC19-BF70-4442-4C61-1331DCCF9AC5}"/>
              </a:ext>
            </a:extLst>
          </p:cNvPr>
          <p:cNvSpPr>
            <a:spLocks noGrp="1"/>
          </p:cNvSpPr>
          <p:nvPr>
            <p:ph sz="quarter" idx="31"/>
          </p:nvPr>
        </p:nvSpPr>
        <p:spPr>
          <a:xfrm>
            <a:off x="1060797"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0" name="Content Placeholder 17">
            <a:extLst>
              <a:ext uri="{FF2B5EF4-FFF2-40B4-BE49-F238E27FC236}">
                <a16:creationId xmlns:a16="http://schemas.microsoft.com/office/drawing/2014/main" id="{20E7448F-6A72-5BAC-E0C9-4842AFBE53DC}"/>
              </a:ext>
            </a:extLst>
          </p:cNvPr>
          <p:cNvSpPr>
            <a:spLocks noGrp="1"/>
          </p:cNvSpPr>
          <p:nvPr>
            <p:ph sz="quarter" idx="32"/>
          </p:nvPr>
        </p:nvSpPr>
        <p:spPr>
          <a:xfrm>
            <a:off x="4662268"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1" name="Content Placeholder 17">
            <a:extLst>
              <a:ext uri="{FF2B5EF4-FFF2-40B4-BE49-F238E27FC236}">
                <a16:creationId xmlns:a16="http://schemas.microsoft.com/office/drawing/2014/main" id="{A99FE960-70D8-C68D-D85A-10054C69A0F2}"/>
              </a:ext>
            </a:extLst>
          </p:cNvPr>
          <p:cNvSpPr>
            <a:spLocks noGrp="1"/>
          </p:cNvSpPr>
          <p:nvPr>
            <p:ph sz="quarter" idx="33"/>
          </p:nvPr>
        </p:nvSpPr>
        <p:spPr>
          <a:xfrm>
            <a:off x="8262206"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943635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6424"/>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6764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630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701040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792071"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569137"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46203"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123269"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00335"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677400"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Content Placeholder 17">
            <a:extLst>
              <a:ext uri="{FF2B5EF4-FFF2-40B4-BE49-F238E27FC236}">
                <a16:creationId xmlns:a16="http://schemas.microsoft.com/office/drawing/2014/main" id="{13EA36FF-4BDF-0027-4049-9EBEB00FB103}"/>
              </a:ext>
            </a:extLst>
          </p:cNvPr>
          <p:cNvSpPr>
            <a:spLocks noGrp="1"/>
          </p:cNvSpPr>
          <p:nvPr>
            <p:ph sz="quarter" idx="64"/>
          </p:nvPr>
        </p:nvSpPr>
        <p:spPr>
          <a:xfrm>
            <a:off x="24384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6C708107-C0AF-48F8-4322-BA907E46DFD8}"/>
              </a:ext>
            </a:extLst>
          </p:cNvPr>
          <p:cNvSpPr>
            <a:spLocks noGrp="1"/>
          </p:cNvSpPr>
          <p:nvPr>
            <p:ph sz="quarter" idx="65"/>
          </p:nvPr>
        </p:nvSpPr>
        <p:spPr>
          <a:xfrm>
            <a:off x="60198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5" name="Content Placeholder 17">
            <a:extLst>
              <a:ext uri="{FF2B5EF4-FFF2-40B4-BE49-F238E27FC236}">
                <a16:creationId xmlns:a16="http://schemas.microsoft.com/office/drawing/2014/main" id="{7DD57526-A2B6-31EC-DD48-29E9ADDA1136}"/>
              </a:ext>
            </a:extLst>
          </p:cNvPr>
          <p:cNvSpPr>
            <a:spLocks noGrp="1"/>
          </p:cNvSpPr>
          <p:nvPr>
            <p:ph sz="quarter" idx="67"/>
          </p:nvPr>
        </p:nvSpPr>
        <p:spPr>
          <a:xfrm>
            <a:off x="95250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0663B468-A4AA-3272-832C-2797B3FE4AB8}"/>
              </a:ext>
            </a:extLst>
          </p:cNvPr>
          <p:cNvSpPr>
            <a:spLocks noGrp="1"/>
          </p:cNvSpPr>
          <p:nvPr>
            <p:ph sz="quarter" idx="68"/>
          </p:nvPr>
        </p:nvSpPr>
        <p:spPr>
          <a:xfrm>
            <a:off x="6858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81841119-AAED-BDED-1548-E8BB5D7CA59F}"/>
              </a:ext>
            </a:extLst>
          </p:cNvPr>
          <p:cNvSpPr>
            <a:spLocks noGrp="1"/>
          </p:cNvSpPr>
          <p:nvPr>
            <p:ph sz="quarter" idx="69"/>
          </p:nvPr>
        </p:nvSpPr>
        <p:spPr>
          <a:xfrm>
            <a:off x="42672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5DDAC065-2869-DD46-7AB8-57BD6F529C4C}"/>
              </a:ext>
            </a:extLst>
          </p:cNvPr>
          <p:cNvSpPr>
            <a:spLocks noGrp="1"/>
          </p:cNvSpPr>
          <p:nvPr>
            <p:ph sz="quarter" idx="70"/>
          </p:nvPr>
        </p:nvSpPr>
        <p:spPr>
          <a:xfrm>
            <a:off x="77724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5136331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p:nvCxnSpPr>
        <p:spPr>
          <a:xfrm flipV="1">
            <a:off x="104058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9696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846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6716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9835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6AF6021-6E42-EF2D-2A51-2E5A22F1746B}"/>
              </a:ext>
            </a:extLst>
          </p:cNvPr>
          <p:cNvSpPr/>
          <p:nvPr/>
        </p:nvSpPr>
        <p:spPr>
          <a:xfrm>
            <a:off x="9669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7" name="Rectangle 6">
            <a:extLst>
              <a:ext uri="{FF2B5EF4-FFF2-40B4-BE49-F238E27FC236}">
                <a16:creationId xmlns:a16="http://schemas.microsoft.com/office/drawing/2014/main" id="{01E92454-01BE-85A8-6230-5E1ED9A5D8B5}"/>
              </a:ext>
            </a:extLst>
          </p:cNvPr>
          <p:cNvSpPr/>
          <p:nvPr/>
        </p:nvSpPr>
        <p:spPr>
          <a:xfrm>
            <a:off x="2681751" y="3356328"/>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8" name="Rectangle 7">
            <a:extLst>
              <a:ext uri="{FF2B5EF4-FFF2-40B4-BE49-F238E27FC236}">
                <a16:creationId xmlns:a16="http://schemas.microsoft.com/office/drawing/2014/main" id="{C47FAF06-6923-423A-4B04-3E2975B0A4A7}"/>
              </a:ext>
            </a:extLst>
          </p:cNvPr>
          <p:cNvSpPr/>
          <p:nvPr/>
        </p:nvSpPr>
        <p:spPr>
          <a:xfrm>
            <a:off x="43871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9" name="Rectangle 8">
            <a:extLst>
              <a:ext uri="{FF2B5EF4-FFF2-40B4-BE49-F238E27FC236}">
                <a16:creationId xmlns:a16="http://schemas.microsoft.com/office/drawing/2014/main" id="{3518A56B-86F2-7D58-8DEA-768A25A5C39A}"/>
              </a:ext>
            </a:extLst>
          </p:cNvPr>
          <p:cNvSpPr/>
          <p:nvPr/>
        </p:nvSpPr>
        <p:spPr>
          <a:xfrm>
            <a:off x="60983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0" name="Rectangle 9">
            <a:extLst>
              <a:ext uri="{FF2B5EF4-FFF2-40B4-BE49-F238E27FC236}">
                <a16:creationId xmlns:a16="http://schemas.microsoft.com/office/drawing/2014/main" id="{319F290D-C8DF-C88B-EF14-AE1A74E01D73}"/>
              </a:ext>
            </a:extLst>
          </p:cNvPr>
          <p:cNvSpPr/>
          <p:nvPr/>
        </p:nvSpPr>
        <p:spPr>
          <a:xfrm>
            <a:off x="7813742" y="3729585"/>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5211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1081677" y="377979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796469" y="3426988"/>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501868" y="3795824"/>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13107" y="3431409"/>
            <a:ext cx="1486313" cy="218674"/>
          </a:xfrm>
        </p:spPr>
        <p:txBody>
          <a:bodyP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928460" y="379390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p:nvSpPr>
        <p:spPr>
          <a:xfrm>
            <a:off x="917981" y="4149717"/>
            <a:ext cx="1750641"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5" name="TextBox 4">
            <a:extLst>
              <a:ext uri="{FF2B5EF4-FFF2-40B4-BE49-F238E27FC236}">
                <a16:creationId xmlns:a16="http://schemas.microsoft.com/office/drawing/2014/main" id="{A49878B0-CF0A-802D-531E-1FCD7080CC56}"/>
              </a:ext>
            </a:extLst>
          </p:cNvPr>
          <p:cNvSpPr txBox="1"/>
          <p:nvPr/>
        </p:nvSpPr>
        <p:spPr>
          <a:xfrm>
            <a:off x="6089340" y="2972163"/>
            <a:ext cx="1724798"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19" name="Rectangle 18">
            <a:extLst>
              <a:ext uri="{FF2B5EF4-FFF2-40B4-BE49-F238E27FC236}">
                <a16:creationId xmlns:a16="http://schemas.microsoft.com/office/drawing/2014/main" id="{622F5348-07E7-C888-D291-A0D3B05C7F4F}"/>
              </a:ext>
            </a:extLst>
          </p:cNvPr>
          <p:cNvSpPr/>
          <p:nvPr/>
        </p:nvSpPr>
        <p:spPr>
          <a:xfrm>
            <a:off x="95290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643811" y="3438636"/>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11" name="Group 10">
            <a:extLst>
              <a:ext uri="{FF2B5EF4-FFF2-40B4-BE49-F238E27FC236}">
                <a16:creationId xmlns:a16="http://schemas.microsoft.com/office/drawing/2014/main" id="{F194D94E-5449-DF2C-2F5D-D841479A4552}"/>
              </a:ext>
            </a:extLst>
          </p:cNvPr>
          <p:cNvGrpSpPr/>
          <p:nvPr/>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4" name="Content Placeholder 17">
            <a:extLst>
              <a:ext uri="{FF2B5EF4-FFF2-40B4-BE49-F238E27FC236}">
                <a16:creationId xmlns:a16="http://schemas.microsoft.com/office/drawing/2014/main" id="{C04E7B68-FD06-FE47-C0CA-09997FF2A094}"/>
              </a:ext>
            </a:extLst>
          </p:cNvPr>
          <p:cNvSpPr>
            <a:spLocks noGrp="1"/>
          </p:cNvSpPr>
          <p:nvPr>
            <p:ph sz="quarter" idx="64"/>
          </p:nvPr>
        </p:nvSpPr>
        <p:spPr>
          <a:xfrm>
            <a:off x="25146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5" name="Content Placeholder 17">
            <a:extLst>
              <a:ext uri="{FF2B5EF4-FFF2-40B4-BE49-F238E27FC236}">
                <a16:creationId xmlns:a16="http://schemas.microsoft.com/office/drawing/2014/main" id="{0E50B341-584B-5AEC-A79D-ADD8CF05F8FC}"/>
              </a:ext>
            </a:extLst>
          </p:cNvPr>
          <p:cNvSpPr>
            <a:spLocks noGrp="1"/>
          </p:cNvSpPr>
          <p:nvPr>
            <p:ph sz="quarter" idx="65"/>
          </p:nvPr>
        </p:nvSpPr>
        <p:spPr>
          <a:xfrm>
            <a:off x="6019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0AE223FE-03F1-1BE1-0D01-AF3D511DF195}"/>
              </a:ext>
            </a:extLst>
          </p:cNvPr>
          <p:cNvSpPr>
            <a:spLocks noGrp="1"/>
          </p:cNvSpPr>
          <p:nvPr>
            <p:ph sz="quarter" idx="67"/>
          </p:nvPr>
        </p:nvSpPr>
        <p:spPr>
          <a:xfrm>
            <a:off x="9448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7" name="Content Placeholder 17">
            <a:extLst>
              <a:ext uri="{FF2B5EF4-FFF2-40B4-BE49-F238E27FC236}">
                <a16:creationId xmlns:a16="http://schemas.microsoft.com/office/drawing/2014/main" id="{3979C53E-CE70-6ED5-B667-9C2275B8AF3A}"/>
              </a:ext>
            </a:extLst>
          </p:cNvPr>
          <p:cNvSpPr>
            <a:spLocks noGrp="1"/>
          </p:cNvSpPr>
          <p:nvPr>
            <p:ph sz="quarter" idx="68"/>
          </p:nvPr>
        </p:nvSpPr>
        <p:spPr>
          <a:xfrm>
            <a:off x="9906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8" name="Content Placeholder 17">
            <a:extLst>
              <a:ext uri="{FF2B5EF4-FFF2-40B4-BE49-F238E27FC236}">
                <a16:creationId xmlns:a16="http://schemas.microsoft.com/office/drawing/2014/main" id="{4E918C0F-FF63-F25D-A047-72148F59D010}"/>
              </a:ext>
            </a:extLst>
          </p:cNvPr>
          <p:cNvSpPr>
            <a:spLocks noGrp="1"/>
          </p:cNvSpPr>
          <p:nvPr>
            <p:ph sz="quarter" idx="69"/>
          </p:nvPr>
        </p:nvSpPr>
        <p:spPr>
          <a:xfrm>
            <a:off x="4267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9" name="Content Placeholder 17">
            <a:extLst>
              <a:ext uri="{FF2B5EF4-FFF2-40B4-BE49-F238E27FC236}">
                <a16:creationId xmlns:a16="http://schemas.microsoft.com/office/drawing/2014/main" id="{6C2406E8-B9A7-737B-D983-E39068B37BDB}"/>
              </a:ext>
            </a:extLst>
          </p:cNvPr>
          <p:cNvSpPr>
            <a:spLocks noGrp="1"/>
          </p:cNvSpPr>
          <p:nvPr>
            <p:ph sz="quarter" idx="70"/>
          </p:nvPr>
        </p:nvSpPr>
        <p:spPr>
          <a:xfrm>
            <a:off x="7696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8638214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Wingdings" pitchFamily="2" charset="2"/>
              <a:buNone/>
              <a:tabLst/>
              <a:defRPr/>
            </a:pPr>
            <a:r>
              <a:rPr lang="en-US"/>
              <a:t>Click to add subheading</a:t>
            </a:r>
            <a:endParaRPr lang="en-GB"/>
          </a:p>
        </p:txBody>
      </p:sp>
      <p:sp>
        <p:nvSpPr>
          <p:cNvPr id="18" name="Rectangle 17">
            <a:extLst>
              <a:ext uri="{FF2B5EF4-FFF2-40B4-BE49-F238E27FC236}">
                <a16:creationId xmlns:a16="http://schemas.microsoft.com/office/drawing/2014/main" id="{9C162B7E-6DD2-0BDC-A754-B14190695F9D}"/>
              </a:ext>
            </a:extLst>
          </p:cNvPr>
          <p:cNvSpPr/>
          <p:nvPr/>
        </p:nvSpPr>
        <p:spPr>
          <a:xfrm>
            <a:off x="797913" y="3733800"/>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1" name="Rectangle 20">
            <a:extLst>
              <a:ext uri="{FF2B5EF4-FFF2-40B4-BE49-F238E27FC236}">
                <a16:creationId xmlns:a16="http://schemas.microsoft.com/office/drawing/2014/main" id="{501CD494-4588-D746-4872-F8ECD0F5AA38}"/>
              </a:ext>
            </a:extLst>
          </p:cNvPr>
          <p:cNvSpPr/>
          <p:nvPr/>
        </p:nvSpPr>
        <p:spPr>
          <a:xfrm>
            <a:off x="2980944" y="3352800"/>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4" name="Rectangle 23">
            <a:extLst>
              <a:ext uri="{FF2B5EF4-FFF2-40B4-BE49-F238E27FC236}">
                <a16:creationId xmlns:a16="http://schemas.microsoft.com/office/drawing/2014/main" id="{54D080DA-7928-FAB5-1EC5-E057D616B939}"/>
              </a:ext>
            </a:extLst>
          </p:cNvPr>
          <p:cNvSpPr/>
          <p:nvPr/>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5" name="Rectangle 24">
            <a:extLst>
              <a:ext uri="{FF2B5EF4-FFF2-40B4-BE49-F238E27FC236}">
                <a16:creationId xmlns:a16="http://schemas.microsoft.com/office/drawing/2014/main" id="{000A0001-BCDB-B25A-6F7C-E3402F3D8D7E}"/>
              </a:ext>
            </a:extLst>
          </p:cNvPr>
          <p:cNvSpPr/>
          <p:nvPr/>
        </p:nvSpPr>
        <p:spPr>
          <a:xfrm>
            <a:off x="7351113" y="3355848"/>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4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108960" y="3417167"/>
            <a:ext cx="1920240" cy="231260"/>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92203" y="3801331"/>
            <a:ext cx="1920240" cy="207661"/>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79129" y="3422906"/>
            <a:ext cx="1920240" cy="226839"/>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p:nvCxnSpPr>
        <p:spPr>
          <a:xfrm>
            <a:off x="800552" y="3733800"/>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p:nvCxnSpPr>
        <p:spPr>
          <a:xfrm>
            <a:off x="2991493" y="1808522"/>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p:nvCxnSpPr>
        <p:spPr>
          <a:xfrm>
            <a:off x="7360920" y="1965960"/>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CBEB14D-5BA5-643D-3888-51C635CEC8B1}"/>
              </a:ext>
            </a:extLst>
          </p:cNvPr>
          <p:cNvSpPr/>
          <p:nvPr/>
        </p:nvSpPr>
        <p:spPr>
          <a:xfrm>
            <a:off x="9560913" y="3733800"/>
            <a:ext cx="2173887" cy="35999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87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p:nvCxnSpPr>
        <p:spPr>
          <a:xfrm>
            <a:off x="9557123" y="3733800"/>
            <a:ext cx="0" cy="161767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2" name="Content Placeholder 17">
            <a:extLst>
              <a:ext uri="{FF2B5EF4-FFF2-40B4-BE49-F238E27FC236}">
                <a16:creationId xmlns:a16="http://schemas.microsoft.com/office/drawing/2014/main" id="{223BAD68-DF8E-2DE9-AF59-8BA2768DA520}"/>
              </a:ext>
            </a:extLst>
          </p:cNvPr>
          <p:cNvSpPr>
            <a:spLocks noGrp="1"/>
          </p:cNvSpPr>
          <p:nvPr>
            <p:ph sz="quarter" idx="63"/>
          </p:nvPr>
        </p:nvSpPr>
        <p:spPr>
          <a:xfrm>
            <a:off x="311831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9ED7E7CF-8C4F-4727-B19C-9AB2CAE7CB0A}"/>
              </a:ext>
            </a:extLst>
          </p:cNvPr>
          <p:cNvSpPr>
            <a:spLocks noGrp="1"/>
          </p:cNvSpPr>
          <p:nvPr>
            <p:ph sz="quarter" idx="64"/>
          </p:nvPr>
        </p:nvSpPr>
        <p:spPr>
          <a:xfrm>
            <a:off x="9319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E1B18EFE-C94D-D0D2-A1E7-03C6B88087B9}"/>
              </a:ext>
            </a:extLst>
          </p:cNvPr>
          <p:cNvSpPr>
            <a:spLocks noGrp="1"/>
          </p:cNvSpPr>
          <p:nvPr>
            <p:ph sz="quarter" idx="65"/>
          </p:nvPr>
        </p:nvSpPr>
        <p:spPr>
          <a:xfrm>
            <a:off x="5292203"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2" name="Content Placeholder 17">
            <a:extLst>
              <a:ext uri="{FF2B5EF4-FFF2-40B4-BE49-F238E27FC236}">
                <a16:creationId xmlns:a16="http://schemas.microsoft.com/office/drawing/2014/main" id="{873156A0-6700-E73F-30C9-08C6B9E15EFA}"/>
              </a:ext>
            </a:extLst>
          </p:cNvPr>
          <p:cNvSpPr>
            <a:spLocks noGrp="1"/>
          </p:cNvSpPr>
          <p:nvPr>
            <p:ph sz="quarter" idx="66"/>
          </p:nvPr>
        </p:nvSpPr>
        <p:spPr>
          <a:xfrm>
            <a:off x="748576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3" name="Content Placeholder 17">
            <a:extLst>
              <a:ext uri="{FF2B5EF4-FFF2-40B4-BE49-F238E27FC236}">
                <a16:creationId xmlns:a16="http://schemas.microsoft.com/office/drawing/2014/main" id="{207428A8-B813-0023-E63D-8D42D0AEA86C}"/>
              </a:ext>
            </a:extLst>
          </p:cNvPr>
          <p:cNvSpPr>
            <a:spLocks noGrp="1"/>
          </p:cNvSpPr>
          <p:nvPr>
            <p:ph sz="quarter" idx="67"/>
          </p:nvPr>
        </p:nvSpPr>
        <p:spPr>
          <a:xfrm>
            <a:off x="96681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0657282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1_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3E43F683-1C6F-A88B-EFFC-61BC47677550}"/>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Text Placeholder 12">
            <a:extLst>
              <a:ext uri="{FF2B5EF4-FFF2-40B4-BE49-F238E27FC236}">
                <a16:creationId xmlns:a16="http://schemas.microsoft.com/office/drawing/2014/main" id="{F208C0BF-2ED7-5DE5-CB73-756018FFEAE7}"/>
              </a:ext>
            </a:extLst>
          </p:cNvPr>
          <p:cNvSpPr>
            <a:spLocks noGrp="1"/>
          </p:cNvSpPr>
          <p:nvPr>
            <p:ph type="body" sz="quarter" idx="23" hasCustomPrompt="1"/>
          </p:nvPr>
        </p:nvSpPr>
        <p:spPr>
          <a:xfrm>
            <a:off x="1645920"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1</a:t>
            </a:r>
          </a:p>
        </p:txBody>
      </p:sp>
      <p:sp>
        <p:nvSpPr>
          <p:cNvPr id="14" name="Text Placeholder 12">
            <a:extLst>
              <a:ext uri="{FF2B5EF4-FFF2-40B4-BE49-F238E27FC236}">
                <a16:creationId xmlns:a16="http://schemas.microsoft.com/office/drawing/2014/main" id="{E51AF760-8DBB-8A14-4B06-2189A23ED6F1}"/>
              </a:ext>
            </a:extLst>
          </p:cNvPr>
          <p:cNvSpPr>
            <a:spLocks noGrp="1"/>
          </p:cNvSpPr>
          <p:nvPr>
            <p:ph type="body" sz="quarter" idx="24" hasCustomPrompt="1"/>
          </p:nvPr>
        </p:nvSpPr>
        <p:spPr>
          <a:xfrm>
            <a:off x="3739896" y="461772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2</a:t>
            </a:r>
          </a:p>
        </p:txBody>
      </p:sp>
      <p:sp>
        <p:nvSpPr>
          <p:cNvPr id="15" name="Text Placeholder 12">
            <a:extLst>
              <a:ext uri="{FF2B5EF4-FFF2-40B4-BE49-F238E27FC236}">
                <a16:creationId xmlns:a16="http://schemas.microsoft.com/office/drawing/2014/main" id="{C7CE9357-05A9-DF7C-6E17-997138D12646}"/>
              </a:ext>
            </a:extLst>
          </p:cNvPr>
          <p:cNvSpPr>
            <a:spLocks noGrp="1"/>
          </p:cNvSpPr>
          <p:nvPr>
            <p:ph type="body" sz="quarter" idx="25" hasCustomPrompt="1"/>
          </p:nvPr>
        </p:nvSpPr>
        <p:spPr>
          <a:xfrm>
            <a:off x="5833872"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3</a:t>
            </a:r>
          </a:p>
        </p:txBody>
      </p:sp>
      <p:sp>
        <p:nvSpPr>
          <p:cNvPr id="17" name="Text Placeholder 12">
            <a:extLst>
              <a:ext uri="{FF2B5EF4-FFF2-40B4-BE49-F238E27FC236}">
                <a16:creationId xmlns:a16="http://schemas.microsoft.com/office/drawing/2014/main" id="{F62B2FDD-AA89-1B9A-1908-3ED3739E9105}"/>
              </a:ext>
            </a:extLst>
          </p:cNvPr>
          <p:cNvSpPr>
            <a:spLocks noGrp="1"/>
          </p:cNvSpPr>
          <p:nvPr>
            <p:ph type="body" sz="quarter" idx="26" hasCustomPrompt="1"/>
          </p:nvPr>
        </p:nvSpPr>
        <p:spPr>
          <a:xfrm>
            <a:off x="7927848" y="4608576"/>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4</a:t>
            </a:r>
          </a:p>
        </p:txBody>
      </p:sp>
      <p:sp>
        <p:nvSpPr>
          <p:cNvPr id="18" name="Text Placeholder 12">
            <a:extLst>
              <a:ext uri="{FF2B5EF4-FFF2-40B4-BE49-F238E27FC236}">
                <a16:creationId xmlns:a16="http://schemas.microsoft.com/office/drawing/2014/main" id="{0226740B-BD49-795F-0512-EEBF68A82A61}"/>
              </a:ext>
            </a:extLst>
          </p:cNvPr>
          <p:cNvSpPr>
            <a:spLocks noGrp="1"/>
          </p:cNvSpPr>
          <p:nvPr>
            <p:ph type="body" sz="quarter" idx="27" hasCustomPrompt="1"/>
          </p:nvPr>
        </p:nvSpPr>
        <p:spPr>
          <a:xfrm>
            <a:off x="9985248"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5</a:t>
            </a:r>
          </a:p>
        </p:txBody>
      </p:sp>
      <p:sp>
        <p:nvSpPr>
          <p:cNvPr id="12" name="Content Placeholder 17">
            <a:extLst>
              <a:ext uri="{FF2B5EF4-FFF2-40B4-BE49-F238E27FC236}">
                <a16:creationId xmlns:a16="http://schemas.microsoft.com/office/drawing/2014/main" id="{EA0B72CB-9D39-945E-6291-73282C8FD615}"/>
              </a:ext>
            </a:extLst>
          </p:cNvPr>
          <p:cNvSpPr>
            <a:spLocks noGrp="1"/>
          </p:cNvSpPr>
          <p:nvPr>
            <p:ph sz="quarter" idx="68"/>
          </p:nvPr>
        </p:nvSpPr>
        <p:spPr>
          <a:xfrm>
            <a:off x="1188720"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094F4753-05D7-30D6-0BDE-B2DBEF84E89D}"/>
              </a:ext>
            </a:extLst>
          </p:cNvPr>
          <p:cNvSpPr>
            <a:spLocks noGrp="1"/>
          </p:cNvSpPr>
          <p:nvPr>
            <p:ph sz="quarter" idx="69"/>
          </p:nvPr>
        </p:nvSpPr>
        <p:spPr>
          <a:xfrm>
            <a:off x="3275838"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0" name="Content Placeholder 17">
            <a:extLst>
              <a:ext uri="{FF2B5EF4-FFF2-40B4-BE49-F238E27FC236}">
                <a16:creationId xmlns:a16="http://schemas.microsoft.com/office/drawing/2014/main" id="{BB6371A6-E92F-2799-FD25-17375D6357CF}"/>
              </a:ext>
            </a:extLst>
          </p:cNvPr>
          <p:cNvSpPr>
            <a:spLocks noGrp="1"/>
          </p:cNvSpPr>
          <p:nvPr>
            <p:ph sz="quarter" idx="70"/>
          </p:nvPr>
        </p:nvSpPr>
        <p:spPr>
          <a:xfrm>
            <a:off x="5362956"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1" name="Content Placeholder 17">
            <a:extLst>
              <a:ext uri="{FF2B5EF4-FFF2-40B4-BE49-F238E27FC236}">
                <a16:creationId xmlns:a16="http://schemas.microsoft.com/office/drawing/2014/main" id="{FFED207C-D633-84E1-66FD-32200E0D22CD}"/>
              </a:ext>
            </a:extLst>
          </p:cNvPr>
          <p:cNvSpPr>
            <a:spLocks noGrp="1"/>
          </p:cNvSpPr>
          <p:nvPr>
            <p:ph sz="quarter" idx="71"/>
          </p:nvPr>
        </p:nvSpPr>
        <p:spPr>
          <a:xfrm>
            <a:off x="7450074"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9F1DF0FB-708D-5ED4-EB4B-06A44AFEE637}"/>
              </a:ext>
            </a:extLst>
          </p:cNvPr>
          <p:cNvSpPr>
            <a:spLocks noGrp="1"/>
          </p:cNvSpPr>
          <p:nvPr>
            <p:ph sz="quarter" idx="72"/>
          </p:nvPr>
        </p:nvSpPr>
        <p:spPr>
          <a:xfrm>
            <a:off x="9537192"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91952152"/>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5091950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Two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marL="0" indent="0" algn="l">
              <a:buNone/>
              <a:defRPr sz="1400" b="1">
                <a:solidFill>
                  <a:schemeClr val="tx1"/>
                </a:solidFill>
              </a:defRPr>
            </a:lvl1pPr>
          </a:lstStyle>
          <a:p>
            <a:pPr lvl="0"/>
            <a:r>
              <a:rPr lang="en-US"/>
              <a:t>Lorem ipsum dolor</a:t>
            </a:r>
          </a:p>
        </p:txBody>
      </p:sp>
      <p:grpSp>
        <p:nvGrpSpPr>
          <p:cNvPr id="3" name="Group 2">
            <a:extLst>
              <a:ext uri="{FF2B5EF4-FFF2-40B4-BE49-F238E27FC236}">
                <a16:creationId xmlns:a16="http://schemas.microsoft.com/office/drawing/2014/main" id="{1FE31BF3-CCB3-0476-E671-E61F6C4B8D39}"/>
              </a:ext>
            </a:extLst>
          </p:cNvPr>
          <p:cNvGrpSpPr/>
          <p:nvPr>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477000" y="3023170"/>
            <a:ext cx="4828032"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7" name="Content Placeholder 17">
            <a:extLst>
              <a:ext uri="{FF2B5EF4-FFF2-40B4-BE49-F238E27FC236}">
                <a16:creationId xmlns:a16="http://schemas.microsoft.com/office/drawing/2014/main" id="{B4B6A7E2-FF9D-DB99-AB38-64CBF6F89522}"/>
              </a:ext>
            </a:extLst>
          </p:cNvPr>
          <p:cNvSpPr>
            <a:spLocks noGrp="1"/>
          </p:cNvSpPr>
          <p:nvPr>
            <p:ph sz="quarter" idx="61"/>
          </p:nvPr>
        </p:nvSpPr>
        <p:spPr>
          <a:xfrm>
            <a:off x="950976" y="3447288"/>
            <a:ext cx="484632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2B1A665A-89B8-6B47-D2C0-CD4BAD6CF9BE}"/>
              </a:ext>
            </a:extLst>
          </p:cNvPr>
          <p:cNvSpPr>
            <a:spLocks noGrp="1"/>
          </p:cNvSpPr>
          <p:nvPr>
            <p:ph sz="quarter" idx="21"/>
          </p:nvPr>
        </p:nvSpPr>
        <p:spPr>
          <a:xfrm>
            <a:off x="6483096" y="3447288"/>
            <a:ext cx="4818888"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4764219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Three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hree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grpSp>
        <p:nvGrpSpPr>
          <p:cNvPr id="9" name="Group 8">
            <a:extLst>
              <a:ext uri="{FF2B5EF4-FFF2-40B4-BE49-F238E27FC236}">
                <a16:creationId xmlns:a16="http://schemas.microsoft.com/office/drawing/2014/main" id="{EDAC905F-2EB9-6216-DBB3-EF1D5ECD0722}"/>
              </a:ext>
            </a:extLst>
          </p:cNvPr>
          <p:cNvGrpSpPr/>
          <p:nvPr/>
        </p:nvGrpSpPr>
        <p:grpSpPr>
          <a:xfrm>
            <a:off x="815975" y="1749278"/>
            <a:ext cx="3409075" cy="4499121"/>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21625" y="1749278"/>
            <a:ext cx="3409075" cy="4499121"/>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27275" y="1749278"/>
            <a:ext cx="3409075" cy="4499121"/>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38816"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5963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70415"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67437" y="3023170"/>
            <a:ext cx="31473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572000" y="3026312"/>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53400" y="3048000"/>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19" name="Content Placeholder 17">
            <a:extLst>
              <a:ext uri="{FF2B5EF4-FFF2-40B4-BE49-F238E27FC236}">
                <a16:creationId xmlns:a16="http://schemas.microsoft.com/office/drawing/2014/main" id="{3A99F7A3-BB49-1D75-CC25-EE0F00637033}"/>
              </a:ext>
            </a:extLst>
          </p:cNvPr>
          <p:cNvSpPr>
            <a:spLocks noGrp="1"/>
          </p:cNvSpPr>
          <p:nvPr>
            <p:ph sz="quarter" idx="61"/>
          </p:nvPr>
        </p:nvSpPr>
        <p:spPr>
          <a:xfrm>
            <a:off x="960120"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C21A6BA5-2528-BEA0-FA31-FAD1CC7EE487}"/>
              </a:ext>
            </a:extLst>
          </p:cNvPr>
          <p:cNvSpPr>
            <a:spLocks noGrp="1"/>
          </p:cNvSpPr>
          <p:nvPr>
            <p:ph sz="quarter" idx="62"/>
          </p:nvPr>
        </p:nvSpPr>
        <p:spPr>
          <a:xfrm>
            <a:off x="4547616"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9EC4B23C-4B65-300D-2E3C-DBCD4DF38CB6}"/>
              </a:ext>
            </a:extLst>
          </p:cNvPr>
          <p:cNvSpPr>
            <a:spLocks noGrp="1"/>
          </p:cNvSpPr>
          <p:nvPr>
            <p:ph sz="quarter" idx="22"/>
          </p:nvPr>
        </p:nvSpPr>
        <p:spPr>
          <a:xfrm>
            <a:off x="8156448"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517023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Only" preserve="1">
  <p:cSld name="Title Only no master shape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D5A0623-60BC-4F88-81B3-4F980123049B}"/>
              </a:ext>
            </a:extLst>
          </p:cNvPr>
          <p:cNvGrpSpPr/>
          <p:nvPr/>
        </p:nvGrpSpPr>
        <p:grpSpPr>
          <a:xfrm>
            <a:off x="-711143" y="-654488"/>
            <a:ext cx="13489789" cy="6905917"/>
            <a:chOff x="-533357" y="-490866"/>
            <a:chExt cx="10117342" cy="5179438"/>
          </a:xfrm>
        </p:grpSpPr>
        <p:cxnSp>
          <p:nvCxnSpPr>
            <p:cNvPr id="4" name="Straight Connector 3">
              <a:extLst>
                <a:ext uri="{FF2B5EF4-FFF2-40B4-BE49-F238E27FC236}">
                  <a16:creationId xmlns:a16="http://schemas.microsoft.com/office/drawing/2014/main" id="{01AC6BAD-CAE8-4C4B-AC80-E13065FFEC4E}"/>
                </a:ext>
              </a:extLst>
            </p:cNvPr>
            <p:cNvCxnSpPr/>
            <p:nvPr/>
          </p:nvCxnSpPr>
          <p:spPr>
            <a:xfrm>
              <a:off x="323850" y="-490866"/>
              <a:ext cx="0" cy="2863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BC414B-7C69-45C3-B7B3-AED0FC1AE674}"/>
                </a:ext>
              </a:extLst>
            </p:cNvPr>
            <p:cNvSpPr txBox="1"/>
            <p:nvPr/>
          </p:nvSpPr>
          <p:spPr>
            <a:xfrm>
              <a:off x="398643" y="-431627"/>
              <a:ext cx="473568" cy="167845"/>
            </a:xfrm>
            <a:prstGeom prst="rect">
              <a:avLst/>
            </a:prstGeom>
            <a:noFill/>
          </p:spPr>
          <p:txBody>
            <a:bodyPr wrap="none" lIns="0" tIns="0" rIns="0" bIns="0" rtlCol="0">
              <a:noAutofit/>
            </a:bodyPr>
            <a:lstStyle/>
            <a:p>
              <a:r>
                <a:rPr lang="en-US" sz="1467"/>
                <a:t>11.80</a:t>
              </a:r>
            </a:p>
            <a:p>
              <a:endParaRPr lang="en-US" sz="1467"/>
            </a:p>
          </p:txBody>
        </p:sp>
        <p:cxnSp>
          <p:nvCxnSpPr>
            <p:cNvPr id="6" name="Straight Connector 5">
              <a:extLst>
                <a:ext uri="{FF2B5EF4-FFF2-40B4-BE49-F238E27FC236}">
                  <a16:creationId xmlns:a16="http://schemas.microsoft.com/office/drawing/2014/main" id="{9687FBDB-66F8-4C32-BA7D-A391312962E7}"/>
                </a:ext>
              </a:extLst>
            </p:cNvPr>
            <p:cNvCxnSpPr/>
            <p:nvPr/>
          </p:nvCxnSpPr>
          <p:spPr>
            <a:xfrm rot="5400000">
              <a:off x="-353394" y="778360"/>
              <a:ext cx="0" cy="35992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6A8C85D-794A-49DF-86DA-C333E6438E22}"/>
                </a:ext>
              </a:extLst>
            </p:cNvPr>
            <p:cNvSpPr txBox="1"/>
            <p:nvPr/>
          </p:nvSpPr>
          <p:spPr>
            <a:xfrm>
              <a:off x="-533356" y="758929"/>
              <a:ext cx="359926" cy="134040"/>
            </a:xfrm>
            <a:prstGeom prst="rect">
              <a:avLst/>
            </a:prstGeom>
            <a:noFill/>
          </p:spPr>
          <p:txBody>
            <a:bodyPr wrap="none" lIns="0" tIns="0" rIns="0" bIns="0" rtlCol="0">
              <a:noAutofit/>
            </a:bodyPr>
            <a:lstStyle/>
            <a:p>
              <a:r>
                <a:rPr lang="en-US" sz="1467"/>
                <a:t>4.50</a:t>
              </a:r>
            </a:p>
            <a:p>
              <a:endParaRPr lang="en-US" sz="1467"/>
            </a:p>
          </p:txBody>
        </p:sp>
        <p:cxnSp>
          <p:nvCxnSpPr>
            <p:cNvPr id="8" name="Straight Connector 7">
              <a:extLst>
                <a:ext uri="{FF2B5EF4-FFF2-40B4-BE49-F238E27FC236}">
                  <a16:creationId xmlns:a16="http://schemas.microsoft.com/office/drawing/2014/main" id="{53B9F8AE-8065-4597-A54B-C7719CD0F76E}"/>
                </a:ext>
              </a:extLst>
            </p:cNvPr>
            <p:cNvCxnSpPr/>
            <p:nvPr/>
          </p:nvCxnSpPr>
          <p:spPr>
            <a:xfrm rot="5400000">
              <a:off x="-353394" y="4303288"/>
              <a:ext cx="0" cy="35992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CD1E091-0C7C-436F-A560-2D8CF803AEEE}"/>
                </a:ext>
              </a:extLst>
            </p:cNvPr>
            <p:cNvSpPr txBox="1"/>
            <p:nvPr/>
          </p:nvSpPr>
          <p:spPr>
            <a:xfrm>
              <a:off x="-533357" y="4500504"/>
              <a:ext cx="359926" cy="188068"/>
            </a:xfrm>
            <a:prstGeom prst="rect">
              <a:avLst/>
            </a:prstGeom>
            <a:noFill/>
          </p:spPr>
          <p:txBody>
            <a:bodyPr wrap="none" lIns="0" tIns="0" rIns="0" bIns="0" rtlCol="0">
              <a:noAutofit/>
            </a:bodyPr>
            <a:lstStyle/>
            <a:p>
              <a:r>
                <a:rPr lang="en-US" sz="1467"/>
                <a:t>5.30</a:t>
              </a:r>
            </a:p>
          </p:txBody>
        </p:sp>
        <p:cxnSp>
          <p:nvCxnSpPr>
            <p:cNvPr id="10" name="Straight Connector 9">
              <a:extLst>
                <a:ext uri="{FF2B5EF4-FFF2-40B4-BE49-F238E27FC236}">
                  <a16:creationId xmlns:a16="http://schemas.microsoft.com/office/drawing/2014/main" id="{A26E0A9B-1645-4460-81B9-5765EB992FA2}"/>
                </a:ext>
              </a:extLst>
            </p:cNvPr>
            <p:cNvCxnSpPr/>
            <p:nvPr/>
          </p:nvCxnSpPr>
          <p:spPr>
            <a:xfrm>
              <a:off x="8974776" y="-457283"/>
              <a:ext cx="0" cy="2863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7DACE08-B42A-41E8-ACB1-0ECBBBFB6C36}"/>
                </a:ext>
              </a:extLst>
            </p:cNvPr>
            <p:cNvSpPr txBox="1"/>
            <p:nvPr/>
          </p:nvSpPr>
          <p:spPr>
            <a:xfrm>
              <a:off x="9110417" y="-398045"/>
              <a:ext cx="473568" cy="167845"/>
            </a:xfrm>
            <a:prstGeom prst="rect">
              <a:avLst/>
            </a:prstGeom>
            <a:noFill/>
          </p:spPr>
          <p:txBody>
            <a:bodyPr wrap="none" lIns="0" tIns="0" rIns="0" bIns="0" rtlCol="0">
              <a:noAutofit/>
            </a:bodyPr>
            <a:lstStyle/>
            <a:p>
              <a:r>
                <a:rPr lang="en-US" sz="1467"/>
                <a:t>12.20</a:t>
              </a:r>
            </a:p>
            <a:p>
              <a:endParaRPr lang="en-US" sz="1467"/>
            </a:p>
          </p:txBody>
        </p:sp>
      </p:gr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491505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4 point pyrami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15E31BEC-29E9-D24F-89BE-FE088165AB75}"/>
              </a:ext>
            </a:extLst>
          </p:cNvPr>
          <p:cNvCxnSpPr>
            <a:cxnSpLocks/>
          </p:cNvCxnSpPr>
          <p:nvPr/>
        </p:nvCxnSpPr>
        <p:spPr>
          <a:xfrm>
            <a:off x="7461250" y="5058073"/>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9">
            <a:extLst>
              <a:ext uri="{FF2B5EF4-FFF2-40B4-BE49-F238E27FC236}">
                <a16:creationId xmlns:a16="http://schemas.microsoft.com/office/drawing/2014/main" id="{BA146893-AAEE-E56B-7DC2-BCCA3DDF82D2}"/>
              </a:ext>
            </a:extLst>
          </p:cNvPr>
          <p:cNvSpPr>
            <a:spLocks noGrp="1"/>
          </p:cNvSpPr>
          <p:nvPr>
            <p:ph type="body" sz="quarter" idx="23" hasCustomPrompt="1"/>
          </p:nvPr>
        </p:nvSpPr>
        <p:spPr>
          <a:xfrm>
            <a:off x="8686800" y="4751934"/>
            <a:ext cx="2557302" cy="324044"/>
          </a:xfrm>
        </p:spPr>
        <p:txBody>
          <a:bodyPr>
            <a:normAutofit/>
          </a:bodyPr>
          <a:lstStyle>
            <a:lvl1pPr marL="0" indent="0">
              <a:buNone/>
              <a:defRPr sz="1600" b="1">
                <a:solidFill>
                  <a:schemeClr val="bg2"/>
                </a:solidFill>
              </a:defRPr>
            </a:lvl1pPr>
          </a:lstStyle>
          <a:p>
            <a:pPr lvl="0"/>
            <a:r>
              <a:rPr lang="en-US"/>
              <a:t>Lorem ipsum dolor</a:t>
            </a:r>
          </a:p>
        </p:txBody>
      </p:sp>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our point</a:t>
            </a:r>
            <a:br>
              <a:rPr lang="en-US"/>
            </a:br>
            <a:r>
              <a:rPr lang="en-US"/>
              <a:t>pyramid</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51" name="Text Placeholder 49">
            <a:extLst>
              <a:ext uri="{FF2B5EF4-FFF2-40B4-BE49-F238E27FC236}">
                <a16:creationId xmlns:a16="http://schemas.microsoft.com/office/drawing/2014/main" id="{3730989F-3C5B-0D21-C96E-ECBB026FAC97}"/>
              </a:ext>
            </a:extLst>
          </p:cNvPr>
          <p:cNvSpPr>
            <a:spLocks noGrp="1"/>
          </p:cNvSpPr>
          <p:nvPr>
            <p:ph type="body" sz="quarter" idx="17" hasCustomPrompt="1"/>
          </p:nvPr>
        </p:nvSpPr>
        <p:spPr>
          <a:xfrm>
            <a:off x="8686800" y="798554"/>
            <a:ext cx="2557302" cy="324044"/>
          </a:xfrm>
        </p:spPr>
        <p:txBody>
          <a:bodyPr>
            <a:normAutofit/>
          </a:bodyPr>
          <a:lstStyle>
            <a:lvl1pPr marL="0" indent="0">
              <a:buNone/>
              <a:defRPr sz="1600" b="1">
                <a:solidFill>
                  <a:schemeClr val="accent1"/>
                </a:solidFill>
              </a:defRPr>
            </a:lvl1pPr>
          </a:lstStyle>
          <a:p>
            <a:pPr lvl="0"/>
            <a:r>
              <a:rPr lang="en-US"/>
              <a:t>Lorem ipsum dolor</a:t>
            </a:r>
          </a:p>
        </p:txBody>
      </p:sp>
      <p:cxnSp>
        <p:nvCxnSpPr>
          <p:cNvPr id="52" name="Straight Connector 51">
            <a:extLst>
              <a:ext uri="{FF2B5EF4-FFF2-40B4-BE49-F238E27FC236}">
                <a16:creationId xmlns:a16="http://schemas.microsoft.com/office/drawing/2014/main" id="{D93B5DE0-2778-55D8-5B63-06B3ED9A875C}"/>
              </a:ext>
            </a:extLst>
          </p:cNvPr>
          <p:cNvCxnSpPr>
            <a:cxnSpLocks/>
          </p:cNvCxnSpPr>
          <p:nvPr/>
        </p:nvCxnSpPr>
        <p:spPr>
          <a:xfrm>
            <a:off x="6035783" y="1102648"/>
            <a:ext cx="5400566" cy="1328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93BBF5-7965-705C-7066-2A8B368C2ADE}"/>
              </a:ext>
            </a:extLst>
          </p:cNvPr>
          <p:cNvCxnSpPr>
            <a:cxnSpLocks/>
          </p:cNvCxnSpPr>
          <p:nvPr/>
        </p:nvCxnSpPr>
        <p:spPr>
          <a:xfrm flipV="1">
            <a:off x="6751426" y="2599659"/>
            <a:ext cx="4684924" cy="121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962CBE-CFB2-AA4F-3522-C00036B7F114}"/>
              </a:ext>
            </a:extLst>
          </p:cNvPr>
          <p:cNvCxnSpPr>
            <a:cxnSpLocks/>
          </p:cNvCxnSpPr>
          <p:nvPr/>
        </p:nvCxnSpPr>
        <p:spPr>
          <a:xfrm>
            <a:off x="7461250" y="3811339"/>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 Placeholder 49">
            <a:extLst>
              <a:ext uri="{FF2B5EF4-FFF2-40B4-BE49-F238E27FC236}">
                <a16:creationId xmlns:a16="http://schemas.microsoft.com/office/drawing/2014/main" id="{FABE6391-6130-80DD-2E80-D09786D417D0}"/>
              </a:ext>
            </a:extLst>
          </p:cNvPr>
          <p:cNvSpPr>
            <a:spLocks noGrp="1"/>
          </p:cNvSpPr>
          <p:nvPr>
            <p:ph type="body" sz="quarter" idx="19" hasCustomPrompt="1"/>
          </p:nvPr>
        </p:nvSpPr>
        <p:spPr>
          <a:xfrm>
            <a:off x="8686800" y="2286000"/>
            <a:ext cx="2557302" cy="324044"/>
          </a:xfrm>
        </p:spPr>
        <p:txBody>
          <a:bodyPr>
            <a:normAutofit/>
          </a:bodyPr>
          <a:lstStyle>
            <a:lvl1pPr marL="0" indent="0">
              <a:buNone/>
              <a:defRPr sz="1600" b="1">
                <a:solidFill>
                  <a:schemeClr val="tx2"/>
                </a:solidFill>
              </a:defRPr>
            </a:lvl1pPr>
          </a:lstStyle>
          <a:p>
            <a:pPr lvl="0"/>
            <a:r>
              <a:rPr lang="en-US"/>
              <a:t>Lorem ipsum dolor</a:t>
            </a:r>
          </a:p>
        </p:txBody>
      </p:sp>
      <p:sp>
        <p:nvSpPr>
          <p:cNvPr id="58" name="Text Placeholder 49">
            <a:extLst>
              <a:ext uri="{FF2B5EF4-FFF2-40B4-BE49-F238E27FC236}">
                <a16:creationId xmlns:a16="http://schemas.microsoft.com/office/drawing/2014/main" id="{AEA0D083-188D-275C-19A3-2B08840ED843}"/>
              </a:ext>
            </a:extLst>
          </p:cNvPr>
          <p:cNvSpPr>
            <a:spLocks noGrp="1"/>
          </p:cNvSpPr>
          <p:nvPr>
            <p:ph type="body" sz="quarter" idx="21" hasCustomPrompt="1"/>
          </p:nvPr>
        </p:nvSpPr>
        <p:spPr>
          <a:xfrm>
            <a:off x="8686800" y="3505200"/>
            <a:ext cx="2557302" cy="324044"/>
          </a:xfrm>
        </p:spPr>
        <p:txBody>
          <a:bodyPr>
            <a:normAutofit/>
          </a:bodyPr>
          <a:lstStyle>
            <a:lvl1pPr marL="0" indent="0">
              <a:buNone/>
              <a:defRPr sz="1600" b="1">
                <a:solidFill>
                  <a:schemeClr val="tx1"/>
                </a:solidFill>
              </a:defRPr>
            </a:lvl1pPr>
          </a:lstStyle>
          <a:p>
            <a:pPr lvl="0"/>
            <a:r>
              <a:rPr lang="en-US"/>
              <a:t>Lorem ipsum dolor</a:t>
            </a:r>
          </a:p>
        </p:txBody>
      </p:sp>
      <p:sp>
        <p:nvSpPr>
          <p:cNvPr id="38" name="Rectangle 37">
            <a:extLst>
              <a:ext uri="{FF2B5EF4-FFF2-40B4-BE49-F238E27FC236}">
                <a16:creationId xmlns:a16="http://schemas.microsoft.com/office/drawing/2014/main" id="{93E24841-D5DA-308D-C4FA-1230C1250DB6}"/>
              </a:ext>
            </a:extLst>
          </p:cNvPr>
          <p:cNvSpPr/>
          <p:nvPr/>
        </p:nvSpPr>
        <p:spPr>
          <a:xfrm>
            <a:off x="5652965" y="173410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39" name="Rectangle 38">
            <a:extLst>
              <a:ext uri="{FF2B5EF4-FFF2-40B4-BE49-F238E27FC236}">
                <a16:creationId xmlns:a16="http://schemas.microsoft.com/office/drawing/2014/main" id="{623B7E06-AEC1-1A82-D474-25CB9E798690}"/>
              </a:ext>
            </a:extLst>
          </p:cNvPr>
          <p:cNvSpPr/>
          <p:nvPr/>
        </p:nvSpPr>
        <p:spPr>
          <a:xfrm>
            <a:off x="5652965" y="32528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40" name="Rectangle 39">
            <a:extLst>
              <a:ext uri="{FF2B5EF4-FFF2-40B4-BE49-F238E27FC236}">
                <a16:creationId xmlns:a16="http://schemas.microsoft.com/office/drawing/2014/main" id="{68B39BD1-DFBA-C742-6146-CEE943A2FB82}"/>
              </a:ext>
            </a:extLst>
          </p:cNvPr>
          <p:cNvSpPr/>
          <p:nvPr/>
        </p:nvSpPr>
        <p:spPr>
          <a:xfrm>
            <a:off x="5652964" y="4878023"/>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grpSp>
        <p:nvGrpSpPr>
          <p:cNvPr id="3" name="Group 2">
            <a:extLst>
              <a:ext uri="{FF2B5EF4-FFF2-40B4-BE49-F238E27FC236}">
                <a16:creationId xmlns:a16="http://schemas.microsoft.com/office/drawing/2014/main" id="{12BD220D-68E4-AA53-DDAD-EF80DFB2208E}"/>
              </a:ext>
            </a:extLst>
          </p:cNvPr>
          <p:cNvGrpSpPr/>
          <p:nvPr/>
        </p:nvGrpSpPr>
        <p:grpSpPr>
          <a:xfrm>
            <a:off x="3547308" y="848082"/>
            <a:ext cx="4976734" cy="5161839"/>
            <a:chOff x="3547308" y="848082"/>
            <a:chExt cx="4976734" cy="5161839"/>
          </a:xfrm>
        </p:grpSpPr>
        <p:grpSp>
          <p:nvGrpSpPr>
            <p:cNvPr id="7" name="Group 6">
              <a:extLst>
                <a:ext uri="{FF2B5EF4-FFF2-40B4-BE49-F238E27FC236}">
                  <a16:creationId xmlns:a16="http://schemas.microsoft.com/office/drawing/2014/main" id="{A574C05B-E903-DC0A-55E6-6E5E5DEB84FA}"/>
                </a:ext>
              </a:extLst>
            </p:cNvPr>
            <p:cNvGrpSpPr/>
            <p:nvPr/>
          </p:nvGrpSpPr>
          <p:grpSpPr>
            <a:xfrm>
              <a:off x="3547308" y="848082"/>
              <a:ext cx="4976734" cy="5161839"/>
              <a:chOff x="4659207" y="480648"/>
              <a:chExt cx="3999564" cy="4587037"/>
            </a:xfrm>
          </p:grpSpPr>
          <p:sp>
            <p:nvSpPr>
              <p:cNvPr id="19" name="Freeform 18">
                <a:extLst>
                  <a:ext uri="{FF2B5EF4-FFF2-40B4-BE49-F238E27FC236}">
                    <a16:creationId xmlns:a16="http://schemas.microsoft.com/office/drawing/2014/main" id="{4C0F3549-F56E-A8AC-5437-475CE3DE30BE}"/>
                  </a:ext>
                </a:extLst>
              </p:cNvPr>
              <p:cNvSpPr/>
              <p:nvPr/>
            </p:nvSpPr>
            <p:spPr>
              <a:xfrm>
                <a:off x="6083773" y="480648"/>
                <a:ext cx="1150431" cy="1319488"/>
              </a:xfrm>
              <a:custGeom>
                <a:avLst/>
                <a:gdLst>
                  <a:gd name="connsiteX0" fmla="*/ 575216 w 1150431"/>
                  <a:gd name="connsiteY0" fmla="*/ 0 h 1319488"/>
                  <a:gd name="connsiteX1" fmla="*/ 0 w 1150431"/>
                  <a:gd name="connsiteY1" fmla="*/ 1319488 h 1319488"/>
                  <a:gd name="connsiteX2" fmla="*/ 1150431 w 1150431"/>
                  <a:gd name="connsiteY2" fmla="*/ 1319488 h 1319488"/>
                  <a:gd name="connsiteX3" fmla="*/ 575216 w 1150431"/>
                  <a:gd name="connsiteY3" fmla="*/ 0 h 1319488"/>
                </a:gdLst>
                <a:ahLst/>
                <a:cxnLst>
                  <a:cxn ang="0">
                    <a:pos x="connsiteX0" y="connsiteY0"/>
                  </a:cxn>
                  <a:cxn ang="0">
                    <a:pos x="connsiteX1" y="connsiteY1"/>
                  </a:cxn>
                  <a:cxn ang="0">
                    <a:pos x="connsiteX2" y="connsiteY2"/>
                  </a:cxn>
                  <a:cxn ang="0">
                    <a:pos x="connsiteX3" y="connsiteY3"/>
                  </a:cxn>
                </a:cxnLst>
                <a:rect l="l" t="t" r="r" b="b"/>
                <a:pathLst>
                  <a:path w="1150431" h="1319488">
                    <a:moveTo>
                      <a:pt x="575216" y="0"/>
                    </a:moveTo>
                    <a:lnTo>
                      <a:pt x="0" y="1319488"/>
                    </a:lnTo>
                    <a:lnTo>
                      <a:pt x="1150431" y="1319488"/>
                    </a:lnTo>
                    <a:lnTo>
                      <a:pt x="575216" y="0"/>
                    </a:lnTo>
                    <a:close/>
                  </a:path>
                </a:pathLst>
              </a:custGeom>
              <a:solidFill>
                <a:schemeClr val="accent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0" name="Freeform 19">
                <a:extLst>
                  <a:ext uri="{FF2B5EF4-FFF2-40B4-BE49-F238E27FC236}">
                    <a16:creationId xmlns:a16="http://schemas.microsoft.com/office/drawing/2014/main" id="{2DD6789B-4DEF-9653-C5F8-87CFD02F83EF}"/>
                  </a:ext>
                </a:extLst>
              </p:cNvPr>
              <p:cNvSpPr/>
              <p:nvPr/>
            </p:nvSpPr>
            <p:spPr>
              <a:xfrm>
                <a:off x="4659207" y="4109983"/>
                <a:ext cx="3999564" cy="957702"/>
              </a:xfrm>
              <a:custGeom>
                <a:avLst/>
                <a:gdLst>
                  <a:gd name="connsiteX0" fmla="*/ 0 w 3999564"/>
                  <a:gd name="connsiteY0" fmla="*/ 957703 h 957702"/>
                  <a:gd name="connsiteX1" fmla="*/ 3999564 w 3999564"/>
                  <a:gd name="connsiteY1" fmla="*/ 957703 h 957702"/>
                  <a:gd name="connsiteX2" fmla="*/ 3581909 w 3999564"/>
                  <a:gd name="connsiteY2" fmla="*/ 0 h 957702"/>
                  <a:gd name="connsiteX3" fmla="*/ 417514 w 3999564"/>
                  <a:gd name="connsiteY3" fmla="*/ 0 h 957702"/>
                  <a:gd name="connsiteX4" fmla="*/ 0 w 3999564"/>
                  <a:gd name="connsiteY4" fmla="*/ 957703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9564" h="957702">
                    <a:moveTo>
                      <a:pt x="0" y="957703"/>
                    </a:moveTo>
                    <a:lnTo>
                      <a:pt x="3999564" y="957703"/>
                    </a:lnTo>
                    <a:lnTo>
                      <a:pt x="3581909" y="0"/>
                    </a:lnTo>
                    <a:lnTo>
                      <a:pt x="417514" y="0"/>
                    </a:lnTo>
                    <a:lnTo>
                      <a:pt x="0" y="957703"/>
                    </a:lnTo>
                    <a:close/>
                  </a:path>
                </a:pathLst>
              </a:custGeom>
              <a:solidFill>
                <a:schemeClr val="bg2"/>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7BA0E879-50A0-B572-F4B3-01B022112F50}"/>
                  </a:ext>
                </a:extLst>
              </p:cNvPr>
              <p:cNvSpPr/>
              <p:nvPr/>
            </p:nvSpPr>
            <p:spPr>
              <a:xfrm>
                <a:off x="5134015" y="3020668"/>
                <a:ext cx="3049805" cy="957900"/>
              </a:xfrm>
              <a:custGeom>
                <a:avLst/>
                <a:gdLst>
                  <a:gd name="connsiteX0" fmla="*/ 283495 w 3049805"/>
                  <a:gd name="connsiteY0" fmla="*/ 307558 h 957900"/>
                  <a:gd name="connsiteX1" fmla="*/ 0 w 3049805"/>
                  <a:gd name="connsiteY1" fmla="*/ 957901 h 957900"/>
                  <a:gd name="connsiteX2" fmla="*/ 3049806 w 3049805"/>
                  <a:gd name="connsiteY2" fmla="*/ 957901 h 957900"/>
                  <a:gd name="connsiteX3" fmla="*/ 2766311 w 3049805"/>
                  <a:gd name="connsiteY3" fmla="*/ 307558 h 957900"/>
                  <a:gd name="connsiteX4" fmla="*/ 2632293 w 3049805"/>
                  <a:gd name="connsiteY4" fmla="*/ 0 h 957900"/>
                  <a:gd name="connsiteX5" fmla="*/ 417513 w 3049805"/>
                  <a:gd name="connsiteY5" fmla="*/ 0 h 957900"/>
                  <a:gd name="connsiteX6" fmla="*/ 283495 w 3049805"/>
                  <a:gd name="connsiteY6" fmla="*/ 307558 h 9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9805" h="957900">
                    <a:moveTo>
                      <a:pt x="283495" y="307558"/>
                    </a:moveTo>
                    <a:lnTo>
                      <a:pt x="0" y="957901"/>
                    </a:lnTo>
                    <a:lnTo>
                      <a:pt x="3049806" y="957901"/>
                    </a:lnTo>
                    <a:lnTo>
                      <a:pt x="2766311" y="307558"/>
                    </a:lnTo>
                    <a:lnTo>
                      <a:pt x="2632293" y="0"/>
                    </a:lnTo>
                    <a:lnTo>
                      <a:pt x="417513" y="0"/>
                    </a:lnTo>
                    <a:lnTo>
                      <a:pt x="283495" y="307558"/>
                    </a:lnTo>
                    <a:close/>
                  </a:path>
                </a:pathLst>
              </a:custGeom>
              <a:solidFill>
                <a:schemeClr val="tx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52EA3AAD-9D5C-8E2C-5D6A-B30BD2630BD6}"/>
                  </a:ext>
                </a:extLst>
              </p:cNvPr>
              <p:cNvSpPr/>
              <p:nvPr/>
            </p:nvSpPr>
            <p:spPr>
              <a:xfrm>
                <a:off x="5608823" y="1931550"/>
                <a:ext cx="2100189" cy="957702"/>
              </a:xfrm>
              <a:custGeom>
                <a:avLst/>
                <a:gdLst>
                  <a:gd name="connsiteX0" fmla="*/ 417655 w 2100189"/>
                  <a:gd name="connsiteY0" fmla="*/ 0 h 957702"/>
                  <a:gd name="connsiteX1" fmla="*/ 0 w 2100189"/>
                  <a:gd name="connsiteY1" fmla="*/ 957703 h 957702"/>
                  <a:gd name="connsiteX2" fmla="*/ 2100190 w 2100189"/>
                  <a:gd name="connsiteY2" fmla="*/ 957703 h 957702"/>
                  <a:gd name="connsiteX3" fmla="*/ 1682676 w 2100189"/>
                  <a:gd name="connsiteY3" fmla="*/ 0 h 957702"/>
                  <a:gd name="connsiteX4" fmla="*/ 417655 w 2100189"/>
                  <a:gd name="connsiteY4" fmla="*/ 0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189" h="957702">
                    <a:moveTo>
                      <a:pt x="417655" y="0"/>
                    </a:moveTo>
                    <a:lnTo>
                      <a:pt x="0" y="957703"/>
                    </a:lnTo>
                    <a:lnTo>
                      <a:pt x="2100190" y="957703"/>
                    </a:lnTo>
                    <a:lnTo>
                      <a:pt x="1682676" y="0"/>
                    </a:lnTo>
                    <a:lnTo>
                      <a:pt x="417655" y="0"/>
                    </a:lnTo>
                    <a:close/>
                  </a:path>
                </a:pathLst>
              </a:custGeom>
              <a:solidFill>
                <a:schemeClr val="tx2"/>
              </a:solidFill>
              <a:ln w="14179" cap="flat">
                <a:noFill/>
                <a:prstDash val="solid"/>
                <a:miter/>
              </a:ln>
            </p:spPr>
            <p:txBody>
              <a:bodyPr rtlCol="0" anchor="ctr"/>
              <a:lstStyle/>
              <a:p>
                <a:pPr marL="0" indent="0">
                  <a:buFont typeface="Arial" panose="020B0604020202020204" pitchFamily="34" charset="0"/>
                  <a:buNone/>
                </a:pPr>
                <a:endParaRPr lang="en-US"/>
              </a:p>
            </p:txBody>
          </p:sp>
        </p:grpSp>
        <p:sp>
          <p:nvSpPr>
            <p:cNvPr id="8" name="Rectangle 7">
              <a:extLst>
                <a:ext uri="{FF2B5EF4-FFF2-40B4-BE49-F238E27FC236}">
                  <a16:creationId xmlns:a16="http://schemas.microsoft.com/office/drawing/2014/main" id="{05E23146-ED2B-3363-297C-CBF51BF37A10}"/>
                </a:ext>
              </a:extLst>
            </p:cNvPr>
            <p:cNvSpPr/>
            <p:nvPr/>
          </p:nvSpPr>
          <p:spPr>
            <a:xfrm>
              <a:off x="5647273" y="153245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16" name="Rectangle 15">
              <a:extLst>
                <a:ext uri="{FF2B5EF4-FFF2-40B4-BE49-F238E27FC236}">
                  <a16:creationId xmlns:a16="http://schemas.microsoft.com/office/drawing/2014/main" id="{B35AE6B4-ED04-F413-6D20-239C0B84CECE}"/>
                </a:ext>
              </a:extLst>
            </p:cNvPr>
            <p:cNvSpPr/>
            <p:nvPr/>
          </p:nvSpPr>
          <p:spPr>
            <a:xfrm>
              <a:off x="5647272" y="2658654"/>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17" name="Rectangle 16">
              <a:extLst>
                <a:ext uri="{FF2B5EF4-FFF2-40B4-BE49-F238E27FC236}">
                  <a16:creationId xmlns:a16="http://schemas.microsoft.com/office/drawing/2014/main" id="{09BCA15F-EBA9-4AE6-FD3F-7B6734D3FE1D}"/>
                </a:ext>
              </a:extLst>
            </p:cNvPr>
            <p:cNvSpPr/>
            <p:nvPr/>
          </p:nvSpPr>
          <p:spPr>
            <a:xfrm>
              <a:off x="5647272" y="385108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sp>
          <p:nvSpPr>
            <p:cNvPr id="18" name="Rectangle 17">
              <a:extLst>
                <a:ext uri="{FF2B5EF4-FFF2-40B4-BE49-F238E27FC236}">
                  <a16:creationId xmlns:a16="http://schemas.microsoft.com/office/drawing/2014/main" id="{67BFA213-2980-7828-FB9F-942DEC0DF5F7}"/>
                </a:ext>
              </a:extLst>
            </p:cNvPr>
            <p:cNvSpPr/>
            <p:nvPr/>
          </p:nvSpPr>
          <p:spPr>
            <a:xfrm>
              <a:off x="5647272" y="5128070"/>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4</a:t>
              </a:r>
            </a:p>
          </p:txBody>
        </p:sp>
      </p:grpSp>
      <p:sp>
        <p:nvSpPr>
          <p:cNvPr id="21" name="Content Placeholder 17">
            <a:extLst>
              <a:ext uri="{FF2B5EF4-FFF2-40B4-BE49-F238E27FC236}">
                <a16:creationId xmlns:a16="http://schemas.microsoft.com/office/drawing/2014/main" id="{E17DCA2C-A564-6100-C9C1-9BF4585B0127}"/>
              </a:ext>
            </a:extLst>
          </p:cNvPr>
          <p:cNvSpPr>
            <a:spLocks noGrp="1"/>
          </p:cNvSpPr>
          <p:nvPr>
            <p:ph sz="quarter" idx="63"/>
          </p:nvPr>
        </p:nvSpPr>
        <p:spPr>
          <a:xfrm>
            <a:off x="8686800" y="1143000"/>
            <a:ext cx="256032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AA39802B-57F7-9529-1C26-704A15A4EBD6}"/>
              </a:ext>
            </a:extLst>
          </p:cNvPr>
          <p:cNvSpPr>
            <a:spLocks noGrp="1"/>
          </p:cNvSpPr>
          <p:nvPr>
            <p:ph sz="quarter" idx="64"/>
          </p:nvPr>
        </p:nvSpPr>
        <p:spPr>
          <a:xfrm>
            <a:off x="8686800" y="26670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E0A9520F-B9D2-F947-0ACA-D3B300D51399}"/>
              </a:ext>
            </a:extLst>
          </p:cNvPr>
          <p:cNvSpPr>
            <a:spLocks noGrp="1"/>
          </p:cNvSpPr>
          <p:nvPr>
            <p:ph sz="quarter" idx="65"/>
          </p:nvPr>
        </p:nvSpPr>
        <p:spPr>
          <a:xfrm>
            <a:off x="8686800" y="38862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4" name="Content Placeholder 17">
            <a:extLst>
              <a:ext uri="{FF2B5EF4-FFF2-40B4-BE49-F238E27FC236}">
                <a16:creationId xmlns:a16="http://schemas.microsoft.com/office/drawing/2014/main" id="{4E016D0E-59CF-9EB5-1571-E71C2248A7AD}"/>
              </a:ext>
            </a:extLst>
          </p:cNvPr>
          <p:cNvSpPr>
            <a:spLocks noGrp="1"/>
          </p:cNvSpPr>
          <p:nvPr>
            <p:ph sz="quarter" idx="66"/>
          </p:nvPr>
        </p:nvSpPr>
        <p:spPr>
          <a:xfrm>
            <a:off x="8686800" y="5181600"/>
            <a:ext cx="2590800" cy="9144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3438935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Three point triangl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4A4E4F81-F86D-CD02-2171-579792C7EC2B}"/>
              </a:ext>
            </a:extLst>
          </p:cNvPr>
          <p:cNvGrpSpPr/>
          <p:nvPr/>
        </p:nvGrpSpPr>
        <p:grpSpPr>
          <a:xfrm>
            <a:off x="785813"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696200" y="2831683"/>
            <a:ext cx="3721608"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0600" y="2831683"/>
            <a:ext cx="3721010" cy="324044"/>
          </a:xfrm>
        </p:spPr>
        <p:txBody>
          <a:bodyPr>
            <a:normAutofit/>
          </a:bodyPr>
          <a:lstStyle>
            <a:lvl1pPr marL="0" indent="0">
              <a:buNone/>
              <a:defRPr sz="1600" b="1">
                <a:solidFill>
                  <a:schemeClr val="accent4"/>
                </a:solidFill>
              </a:defRPr>
            </a:lvl1pPr>
          </a:lstStyle>
          <a:p>
            <a:pPr lvl="0"/>
            <a:r>
              <a:rPr lang="en-US"/>
              <a:t>Lorem ipsum dolor</a:t>
            </a:r>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235196" y="5638800"/>
            <a:ext cx="3721608"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19" name="Content Placeholder 17">
            <a:extLst>
              <a:ext uri="{FF2B5EF4-FFF2-40B4-BE49-F238E27FC236}">
                <a16:creationId xmlns:a16="http://schemas.microsoft.com/office/drawing/2014/main" id="{0E05ABD5-3E68-13F8-6615-F4A985568F09}"/>
              </a:ext>
            </a:extLst>
          </p:cNvPr>
          <p:cNvSpPr>
            <a:spLocks noGrp="1"/>
          </p:cNvSpPr>
          <p:nvPr>
            <p:ph sz="quarter" idx="63"/>
          </p:nvPr>
        </p:nvSpPr>
        <p:spPr>
          <a:xfrm>
            <a:off x="9906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BB81BFD-C974-DBEE-379F-86E4A0E36B5F}"/>
              </a:ext>
            </a:extLst>
          </p:cNvPr>
          <p:cNvSpPr>
            <a:spLocks noGrp="1"/>
          </p:cNvSpPr>
          <p:nvPr>
            <p:ph sz="quarter" idx="64"/>
          </p:nvPr>
        </p:nvSpPr>
        <p:spPr>
          <a:xfrm>
            <a:off x="4235196" y="6022554"/>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52657600-CDED-1015-206E-5278110EF3C3}"/>
              </a:ext>
            </a:extLst>
          </p:cNvPr>
          <p:cNvSpPr>
            <a:spLocks noGrp="1"/>
          </p:cNvSpPr>
          <p:nvPr>
            <p:ph sz="quarter" idx="65"/>
          </p:nvPr>
        </p:nvSpPr>
        <p:spPr>
          <a:xfrm>
            <a:off x="76962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82292305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Four points squar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our points - squar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1AE2DD51-A795-973A-AC7F-EFCDC6608A8C}"/>
              </a:ext>
            </a:extLst>
          </p:cNvPr>
          <p:cNvGrpSpPr/>
          <p:nvPr/>
        </p:nvGrpSpPr>
        <p:grpSpPr>
          <a:xfrm>
            <a:off x="815975" y="2384989"/>
            <a:ext cx="10620375" cy="3398382"/>
            <a:chOff x="815975" y="2044994"/>
            <a:chExt cx="10620375" cy="3398382"/>
          </a:xfrm>
        </p:grpSpPr>
        <p:cxnSp>
          <p:nvCxnSpPr>
            <p:cNvPr id="10" name="Straight Connector 9">
              <a:extLst>
                <a:ext uri="{FF2B5EF4-FFF2-40B4-BE49-F238E27FC236}">
                  <a16:creationId xmlns:a16="http://schemas.microsoft.com/office/drawing/2014/main" id="{73FD4D2A-B2BE-E573-5D74-450967EE75CE}"/>
                </a:ext>
              </a:extLst>
            </p:cNvPr>
            <p:cNvCxnSpPr>
              <a:cxnSpLocks/>
            </p:cNvCxnSpPr>
            <p:nvPr/>
          </p:nvCxnSpPr>
          <p:spPr>
            <a:xfrm flipV="1">
              <a:off x="6095937" y="2044994"/>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E2F8C8-88CC-93E9-FEBB-841E9B1C6BCD}"/>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3F0EBC-04C1-043C-B60C-82D736C9CA1E}"/>
                </a:ext>
              </a:extLst>
            </p:cNvPr>
            <p:cNvCxnSpPr>
              <a:cxnSpLocks/>
            </p:cNvCxnSpPr>
            <p:nvPr/>
          </p:nvCxnSpPr>
          <p:spPr>
            <a:xfrm>
              <a:off x="6995461" y="380301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42A6F1-B12E-643E-7565-62DA0A2CCEC9}"/>
                </a:ext>
              </a:extLst>
            </p:cNvPr>
            <p:cNvCxnSpPr>
              <a:cxnSpLocks/>
            </p:cNvCxnSpPr>
            <p:nvPr/>
          </p:nvCxnSpPr>
          <p:spPr>
            <a:xfrm flipH="1">
              <a:off x="815975" y="378898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DD80B86D-F9FB-2AAA-765A-707D0E81AA1B}"/>
                </a:ext>
              </a:extLst>
            </p:cNvPr>
            <p:cNvGrpSpPr/>
            <p:nvPr/>
          </p:nvGrpSpPr>
          <p:grpSpPr>
            <a:xfrm>
              <a:off x="4812056" y="2468666"/>
              <a:ext cx="2567888" cy="2569042"/>
              <a:chOff x="7186795" y="1963701"/>
              <a:chExt cx="2567888" cy="2569042"/>
            </a:xfrm>
          </p:grpSpPr>
          <p:sp>
            <p:nvSpPr>
              <p:cNvPr id="28" name="Freeform 27">
                <a:extLst>
                  <a:ext uri="{FF2B5EF4-FFF2-40B4-BE49-F238E27FC236}">
                    <a16:creationId xmlns:a16="http://schemas.microsoft.com/office/drawing/2014/main" id="{4C45A49E-636D-A11A-0CFD-6978BC61945E}"/>
                  </a:ext>
                </a:extLst>
              </p:cNvPr>
              <p:cNvSpPr/>
              <p:nvPr/>
            </p:nvSpPr>
            <p:spPr>
              <a:xfrm>
                <a:off x="7245251" y="3658036"/>
                <a:ext cx="2450851" cy="874707"/>
              </a:xfrm>
              <a:custGeom>
                <a:avLst/>
                <a:gdLst>
                  <a:gd name="connsiteX0" fmla="*/ 558968 w 1566883"/>
                  <a:gd name="connsiteY0" fmla="*/ 0 h 559219"/>
                  <a:gd name="connsiteX1" fmla="*/ 0 w 1566883"/>
                  <a:gd name="connsiteY1" fmla="*/ 559219 h 559219"/>
                  <a:gd name="connsiteX2" fmla="*/ 1566884 w 1566883"/>
                  <a:gd name="connsiteY2" fmla="*/ 559219 h 559219"/>
                  <a:gd name="connsiteX3" fmla="*/ 1007915 w 1566883"/>
                  <a:gd name="connsiteY3" fmla="*/ 0 h 559219"/>
                  <a:gd name="connsiteX4" fmla="*/ 558968 w 1566883"/>
                  <a:gd name="connsiteY4" fmla="*/ 0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558968" y="0"/>
                    </a:moveTo>
                    <a:lnTo>
                      <a:pt x="0" y="559219"/>
                    </a:lnTo>
                    <a:lnTo>
                      <a:pt x="1566884" y="559219"/>
                    </a:lnTo>
                    <a:lnTo>
                      <a:pt x="1007915" y="0"/>
                    </a:lnTo>
                    <a:lnTo>
                      <a:pt x="558968"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9" name="Freeform 28">
                <a:extLst>
                  <a:ext uri="{FF2B5EF4-FFF2-40B4-BE49-F238E27FC236}">
                    <a16:creationId xmlns:a16="http://schemas.microsoft.com/office/drawing/2014/main" id="{8CB1C88E-7F79-91C0-9147-6115692495B9}"/>
                  </a:ext>
                </a:extLst>
              </p:cNvPr>
              <p:cNvSpPr/>
              <p:nvPr/>
            </p:nvSpPr>
            <p:spPr>
              <a:xfrm>
                <a:off x="7186795" y="2022182"/>
                <a:ext cx="874314" cy="2451952"/>
              </a:xfrm>
              <a:custGeom>
                <a:avLst/>
                <a:gdLst>
                  <a:gd name="connsiteX0" fmla="*/ 558968 w 558968"/>
                  <a:gd name="connsiteY0" fmla="*/ 1008368 h 1567586"/>
                  <a:gd name="connsiteX1" fmla="*/ 558968 w 558968"/>
                  <a:gd name="connsiteY1" fmla="*/ 559219 h 1567586"/>
                  <a:gd name="connsiteX2" fmla="*/ 0 w 558968"/>
                  <a:gd name="connsiteY2" fmla="*/ 0 h 1567586"/>
                  <a:gd name="connsiteX3" fmla="*/ 0 w 558968"/>
                  <a:gd name="connsiteY3" fmla="*/ 1567587 h 1567586"/>
                  <a:gd name="connsiteX4" fmla="*/ 558968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558968" y="1008368"/>
                    </a:moveTo>
                    <a:lnTo>
                      <a:pt x="558968" y="559219"/>
                    </a:lnTo>
                    <a:lnTo>
                      <a:pt x="0" y="0"/>
                    </a:lnTo>
                    <a:lnTo>
                      <a:pt x="0" y="1567587"/>
                    </a:lnTo>
                    <a:lnTo>
                      <a:pt x="558968" y="1008368"/>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0" name="Freeform 29">
                <a:extLst>
                  <a:ext uri="{FF2B5EF4-FFF2-40B4-BE49-F238E27FC236}">
                    <a16:creationId xmlns:a16="http://schemas.microsoft.com/office/drawing/2014/main" id="{34030CDF-7DE0-DCEB-41F3-41FCD1AC95FC}"/>
                  </a:ext>
                </a:extLst>
              </p:cNvPr>
              <p:cNvSpPr/>
              <p:nvPr/>
            </p:nvSpPr>
            <p:spPr>
              <a:xfrm>
                <a:off x="7245251" y="1963701"/>
                <a:ext cx="2450851" cy="874707"/>
              </a:xfrm>
              <a:custGeom>
                <a:avLst/>
                <a:gdLst>
                  <a:gd name="connsiteX0" fmla="*/ 1007915 w 1566883"/>
                  <a:gd name="connsiteY0" fmla="*/ 559219 h 559219"/>
                  <a:gd name="connsiteX1" fmla="*/ 1566884 w 1566883"/>
                  <a:gd name="connsiteY1" fmla="*/ 0 h 559219"/>
                  <a:gd name="connsiteX2" fmla="*/ 0 w 1566883"/>
                  <a:gd name="connsiteY2" fmla="*/ 0 h 559219"/>
                  <a:gd name="connsiteX3" fmla="*/ 558968 w 1566883"/>
                  <a:gd name="connsiteY3" fmla="*/ 559219 h 559219"/>
                  <a:gd name="connsiteX4" fmla="*/ 1007915 w 1566883"/>
                  <a:gd name="connsiteY4" fmla="*/ 559219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1007915" y="559219"/>
                    </a:moveTo>
                    <a:lnTo>
                      <a:pt x="1566884" y="0"/>
                    </a:lnTo>
                    <a:lnTo>
                      <a:pt x="0" y="0"/>
                    </a:lnTo>
                    <a:lnTo>
                      <a:pt x="558968" y="559219"/>
                    </a:lnTo>
                    <a:lnTo>
                      <a:pt x="1007915" y="559219"/>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1" name="Freeform 30">
                <a:extLst>
                  <a:ext uri="{FF2B5EF4-FFF2-40B4-BE49-F238E27FC236}">
                    <a16:creationId xmlns:a16="http://schemas.microsoft.com/office/drawing/2014/main" id="{FE216904-5909-65B5-5D6B-E957BE0D5D2A}"/>
                  </a:ext>
                </a:extLst>
              </p:cNvPr>
              <p:cNvSpPr/>
              <p:nvPr/>
            </p:nvSpPr>
            <p:spPr>
              <a:xfrm>
                <a:off x="8880369" y="2022182"/>
                <a:ext cx="874314" cy="2451952"/>
              </a:xfrm>
              <a:custGeom>
                <a:avLst/>
                <a:gdLst>
                  <a:gd name="connsiteX0" fmla="*/ 0 w 558968"/>
                  <a:gd name="connsiteY0" fmla="*/ 1008368 h 1567586"/>
                  <a:gd name="connsiteX1" fmla="*/ 558969 w 558968"/>
                  <a:gd name="connsiteY1" fmla="*/ 1567587 h 1567586"/>
                  <a:gd name="connsiteX2" fmla="*/ 558969 w 558968"/>
                  <a:gd name="connsiteY2" fmla="*/ 0 h 1567586"/>
                  <a:gd name="connsiteX3" fmla="*/ 0 w 558968"/>
                  <a:gd name="connsiteY3" fmla="*/ 559219 h 1567586"/>
                  <a:gd name="connsiteX4" fmla="*/ 0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0" y="1008368"/>
                    </a:moveTo>
                    <a:lnTo>
                      <a:pt x="558969" y="1567587"/>
                    </a:lnTo>
                    <a:lnTo>
                      <a:pt x="558969" y="0"/>
                    </a:lnTo>
                    <a:lnTo>
                      <a:pt x="0" y="559219"/>
                    </a:lnTo>
                    <a:lnTo>
                      <a:pt x="0" y="1008368"/>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33" name="Text Placeholder 49">
            <a:extLst>
              <a:ext uri="{FF2B5EF4-FFF2-40B4-BE49-F238E27FC236}">
                <a16:creationId xmlns:a16="http://schemas.microsoft.com/office/drawing/2014/main" id="{E9AA7340-326B-6B94-E564-05A964387A56}"/>
              </a:ext>
            </a:extLst>
          </p:cNvPr>
          <p:cNvSpPr>
            <a:spLocks noGrp="1"/>
          </p:cNvSpPr>
          <p:nvPr>
            <p:ph type="body" sz="quarter" idx="17" hasCustomPrompt="1"/>
          </p:nvPr>
        </p:nvSpPr>
        <p:spPr>
          <a:xfrm>
            <a:off x="990600" y="3783111"/>
            <a:ext cx="3644073" cy="324044"/>
          </a:xfrm>
        </p:spPr>
        <p:txBody>
          <a:bodyPr>
            <a:normAutofit/>
          </a:bodyPr>
          <a:lstStyle>
            <a:lvl1pPr marL="0" indent="0">
              <a:buNone/>
              <a:defRPr sz="1600" b="1">
                <a:solidFill>
                  <a:schemeClr val="tx1"/>
                </a:solidFill>
              </a:defRPr>
            </a:lvl1pPr>
          </a:lstStyle>
          <a:p>
            <a:pPr lvl="0"/>
            <a:r>
              <a:rPr lang="en-US"/>
              <a:t>Lorem ipsum dolor</a:t>
            </a:r>
          </a:p>
        </p:txBody>
      </p:sp>
      <p:sp>
        <p:nvSpPr>
          <p:cNvPr id="35" name="Text Placeholder 49">
            <a:extLst>
              <a:ext uri="{FF2B5EF4-FFF2-40B4-BE49-F238E27FC236}">
                <a16:creationId xmlns:a16="http://schemas.microsoft.com/office/drawing/2014/main" id="{D2D16238-D684-8118-8DE7-9487FF7DF51E}"/>
              </a:ext>
            </a:extLst>
          </p:cNvPr>
          <p:cNvSpPr>
            <a:spLocks noGrp="1"/>
          </p:cNvSpPr>
          <p:nvPr>
            <p:ph type="body" sz="quarter" idx="19" hasCustomPrompt="1"/>
          </p:nvPr>
        </p:nvSpPr>
        <p:spPr>
          <a:xfrm>
            <a:off x="7467600" y="3794575"/>
            <a:ext cx="3657600"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9" name="Text Placeholder 49">
            <a:extLst>
              <a:ext uri="{FF2B5EF4-FFF2-40B4-BE49-F238E27FC236}">
                <a16:creationId xmlns:a16="http://schemas.microsoft.com/office/drawing/2014/main" id="{BF2493E3-929C-6D12-3DF5-7682E1F6E8B3}"/>
              </a:ext>
            </a:extLst>
          </p:cNvPr>
          <p:cNvSpPr>
            <a:spLocks noGrp="1"/>
          </p:cNvSpPr>
          <p:nvPr>
            <p:ph type="body" sz="quarter" idx="23" hasCustomPrompt="1"/>
          </p:nvPr>
        </p:nvSpPr>
        <p:spPr>
          <a:xfrm>
            <a:off x="4191000" y="5865556"/>
            <a:ext cx="3657600"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41" name="Text Placeholder 49">
            <a:extLst>
              <a:ext uri="{FF2B5EF4-FFF2-40B4-BE49-F238E27FC236}">
                <a16:creationId xmlns:a16="http://schemas.microsoft.com/office/drawing/2014/main" id="{37C6D4AD-FD10-95BE-45B3-6599962FE91C}"/>
              </a:ext>
            </a:extLst>
          </p:cNvPr>
          <p:cNvSpPr>
            <a:spLocks noGrp="1"/>
          </p:cNvSpPr>
          <p:nvPr>
            <p:ph type="body" sz="quarter" idx="25" hasCustomPrompt="1"/>
          </p:nvPr>
        </p:nvSpPr>
        <p:spPr>
          <a:xfrm>
            <a:off x="4191000" y="1676400"/>
            <a:ext cx="3657600" cy="324044"/>
          </a:xfrm>
        </p:spPr>
        <p:txBody>
          <a:bodyPr>
            <a:normAutofit/>
          </a:bodyPr>
          <a:lstStyle>
            <a:lvl1pPr marL="0" indent="0" algn="ctr">
              <a:buNone/>
              <a:defRPr sz="1600" b="1">
                <a:solidFill>
                  <a:schemeClr val="accent4"/>
                </a:solidFill>
              </a:defRPr>
            </a:lvl1pPr>
          </a:lstStyle>
          <a:p>
            <a:pPr lvl="0"/>
            <a:r>
              <a:rPr lang="en-US"/>
              <a:t>Lorem ipsum dolor</a:t>
            </a:r>
          </a:p>
        </p:txBody>
      </p:sp>
      <p:sp>
        <p:nvSpPr>
          <p:cNvPr id="19" name="Content Placeholder 17">
            <a:extLst>
              <a:ext uri="{FF2B5EF4-FFF2-40B4-BE49-F238E27FC236}">
                <a16:creationId xmlns:a16="http://schemas.microsoft.com/office/drawing/2014/main" id="{3030C0CE-889F-CC8A-4303-92370353D2E2}"/>
              </a:ext>
            </a:extLst>
          </p:cNvPr>
          <p:cNvSpPr>
            <a:spLocks noGrp="1"/>
          </p:cNvSpPr>
          <p:nvPr>
            <p:ph sz="quarter" idx="63"/>
          </p:nvPr>
        </p:nvSpPr>
        <p:spPr>
          <a:xfrm>
            <a:off x="990600" y="41910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44A0222-CD13-C8B4-DD0E-7E60F0116F06}"/>
              </a:ext>
            </a:extLst>
          </p:cNvPr>
          <p:cNvSpPr>
            <a:spLocks noGrp="1"/>
          </p:cNvSpPr>
          <p:nvPr>
            <p:ph sz="quarter" idx="64"/>
          </p:nvPr>
        </p:nvSpPr>
        <p:spPr>
          <a:xfrm>
            <a:off x="7467600" y="41910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79D3ED51-FC75-AC56-B538-71AE2ADC73ED}"/>
              </a:ext>
            </a:extLst>
          </p:cNvPr>
          <p:cNvSpPr>
            <a:spLocks noGrp="1"/>
          </p:cNvSpPr>
          <p:nvPr>
            <p:ph sz="quarter" idx="65"/>
          </p:nvPr>
        </p:nvSpPr>
        <p:spPr>
          <a:xfrm>
            <a:off x="4191000" y="2073089"/>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2" name="Content Placeholder 17">
            <a:extLst>
              <a:ext uri="{FF2B5EF4-FFF2-40B4-BE49-F238E27FC236}">
                <a16:creationId xmlns:a16="http://schemas.microsoft.com/office/drawing/2014/main" id="{0C8BEEDD-4B08-6A7C-D12B-67E9DC2DCBDC}"/>
              </a:ext>
            </a:extLst>
          </p:cNvPr>
          <p:cNvSpPr>
            <a:spLocks noGrp="1"/>
          </p:cNvSpPr>
          <p:nvPr>
            <p:ph sz="quarter" idx="66"/>
          </p:nvPr>
        </p:nvSpPr>
        <p:spPr>
          <a:xfrm>
            <a:off x="4191000" y="62484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251060015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Five point pent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ive points - pentagon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9982F7E7-70CA-4BF5-148B-AFC9AE54CA0D}"/>
              </a:ext>
            </a:extLst>
          </p:cNvPr>
          <p:cNvGrpSpPr/>
          <p:nvPr/>
        </p:nvGrpSpPr>
        <p:grpSpPr>
          <a:xfrm>
            <a:off x="785813" y="2306464"/>
            <a:ext cx="10620375" cy="3136912"/>
            <a:chOff x="815975" y="2306464"/>
            <a:chExt cx="10620375" cy="3136912"/>
          </a:xfrm>
        </p:grpSpPr>
        <p:cxnSp>
          <p:nvCxnSpPr>
            <p:cNvPr id="33" name="Straight Connector 32">
              <a:extLst>
                <a:ext uri="{FF2B5EF4-FFF2-40B4-BE49-F238E27FC236}">
                  <a16:creationId xmlns:a16="http://schemas.microsoft.com/office/drawing/2014/main" id="{CEC0FAF6-8996-AF17-DE35-194CE9BD3395}"/>
                </a:ext>
              </a:extLst>
            </p:cNvPr>
            <p:cNvCxnSpPr>
              <a:cxnSpLocks/>
            </p:cNvCxnSpPr>
            <p:nvPr/>
          </p:nvCxnSpPr>
          <p:spPr>
            <a:xfrm>
              <a:off x="6995461" y="289191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2578AF-22FA-35F4-DB50-C2C5088D773F}"/>
                </a:ext>
              </a:extLst>
            </p:cNvPr>
            <p:cNvCxnSpPr>
              <a:cxnSpLocks/>
            </p:cNvCxnSpPr>
            <p:nvPr/>
          </p:nvCxnSpPr>
          <p:spPr>
            <a:xfrm flipH="1">
              <a:off x="815975" y="287787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C762C67-68F4-BDBE-9041-B29FC4FE8F5B}"/>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7C7533-9416-681F-0A73-06EBD12DD423}"/>
                </a:ext>
              </a:extLst>
            </p:cNvPr>
            <p:cNvCxnSpPr>
              <a:cxnSpLocks/>
            </p:cNvCxnSpPr>
            <p:nvPr/>
          </p:nvCxnSpPr>
          <p:spPr>
            <a:xfrm>
              <a:off x="6995461" y="432400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E8AFED-0EB7-4B6B-2164-5EAFDA4DC125}"/>
                </a:ext>
              </a:extLst>
            </p:cNvPr>
            <p:cNvCxnSpPr>
              <a:cxnSpLocks/>
            </p:cNvCxnSpPr>
            <p:nvPr/>
          </p:nvCxnSpPr>
          <p:spPr>
            <a:xfrm flipH="1">
              <a:off x="815975" y="430997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C3D9470-B9CD-DD51-F5FC-41D3670B2F63}"/>
                </a:ext>
              </a:extLst>
            </p:cNvPr>
            <p:cNvGrpSpPr/>
            <p:nvPr/>
          </p:nvGrpSpPr>
          <p:grpSpPr>
            <a:xfrm>
              <a:off x="4764868" y="2306464"/>
              <a:ext cx="2761819" cy="2629523"/>
              <a:chOff x="5517924" y="749427"/>
              <a:chExt cx="1691564" cy="1610535"/>
            </a:xfrm>
          </p:grpSpPr>
          <p:sp>
            <p:nvSpPr>
              <p:cNvPr id="49" name="Freeform 48">
                <a:extLst>
                  <a:ext uri="{FF2B5EF4-FFF2-40B4-BE49-F238E27FC236}">
                    <a16:creationId xmlns:a16="http://schemas.microsoft.com/office/drawing/2014/main" id="{F7600F85-5768-EC3B-83A4-2273DAE3E1A2}"/>
                  </a:ext>
                </a:extLst>
              </p:cNvPr>
              <p:cNvSpPr/>
              <p:nvPr/>
            </p:nvSpPr>
            <p:spPr>
              <a:xfrm>
                <a:off x="5868045" y="1869155"/>
                <a:ext cx="991322" cy="490807"/>
              </a:xfrm>
              <a:custGeom>
                <a:avLst/>
                <a:gdLst>
                  <a:gd name="connsiteX0" fmla="*/ 356403 w 991322"/>
                  <a:gd name="connsiteY0" fmla="*/ 0 h 490807"/>
                  <a:gd name="connsiteX1" fmla="*/ 0 w 991322"/>
                  <a:gd name="connsiteY1" fmla="*/ 490808 h 490807"/>
                  <a:gd name="connsiteX2" fmla="*/ 991323 w 991322"/>
                  <a:gd name="connsiteY2" fmla="*/ 490808 h 490807"/>
                  <a:gd name="connsiteX3" fmla="*/ 634920 w 991322"/>
                  <a:gd name="connsiteY3" fmla="*/ 0 h 490807"/>
                  <a:gd name="connsiteX4" fmla="*/ 356403 w 991322"/>
                  <a:gd name="connsiteY4" fmla="*/ 0 h 49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22" h="490807">
                    <a:moveTo>
                      <a:pt x="356403" y="0"/>
                    </a:moveTo>
                    <a:lnTo>
                      <a:pt x="0" y="490808"/>
                    </a:lnTo>
                    <a:lnTo>
                      <a:pt x="991323" y="490808"/>
                    </a:lnTo>
                    <a:lnTo>
                      <a:pt x="634920" y="0"/>
                    </a:lnTo>
                    <a:lnTo>
                      <a:pt x="356403"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0" name="Freeform 49">
                <a:extLst>
                  <a:ext uri="{FF2B5EF4-FFF2-40B4-BE49-F238E27FC236}">
                    <a16:creationId xmlns:a16="http://schemas.microsoft.com/office/drawing/2014/main" id="{CB3B4565-756A-94F4-6C47-8BD1BB42EB11}"/>
                  </a:ext>
                </a:extLst>
              </p:cNvPr>
              <p:cNvSpPr/>
              <p:nvPr/>
            </p:nvSpPr>
            <p:spPr>
              <a:xfrm>
                <a:off x="6546378" y="1385358"/>
                <a:ext cx="663110" cy="944387"/>
              </a:xfrm>
              <a:custGeom>
                <a:avLst/>
                <a:gdLst>
                  <a:gd name="connsiteX0" fmla="*/ 0 w 663110"/>
                  <a:gd name="connsiteY0" fmla="*/ 453661 h 944387"/>
                  <a:gd name="connsiteX1" fmla="*/ 356403 w 663110"/>
                  <a:gd name="connsiteY1" fmla="*/ 944388 h 944387"/>
                  <a:gd name="connsiteX2" fmla="*/ 663111 w 663110"/>
                  <a:gd name="connsiteY2" fmla="*/ 0 h 944387"/>
                  <a:gd name="connsiteX3" fmla="*/ 86503 w 663110"/>
                  <a:gd name="connsiteY3" fmla="*/ 187427 h 944387"/>
                  <a:gd name="connsiteX4" fmla="*/ 0 w 663110"/>
                  <a:gd name="connsiteY4" fmla="*/ 453661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0" y="453661"/>
                    </a:moveTo>
                    <a:lnTo>
                      <a:pt x="356403" y="944388"/>
                    </a:lnTo>
                    <a:lnTo>
                      <a:pt x="663111" y="0"/>
                    </a:lnTo>
                    <a:lnTo>
                      <a:pt x="86503" y="187427"/>
                    </a:lnTo>
                    <a:lnTo>
                      <a:pt x="0" y="453661"/>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B3F177A6-0E01-9C20-FBFC-9378F8DAC283}"/>
                  </a:ext>
                </a:extLst>
              </p:cNvPr>
              <p:cNvSpPr/>
              <p:nvPr/>
            </p:nvSpPr>
            <p:spPr>
              <a:xfrm>
                <a:off x="6390125" y="749427"/>
                <a:ext cx="804785" cy="772431"/>
              </a:xfrm>
              <a:custGeom>
                <a:avLst/>
                <a:gdLst>
                  <a:gd name="connsiteX0" fmla="*/ 228178 w 804785"/>
                  <a:gd name="connsiteY0" fmla="*/ 772432 h 772431"/>
                  <a:gd name="connsiteX1" fmla="*/ 804786 w 804785"/>
                  <a:gd name="connsiteY1" fmla="*/ 585005 h 772431"/>
                  <a:gd name="connsiteX2" fmla="*/ 0 w 804785"/>
                  <a:gd name="connsiteY2" fmla="*/ 0 h 772431"/>
                  <a:gd name="connsiteX3" fmla="*/ 0 w 804785"/>
                  <a:gd name="connsiteY3" fmla="*/ 606600 h 772431"/>
                  <a:gd name="connsiteX4" fmla="*/ 228178 w 804785"/>
                  <a:gd name="connsiteY4" fmla="*/ 772432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228178" y="772432"/>
                    </a:moveTo>
                    <a:lnTo>
                      <a:pt x="804786" y="585005"/>
                    </a:lnTo>
                    <a:lnTo>
                      <a:pt x="0" y="0"/>
                    </a:lnTo>
                    <a:lnTo>
                      <a:pt x="0" y="606600"/>
                    </a:lnTo>
                    <a:lnTo>
                      <a:pt x="228178" y="772432"/>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3063D270-6D87-F088-7B87-6968CCCB83D6}"/>
                  </a:ext>
                </a:extLst>
              </p:cNvPr>
              <p:cNvSpPr/>
              <p:nvPr/>
            </p:nvSpPr>
            <p:spPr>
              <a:xfrm>
                <a:off x="5517924" y="1385358"/>
                <a:ext cx="663110" cy="944387"/>
              </a:xfrm>
              <a:custGeom>
                <a:avLst/>
                <a:gdLst>
                  <a:gd name="connsiteX0" fmla="*/ 576608 w 663110"/>
                  <a:gd name="connsiteY0" fmla="*/ 187427 h 944387"/>
                  <a:gd name="connsiteX1" fmla="*/ 0 w 663110"/>
                  <a:gd name="connsiteY1" fmla="*/ 0 h 944387"/>
                  <a:gd name="connsiteX2" fmla="*/ 306708 w 663110"/>
                  <a:gd name="connsiteY2" fmla="*/ 944388 h 944387"/>
                  <a:gd name="connsiteX3" fmla="*/ 663111 w 663110"/>
                  <a:gd name="connsiteY3" fmla="*/ 453661 h 944387"/>
                  <a:gd name="connsiteX4" fmla="*/ 576608 w 663110"/>
                  <a:gd name="connsiteY4" fmla="*/ 187427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576608" y="187427"/>
                    </a:moveTo>
                    <a:lnTo>
                      <a:pt x="0" y="0"/>
                    </a:lnTo>
                    <a:lnTo>
                      <a:pt x="306708" y="944388"/>
                    </a:lnTo>
                    <a:lnTo>
                      <a:pt x="663111" y="453661"/>
                    </a:lnTo>
                    <a:lnTo>
                      <a:pt x="576608" y="18742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90D87BBE-299A-DB19-240B-B8DE5E20D388}"/>
                  </a:ext>
                </a:extLst>
              </p:cNvPr>
              <p:cNvSpPr/>
              <p:nvPr/>
            </p:nvSpPr>
            <p:spPr>
              <a:xfrm>
                <a:off x="5532502" y="749427"/>
                <a:ext cx="804785" cy="772431"/>
              </a:xfrm>
              <a:custGeom>
                <a:avLst/>
                <a:gdLst>
                  <a:gd name="connsiteX0" fmla="*/ 804786 w 804785"/>
                  <a:gd name="connsiteY0" fmla="*/ 606600 h 772431"/>
                  <a:gd name="connsiteX1" fmla="*/ 804786 w 804785"/>
                  <a:gd name="connsiteY1" fmla="*/ 0 h 772431"/>
                  <a:gd name="connsiteX2" fmla="*/ 0 w 804785"/>
                  <a:gd name="connsiteY2" fmla="*/ 585005 h 772431"/>
                  <a:gd name="connsiteX3" fmla="*/ 576608 w 804785"/>
                  <a:gd name="connsiteY3" fmla="*/ 772432 h 772431"/>
                  <a:gd name="connsiteX4" fmla="*/ 804786 w 804785"/>
                  <a:gd name="connsiteY4" fmla="*/ 606600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804786" y="606600"/>
                    </a:moveTo>
                    <a:lnTo>
                      <a:pt x="804786" y="0"/>
                    </a:lnTo>
                    <a:lnTo>
                      <a:pt x="0" y="585005"/>
                    </a:lnTo>
                    <a:lnTo>
                      <a:pt x="576608" y="772432"/>
                    </a:lnTo>
                    <a:lnTo>
                      <a:pt x="804786" y="60660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55" name="Text Placeholder 49">
            <a:extLst>
              <a:ext uri="{FF2B5EF4-FFF2-40B4-BE49-F238E27FC236}">
                <a16:creationId xmlns:a16="http://schemas.microsoft.com/office/drawing/2014/main" id="{065EAEF4-DD08-DC06-4CC6-70E3A855AF9E}"/>
              </a:ext>
            </a:extLst>
          </p:cNvPr>
          <p:cNvSpPr>
            <a:spLocks noGrp="1"/>
          </p:cNvSpPr>
          <p:nvPr>
            <p:ph type="body" sz="quarter" idx="23" hasCustomPrompt="1"/>
          </p:nvPr>
        </p:nvSpPr>
        <p:spPr>
          <a:xfrm>
            <a:off x="4267200" y="5524543"/>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57" name="Text Placeholder 49">
            <a:extLst>
              <a:ext uri="{FF2B5EF4-FFF2-40B4-BE49-F238E27FC236}">
                <a16:creationId xmlns:a16="http://schemas.microsoft.com/office/drawing/2014/main" id="{D7B2150D-3C24-DF90-F494-72C8594F2027}"/>
              </a:ext>
            </a:extLst>
          </p:cNvPr>
          <p:cNvSpPr>
            <a:spLocks noGrp="1"/>
          </p:cNvSpPr>
          <p:nvPr>
            <p:ph type="body" sz="quarter" idx="25" hasCustomPrompt="1"/>
          </p:nvPr>
        </p:nvSpPr>
        <p:spPr>
          <a:xfrm>
            <a:off x="914400" y="2595382"/>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59" name="Text Placeholder 49">
            <a:extLst>
              <a:ext uri="{FF2B5EF4-FFF2-40B4-BE49-F238E27FC236}">
                <a16:creationId xmlns:a16="http://schemas.microsoft.com/office/drawing/2014/main" id="{E0192D6A-04A8-297B-1B08-F66247B573CD}"/>
              </a:ext>
            </a:extLst>
          </p:cNvPr>
          <p:cNvSpPr>
            <a:spLocks noGrp="1"/>
          </p:cNvSpPr>
          <p:nvPr>
            <p:ph type="body" sz="quarter" idx="27" hasCustomPrompt="1"/>
          </p:nvPr>
        </p:nvSpPr>
        <p:spPr>
          <a:xfrm>
            <a:off x="914400" y="4051738"/>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1" name="Text Placeholder 49">
            <a:extLst>
              <a:ext uri="{FF2B5EF4-FFF2-40B4-BE49-F238E27FC236}">
                <a16:creationId xmlns:a16="http://schemas.microsoft.com/office/drawing/2014/main" id="{4EC3D775-4734-E994-CAEC-41BE91C51517}"/>
              </a:ext>
            </a:extLst>
          </p:cNvPr>
          <p:cNvSpPr>
            <a:spLocks noGrp="1"/>
          </p:cNvSpPr>
          <p:nvPr>
            <p:ph type="body" sz="quarter" idx="29" hasCustomPrompt="1"/>
          </p:nvPr>
        </p:nvSpPr>
        <p:spPr>
          <a:xfrm>
            <a:off x="7696200" y="2595382"/>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3" name="Text Placeholder 49">
            <a:extLst>
              <a:ext uri="{FF2B5EF4-FFF2-40B4-BE49-F238E27FC236}">
                <a16:creationId xmlns:a16="http://schemas.microsoft.com/office/drawing/2014/main" id="{D2168063-C5AE-D59C-DE7C-17B224056CDD}"/>
              </a:ext>
            </a:extLst>
          </p:cNvPr>
          <p:cNvSpPr>
            <a:spLocks noGrp="1"/>
          </p:cNvSpPr>
          <p:nvPr>
            <p:ph type="body" sz="quarter" idx="31" hasCustomPrompt="1"/>
          </p:nvPr>
        </p:nvSpPr>
        <p:spPr>
          <a:xfrm>
            <a:off x="7696200" y="4051738"/>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3" name="Content Placeholder 17">
            <a:extLst>
              <a:ext uri="{FF2B5EF4-FFF2-40B4-BE49-F238E27FC236}">
                <a16:creationId xmlns:a16="http://schemas.microsoft.com/office/drawing/2014/main" id="{0F3C5750-999E-8492-E767-548AC74AC1C4}"/>
              </a:ext>
            </a:extLst>
          </p:cNvPr>
          <p:cNvSpPr>
            <a:spLocks noGrp="1"/>
          </p:cNvSpPr>
          <p:nvPr>
            <p:ph sz="quarter" idx="63"/>
          </p:nvPr>
        </p:nvSpPr>
        <p:spPr>
          <a:xfrm>
            <a:off x="9144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075E05A-D203-024D-A2A2-A35D946715BA}"/>
              </a:ext>
            </a:extLst>
          </p:cNvPr>
          <p:cNvSpPr>
            <a:spLocks noGrp="1"/>
          </p:cNvSpPr>
          <p:nvPr>
            <p:ph sz="quarter" idx="65"/>
          </p:nvPr>
        </p:nvSpPr>
        <p:spPr>
          <a:xfrm>
            <a:off x="76962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0AAA2600-1C1B-C69E-B3BA-B89A0ADAEBE4}"/>
              </a:ext>
            </a:extLst>
          </p:cNvPr>
          <p:cNvSpPr>
            <a:spLocks noGrp="1"/>
          </p:cNvSpPr>
          <p:nvPr>
            <p:ph sz="quarter" idx="66"/>
          </p:nvPr>
        </p:nvSpPr>
        <p:spPr>
          <a:xfrm>
            <a:off x="9144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F00730-FCDD-B79A-94E7-BD4AFBDB145F}"/>
              </a:ext>
            </a:extLst>
          </p:cNvPr>
          <p:cNvSpPr>
            <a:spLocks noGrp="1"/>
          </p:cNvSpPr>
          <p:nvPr>
            <p:ph sz="quarter" idx="67"/>
          </p:nvPr>
        </p:nvSpPr>
        <p:spPr>
          <a:xfrm>
            <a:off x="76962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946AC224-FDB3-4048-3D0F-EB1A4A4DF9DC}"/>
              </a:ext>
            </a:extLst>
          </p:cNvPr>
          <p:cNvSpPr>
            <a:spLocks noGrp="1"/>
          </p:cNvSpPr>
          <p:nvPr>
            <p:ph sz="quarter" idx="68"/>
          </p:nvPr>
        </p:nvSpPr>
        <p:spPr>
          <a:xfrm>
            <a:off x="4267200" y="58674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419652973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Six point hex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Six points - hex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529A6C24-BAAB-0684-EBE2-6759201829BB}"/>
              </a:ext>
            </a:extLst>
          </p:cNvPr>
          <p:cNvGrpSpPr/>
          <p:nvPr/>
        </p:nvGrpSpPr>
        <p:grpSpPr>
          <a:xfrm>
            <a:off x="815975" y="2337351"/>
            <a:ext cx="10620375" cy="3331825"/>
            <a:chOff x="815975" y="2032551"/>
            <a:chExt cx="10620375" cy="3331825"/>
          </a:xfrm>
        </p:grpSpPr>
        <p:cxnSp>
          <p:nvCxnSpPr>
            <p:cNvPr id="56" name="Straight Connector 55">
              <a:extLst>
                <a:ext uri="{FF2B5EF4-FFF2-40B4-BE49-F238E27FC236}">
                  <a16:creationId xmlns:a16="http://schemas.microsoft.com/office/drawing/2014/main" id="{84549077-8C63-7ADD-8836-74348AB7C9B1}"/>
                </a:ext>
              </a:extLst>
            </p:cNvPr>
            <p:cNvCxnSpPr>
              <a:cxnSpLocks/>
            </p:cNvCxnSpPr>
            <p:nvPr/>
          </p:nvCxnSpPr>
          <p:spPr>
            <a:xfrm flipV="1">
              <a:off x="6125454" y="2032551"/>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0B41AAA-CBBE-6DFA-984F-71E63893EFC9}"/>
                </a:ext>
              </a:extLst>
            </p:cNvPr>
            <p:cNvCxnSpPr>
              <a:cxnSpLocks/>
            </p:cNvCxnSpPr>
            <p:nvPr/>
          </p:nvCxnSpPr>
          <p:spPr>
            <a:xfrm>
              <a:off x="6995461" y="297749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A28389-8E31-2964-B966-7D40D456A575}"/>
                </a:ext>
              </a:extLst>
            </p:cNvPr>
            <p:cNvCxnSpPr>
              <a:cxnSpLocks/>
            </p:cNvCxnSpPr>
            <p:nvPr/>
          </p:nvCxnSpPr>
          <p:spPr>
            <a:xfrm flipH="1">
              <a:off x="815975" y="296346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CA30902-AB6E-3782-F9D4-4F41087E663B}"/>
                </a:ext>
              </a:extLst>
            </p:cNvPr>
            <p:cNvCxnSpPr>
              <a:cxnSpLocks/>
            </p:cNvCxnSpPr>
            <p:nvPr/>
          </p:nvCxnSpPr>
          <p:spPr>
            <a:xfrm>
              <a:off x="6145778" y="4268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6C31BE-013C-8689-C9DB-6BDA3EE6E339}"/>
                </a:ext>
              </a:extLst>
            </p:cNvPr>
            <p:cNvCxnSpPr>
              <a:cxnSpLocks/>
            </p:cNvCxnSpPr>
            <p:nvPr/>
          </p:nvCxnSpPr>
          <p:spPr>
            <a:xfrm>
              <a:off x="6995461" y="44095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BB17F0-0023-5B1E-E111-1BD43FF4F82A}"/>
                </a:ext>
              </a:extLst>
            </p:cNvPr>
            <p:cNvCxnSpPr>
              <a:cxnSpLocks/>
            </p:cNvCxnSpPr>
            <p:nvPr/>
          </p:nvCxnSpPr>
          <p:spPr>
            <a:xfrm flipH="1">
              <a:off x="815975" y="43955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5C5DA5BD-5C15-9FA7-6A21-DE4BCDEEBCC7}"/>
                </a:ext>
              </a:extLst>
            </p:cNvPr>
            <p:cNvGrpSpPr/>
            <p:nvPr/>
          </p:nvGrpSpPr>
          <p:grpSpPr>
            <a:xfrm>
              <a:off x="4561708" y="2277806"/>
              <a:ext cx="3168140" cy="2782036"/>
              <a:chOff x="7397879" y="730250"/>
              <a:chExt cx="1866261" cy="1638818"/>
            </a:xfrm>
          </p:grpSpPr>
          <p:sp>
            <p:nvSpPr>
              <p:cNvPr id="50" name="Freeform 49">
                <a:extLst>
                  <a:ext uri="{FF2B5EF4-FFF2-40B4-BE49-F238E27FC236}">
                    <a16:creationId xmlns:a16="http://schemas.microsoft.com/office/drawing/2014/main" id="{BF7E2AB7-E273-7D11-FF1E-686D88BB8DA2}"/>
                  </a:ext>
                </a:extLst>
              </p:cNvPr>
              <p:cNvSpPr/>
              <p:nvPr/>
            </p:nvSpPr>
            <p:spPr>
              <a:xfrm>
                <a:off x="8502365" y="752167"/>
                <a:ext cx="753882" cy="765743"/>
              </a:xfrm>
              <a:custGeom>
                <a:avLst/>
                <a:gdLst>
                  <a:gd name="connsiteX0" fmla="*/ 127258 w 753882"/>
                  <a:gd name="connsiteY0" fmla="*/ 765744 h 765743"/>
                  <a:gd name="connsiteX1" fmla="*/ 753882 w 753882"/>
                  <a:gd name="connsiteY1" fmla="*/ 764213 h 765743"/>
                  <a:gd name="connsiteX2" fmla="*/ 312909 w 753882"/>
                  <a:gd name="connsiteY2" fmla="*/ 0 h 765743"/>
                  <a:gd name="connsiteX3" fmla="*/ 0 w 753882"/>
                  <a:gd name="connsiteY3" fmla="*/ 545199 h 765743"/>
                  <a:gd name="connsiteX4" fmla="*/ 127258 w 753882"/>
                  <a:gd name="connsiteY4" fmla="*/ 765744 h 76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882" h="765743">
                    <a:moveTo>
                      <a:pt x="127258" y="765744"/>
                    </a:moveTo>
                    <a:lnTo>
                      <a:pt x="753882" y="764213"/>
                    </a:lnTo>
                    <a:lnTo>
                      <a:pt x="312909" y="0"/>
                    </a:lnTo>
                    <a:lnTo>
                      <a:pt x="0" y="545199"/>
                    </a:lnTo>
                    <a:lnTo>
                      <a:pt x="127258" y="765744"/>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DB611C49-D140-F25F-F43F-56E0012052A1}"/>
                  </a:ext>
                </a:extLst>
              </p:cNvPr>
              <p:cNvSpPr/>
              <p:nvPr/>
            </p:nvSpPr>
            <p:spPr>
              <a:xfrm>
                <a:off x="7400617" y="756679"/>
                <a:ext cx="755573" cy="764212"/>
              </a:xfrm>
              <a:custGeom>
                <a:avLst/>
                <a:gdLst>
                  <a:gd name="connsiteX0" fmla="*/ 755574 w 755573"/>
                  <a:gd name="connsiteY0" fmla="*/ 542137 h 764212"/>
                  <a:gd name="connsiteX1" fmla="*/ 440973 w 755573"/>
                  <a:gd name="connsiteY1" fmla="*/ 0 h 764212"/>
                  <a:gd name="connsiteX2" fmla="*/ 0 w 755573"/>
                  <a:gd name="connsiteY2" fmla="*/ 764213 h 764212"/>
                  <a:gd name="connsiteX3" fmla="*/ 628316 w 755573"/>
                  <a:gd name="connsiteY3" fmla="*/ 762682 h 764212"/>
                  <a:gd name="connsiteX4" fmla="*/ 755574 w 755573"/>
                  <a:gd name="connsiteY4" fmla="*/ 542137 h 764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573" h="764212">
                    <a:moveTo>
                      <a:pt x="755574" y="542137"/>
                    </a:moveTo>
                    <a:lnTo>
                      <a:pt x="440973" y="0"/>
                    </a:lnTo>
                    <a:lnTo>
                      <a:pt x="0" y="764213"/>
                    </a:lnTo>
                    <a:lnTo>
                      <a:pt x="628316" y="762682"/>
                    </a:lnTo>
                    <a:lnTo>
                      <a:pt x="755574" y="54213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9A3FD2F2-AC0C-F3EA-5956-6E969BC4963B}"/>
                  </a:ext>
                </a:extLst>
              </p:cNvPr>
              <p:cNvSpPr/>
              <p:nvPr/>
            </p:nvSpPr>
            <p:spPr>
              <a:xfrm>
                <a:off x="7887338" y="1825401"/>
                <a:ext cx="890000" cy="543667"/>
              </a:xfrm>
              <a:custGeom>
                <a:avLst/>
                <a:gdLst>
                  <a:gd name="connsiteX0" fmla="*/ 312024 w 890000"/>
                  <a:gd name="connsiteY0" fmla="*/ 0 h 543667"/>
                  <a:gd name="connsiteX1" fmla="*/ 0 w 890000"/>
                  <a:gd name="connsiteY1" fmla="*/ 543668 h 543667"/>
                  <a:gd name="connsiteX2" fmla="*/ 890000 w 890000"/>
                  <a:gd name="connsiteY2" fmla="*/ 543668 h 543667"/>
                  <a:gd name="connsiteX3" fmla="*/ 574513 w 890000"/>
                  <a:gd name="connsiteY3" fmla="*/ 0 h 543667"/>
                  <a:gd name="connsiteX4" fmla="*/ 312024 w 890000"/>
                  <a:gd name="connsiteY4" fmla="*/ 0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00" h="543667">
                    <a:moveTo>
                      <a:pt x="312024" y="0"/>
                    </a:moveTo>
                    <a:lnTo>
                      <a:pt x="0" y="543668"/>
                    </a:lnTo>
                    <a:lnTo>
                      <a:pt x="890000" y="543668"/>
                    </a:lnTo>
                    <a:lnTo>
                      <a:pt x="574513" y="0"/>
                    </a:lnTo>
                    <a:lnTo>
                      <a:pt x="312024" y="0"/>
                    </a:lnTo>
                    <a:close/>
                  </a:path>
                </a:pathLst>
              </a:custGeom>
              <a:solidFill>
                <a:schemeClr val="accent5"/>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71D90DE7-F2BF-D3B6-8ABA-753BB64C7217}"/>
                  </a:ext>
                </a:extLst>
              </p:cNvPr>
              <p:cNvSpPr/>
              <p:nvPr/>
            </p:nvSpPr>
            <p:spPr>
              <a:xfrm>
                <a:off x="7887419" y="730250"/>
                <a:ext cx="879449" cy="543667"/>
              </a:xfrm>
              <a:custGeom>
                <a:avLst/>
                <a:gdLst>
                  <a:gd name="connsiteX0" fmla="*/ 567426 w 879449"/>
                  <a:gd name="connsiteY0" fmla="*/ 543668 h 543667"/>
                  <a:gd name="connsiteX1" fmla="*/ 879449 w 879449"/>
                  <a:gd name="connsiteY1" fmla="*/ 0 h 543667"/>
                  <a:gd name="connsiteX2" fmla="*/ 0 w 879449"/>
                  <a:gd name="connsiteY2" fmla="*/ 0 h 543667"/>
                  <a:gd name="connsiteX3" fmla="*/ 315487 w 879449"/>
                  <a:gd name="connsiteY3" fmla="*/ 543668 h 543667"/>
                  <a:gd name="connsiteX4" fmla="*/ 567426 w 879449"/>
                  <a:gd name="connsiteY4" fmla="*/ 543668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449" h="543667">
                    <a:moveTo>
                      <a:pt x="567426" y="543668"/>
                    </a:moveTo>
                    <a:lnTo>
                      <a:pt x="879449" y="0"/>
                    </a:lnTo>
                    <a:lnTo>
                      <a:pt x="0" y="0"/>
                    </a:lnTo>
                    <a:lnTo>
                      <a:pt x="315487" y="543668"/>
                    </a:lnTo>
                    <a:lnTo>
                      <a:pt x="567426" y="543668"/>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4" name="Freeform 53">
                <a:extLst>
                  <a:ext uri="{FF2B5EF4-FFF2-40B4-BE49-F238E27FC236}">
                    <a16:creationId xmlns:a16="http://schemas.microsoft.com/office/drawing/2014/main" id="{5416BCBB-81E0-E746-F180-1105A68A77D8}"/>
                  </a:ext>
                </a:extLst>
              </p:cNvPr>
              <p:cNvSpPr/>
              <p:nvPr/>
            </p:nvSpPr>
            <p:spPr>
              <a:xfrm>
                <a:off x="7397879" y="1572302"/>
                <a:ext cx="756540" cy="770256"/>
              </a:xfrm>
              <a:custGeom>
                <a:avLst/>
                <a:gdLst>
                  <a:gd name="connsiteX0" fmla="*/ 626625 w 756540"/>
                  <a:gd name="connsiteY0" fmla="*/ 0 h 770256"/>
                  <a:gd name="connsiteX1" fmla="*/ 0 w 756540"/>
                  <a:gd name="connsiteY1" fmla="*/ 1531 h 770256"/>
                  <a:gd name="connsiteX2" fmla="*/ 443711 w 756540"/>
                  <a:gd name="connsiteY2" fmla="*/ 770256 h 770256"/>
                  <a:gd name="connsiteX3" fmla="*/ 756540 w 756540"/>
                  <a:gd name="connsiteY3" fmla="*/ 225138 h 770256"/>
                  <a:gd name="connsiteX4" fmla="*/ 626625 w 756540"/>
                  <a:gd name="connsiteY4" fmla="*/ 0 h 77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540" h="770256">
                    <a:moveTo>
                      <a:pt x="626625" y="0"/>
                    </a:moveTo>
                    <a:lnTo>
                      <a:pt x="0" y="1531"/>
                    </a:lnTo>
                    <a:lnTo>
                      <a:pt x="443711" y="770256"/>
                    </a:lnTo>
                    <a:lnTo>
                      <a:pt x="756540" y="225138"/>
                    </a:lnTo>
                    <a:lnTo>
                      <a:pt x="626625" y="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5" name="Freeform 54">
                <a:extLst>
                  <a:ext uri="{FF2B5EF4-FFF2-40B4-BE49-F238E27FC236}">
                    <a16:creationId xmlns:a16="http://schemas.microsoft.com/office/drawing/2014/main" id="{EF22FEBA-171F-5F35-FF8B-AEA93595A3A0}"/>
                  </a:ext>
                </a:extLst>
              </p:cNvPr>
              <p:cNvSpPr/>
              <p:nvPr/>
            </p:nvSpPr>
            <p:spPr>
              <a:xfrm>
                <a:off x="8505828" y="1569240"/>
                <a:ext cx="758312" cy="768805"/>
              </a:xfrm>
              <a:custGeom>
                <a:avLst/>
                <a:gdLst>
                  <a:gd name="connsiteX0" fmla="*/ 0 w 758312"/>
                  <a:gd name="connsiteY0" fmla="*/ 226669 h 768805"/>
                  <a:gd name="connsiteX1" fmla="*/ 314682 w 758312"/>
                  <a:gd name="connsiteY1" fmla="*/ 768806 h 768805"/>
                  <a:gd name="connsiteX2" fmla="*/ 758312 w 758312"/>
                  <a:gd name="connsiteY2" fmla="*/ 0 h 768805"/>
                  <a:gd name="connsiteX3" fmla="*/ 129916 w 758312"/>
                  <a:gd name="connsiteY3" fmla="*/ 1531 h 768805"/>
                  <a:gd name="connsiteX4" fmla="*/ 0 w 758312"/>
                  <a:gd name="connsiteY4" fmla="*/ 226669 h 768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12" h="768805">
                    <a:moveTo>
                      <a:pt x="0" y="226669"/>
                    </a:moveTo>
                    <a:lnTo>
                      <a:pt x="314682" y="768806"/>
                    </a:lnTo>
                    <a:lnTo>
                      <a:pt x="758312" y="0"/>
                    </a:lnTo>
                    <a:lnTo>
                      <a:pt x="129916" y="1531"/>
                    </a:lnTo>
                    <a:lnTo>
                      <a:pt x="0" y="226669"/>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60" name="Text Placeholder 49">
            <a:extLst>
              <a:ext uri="{FF2B5EF4-FFF2-40B4-BE49-F238E27FC236}">
                <a16:creationId xmlns:a16="http://schemas.microsoft.com/office/drawing/2014/main" id="{1A3EB3BA-2E32-CE01-73B6-7B1747104B14}"/>
              </a:ext>
            </a:extLst>
          </p:cNvPr>
          <p:cNvSpPr>
            <a:spLocks noGrp="1"/>
          </p:cNvSpPr>
          <p:nvPr>
            <p:ph type="body" sz="quarter" idx="25" hasCustomPrompt="1"/>
          </p:nvPr>
        </p:nvSpPr>
        <p:spPr>
          <a:xfrm>
            <a:off x="914400" y="2992363"/>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2" name="Text Placeholder 49">
            <a:extLst>
              <a:ext uri="{FF2B5EF4-FFF2-40B4-BE49-F238E27FC236}">
                <a16:creationId xmlns:a16="http://schemas.microsoft.com/office/drawing/2014/main" id="{A67F4953-ED25-FC75-A20A-7F3BC4396EF0}"/>
              </a:ext>
            </a:extLst>
          </p:cNvPr>
          <p:cNvSpPr>
            <a:spLocks noGrp="1"/>
          </p:cNvSpPr>
          <p:nvPr>
            <p:ph type="body" sz="quarter" idx="27" hasCustomPrompt="1"/>
          </p:nvPr>
        </p:nvSpPr>
        <p:spPr>
          <a:xfrm>
            <a:off x="914400" y="4448719"/>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64" name="Text Placeholder 49">
            <a:extLst>
              <a:ext uri="{FF2B5EF4-FFF2-40B4-BE49-F238E27FC236}">
                <a16:creationId xmlns:a16="http://schemas.microsoft.com/office/drawing/2014/main" id="{00C17830-FBA9-2FD8-515E-EEAB08573018}"/>
              </a:ext>
            </a:extLst>
          </p:cNvPr>
          <p:cNvSpPr>
            <a:spLocks noGrp="1"/>
          </p:cNvSpPr>
          <p:nvPr>
            <p:ph type="body" sz="quarter" idx="29" hasCustomPrompt="1"/>
          </p:nvPr>
        </p:nvSpPr>
        <p:spPr>
          <a:xfrm>
            <a:off x="7696200" y="2992363"/>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6" name="Text Placeholder 49">
            <a:extLst>
              <a:ext uri="{FF2B5EF4-FFF2-40B4-BE49-F238E27FC236}">
                <a16:creationId xmlns:a16="http://schemas.microsoft.com/office/drawing/2014/main" id="{C224497E-4393-BB1D-F792-E204F622C57B}"/>
              </a:ext>
            </a:extLst>
          </p:cNvPr>
          <p:cNvSpPr>
            <a:spLocks noGrp="1"/>
          </p:cNvSpPr>
          <p:nvPr>
            <p:ph type="body" sz="quarter" idx="31" hasCustomPrompt="1"/>
          </p:nvPr>
        </p:nvSpPr>
        <p:spPr>
          <a:xfrm>
            <a:off x="7696200" y="4448719"/>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68" name="Text Placeholder 49">
            <a:extLst>
              <a:ext uri="{FF2B5EF4-FFF2-40B4-BE49-F238E27FC236}">
                <a16:creationId xmlns:a16="http://schemas.microsoft.com/office/drawing/2014/main" id="{53EE0B44-7239-F56A-C82D-9B26C7A3DD48}"/>
              </a:ext>
            </a:extLst>
          </p:cNvPr>
          <p:cNvSpPr>
            <a:spLocks noGrp="1"/>
          </p:cNvSpPr>
          <p:nvPr>
            <p:ph type="body" sz="quarter" idx="33" hasCustomPrompt="1"/>
          </p:nvPr>
        </p:nvSpPr>
        <p:spPr>
          <a:xfrm>
            <a:off x="4297362" y="5773793"/>
            <a:ext cx="3657600" cy="282497"/>
          </a:xfrm>
        </p:spPr>
        <p:txBody>
          <a:bodyPr>
            <a:normAutofit/>
          </a:bodyPr>
          <a:lstStyle>
            <a:lvl1pPr marL="0" indent="0" algn="ctr">
              <a:buNone/>
              <a:defRPr sz="1400" b="1">
                <a:solidFill>
                  <a:schemeClr val="accent4">
                    <a:lumMod val="40000"/>
                    <a:lumOff val="60000"/>
                  </a:schemeClr>
                </a:solidFill>
              </a:defRPr>
            </a:lvl1pPr>
          </a:lstStyle>
          <a:p>
            <a:pPr lvl="0"/>
            <a:r>
              <a:rPr lang="en-US"/>
              <a:t>Lorem ipsum dolor</a:t>
            </a:r>
          </a:p>
        </p:txBody>
      </p:sp>
      <p:sp>
        <p:nvSpPr>
          <p:cNvPr id="70" name="Text Placeholder 49">
            <a:extLst>
              <a:ext uri="{FF2B5EF4-FFF2-40B4-BE49-F238E27FC236}">
                <a16:creationId xmlns:a16="http://schemas.microsoft.com/office/drawing/2014/main" id="{65E30090-D797-F8A4-3DAA-BF62BEC39ECA}"/>
              </a:ext>
            </a:extLst>
          </p:cNvPr>
          <p:cNvSpPr>
            <a:spLocks noGrp="1"/>
          </p:cNvSpPr>
          <p:nvPr>
            <p:ph type="body" sz="quarter" idx="35" hasCustomPrompt="1"/>
          </p:nvPr>
        </p:nvSpPr>
        <p:spPr>
          <a:xfrm>
            <a:off x="4297362" y="1676400"/>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3" name="Content Placeholder 17">
            <a:extLst>
              <a:ext uri="{FF2B5EF4-FFF2-40B4-BE49-F238E27FC236}">
                <a16:creationId xmlns:a16="http://schemas.microsoft.com/office/drawing/2014/main" id="{8018D6FB-84B8-6656-1958-EC93B6BB6A81}"/>
              </a:ext>
            </a:extLst>
          </p:cNvPr>
          <p:cNvSpPr>
            <a:spLocks noGrp="1"/>
          </p:cNvSpPr>
          <p:nvPr>
            <p:ph sz="quarter" idx="63"/>
          </p:nvPr>
        </p:nvSpPr>
        <p:spPr>
          <a:xfrm>
            <a:off x="9144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39F294F-4697-EA60-326C-0313625DD9E4}"/>
              </a:ext>
            </a:extLst>
          </p:cNvPr>
          <p:cNvSpPr>
            <a:spLocks noGrp="1"/>
          </p:cNvSpPr>
          <p:nvPr>
            <p:ph sz="quarter" idx="65"/>
          </p:nvPr>
        </p:nvSpPr>
        <p:spPr>
          <a:xfrm>
            <a:off x="76962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E4EF4A07-04A9-4C41-85C0-9AAEA2AA9F79}"/>
              </a:ext>
            </a:extLst>
          </p:cNvPr>
          <p:cNvSpPr>
            <a:spLocks noGrp="1"/>
          </p:cNvSpPr>
          <p:nvPr>
            <p:ph sz="quarter" idx="66"/>
          </p:nvPr>
        </p:nvSpPr>
        <p:spPr>
          <a:xfrm>
            <a:off x="9144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8C45EF-EC43-18A8-EFCC-A3D16F4BD3BC}"/>
              </a:ext>
            </a:extLst>
          </p:cNvPr>
          <p:cNvSpPr>
            <a:spLocks noGrp="1"/>
          </p:cNvSpPr>
          <p:nvPr>
            <p:ph sz="quarter" idx="67"/>
          </p:nvPr>
        </p:nvSpPr>
        <p:spPr>
          <a:xfrm>
            <a:off x="76962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BE020CF3-9BAB-B221-CD07-5F51CBC44D0D}"/>
              </a:ext>
            </a:extLst>
          </p:cNvPr>
          <p:cNvSpPr>
            <a:spLocks noGrp="1"/>
          </p:cNvSpPr>
          <p:nvPr>
            <p:ph sz="quarter" idx="68"/>
          </p:nvPr>
        </p:nvSpPr>
        <p:spPr>
          <a:xfrm>
            <a:off x="4297362" y="19812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9" name="Content Placeholder 17">
            <a:extLst>
              <a:ext uri="{FF2B5EF4-FFF2-40B4-BE49-F238E27FC236}">
                <a16:creationId xmlns:a16="http://schemas.microsoft.com/office/drawing/2014/main" id="{65A92143-8E2C-FEB0-63C4-184A9BF6D99D}"/>
              </a:ext>
            </a:extLst>
          </p:cNvPr>
          <p:cNvSpPr>
            <a:spLocks noGrp="1"/>
          </p:cNvSpPr>
          <p:nvPr>
            <p:ph sz="quarter" idx="69"/>
          </p:nvPr>
        </p:nvSpPr>
        <p:spPr>
          <a:xfrm>
            <a:off x="4297362" y="60960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426550558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1_Thank you layout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839025" y="1391950"/>
            <a:ext cx="10393300" cy="1015663"/>
          </a:xfrm>
          <a:prstGeom prst="rect">
            <a:avLst/>
          </a:prstGeom>
        </p:spPr>
        <p:txBody>
          <a:bodyPr wrap="square" anchor="ctr">
            <a:spAutoFit/>
          </a:bodyPr>
          <a:lstStyle>
            <a:lvl1pPr marL="0" indent="0">
              <a:buNone/>
              <a:defRPr sz="6600" b="0" cap="none" baseline="0">
                <a:solidFill>
                  <a:schemeClr val="tx2"/>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68442" y="650876"/>
            <a:ext cx="1232678" cy="518322"/>
          </a:xfrm>
          <a:prstGeom prst="rect">
            <a:avLst/>
          </a:prstGeom>
        </p:spPr>
      </p:pic>
      <p:sp>
        <p:nvSpPr>
          <p:cNvPr id="5" name="Text Placeholder 4">
            <a:extLst>
              <a:ext uri="{FF2B5EF4-FFF2-40B4-BE49-F238E27FC236}">
                <a16:creationId xmlns:a16="http://schemas.microsoft.com/office/drawing/2014/main" id="{3EEB8C43-C848-DE90-1566-2D3E4C5123AB}"/>
              </a:ext>
            </a:extLst>
          </p:cNvPr>
          <p:cNvSpPr>
            <a:spLocks noGrp="1"/>
          </p:cNvSpPr>
          <p:nvPr>
            <p:ph type="body" sz="quarter" idx="11" hasCustomPrompt="1"/>
          </p:nvPr>
        </p:nvSpPr>
        <p:spPr>
          <a:xfrm>
            <a:off x="932797" y="2842932"/>
            <a:ext cx="8065706" cy="355854"/>
          </a:xfrm>
        </p:spPr>
        <p:txBody>
          <a:bodyPr anchor="ctr"/>
          <a:lstStyle>
            <a:lvl1pPr marL="0" indent="0">
              <a:buNone/>
              <a:defRPr b="1">
                <a:solidFill>
                  <a:schemeClr val="bg1"/>
                </a:solidFill>
              </a:defRPr>
            </a:lvl1pPr>
          </a:lstStyle>
          <a:p>
            <a:pPr lvl="0"/>
            <a:r>
              <a:rPr lang="en-US"/>
              <a:t>Name</a:t>
            </a:r>
          </a:p>
        </p:txBody>
      </p:sp>
      <p:sp>
        <p:nvSpPr>
          <p:cNvPr id="6" name="Text Placeholder 4">
            <a:extLst>
              <a:ext uri="{FF2B5EF4-FFF2-40B4-BE49-F238E27FC236}">
                <a16:creationId xmlns:a16="http://schemas.microsoft.com/office/drawing/2014/main" id="{8041476A-8FF9-4034-8FB0-F3D7A6A135EC}"/>
              </a:ext>
            </a:extLst>
          </p:cNvPr>
          <p:cNvSpPr>
            <a:spLocks noGrp="1"/>
          </p:cNvSpPr>
          <p:nvPr>
            <p:ph type="body" sz="quarter" idx="12" hasCustomPrompt="1"/>
          </p:nvPr>
        </p:nvSpPr>
        <p:spPr>
          <a:xfrm>
            <a:off x="920605" y="3315372"/>
            <a:ext cx="8065706" cy="355854"/>
          </a:xfrm>
        </p:spPr>
        <p:txBody>
          <a:bodyPr anchor="ctr"/>
          <a:lstStyle>
            <a:lvl1pPr marL="0" indent="0">
              <a:buNone/>
              <a:defRPr>
                <a:solidFill>
                  <a:schemeClr val="bg1"/>
                </a:solidFill>
              </a:defRPr>
            </a:lvl1pPr>
          </a:lstStyle>
          <a:p>
            <a:pPr lvl="0"/>
            <a:r>
              <a:rPr lang="en-US"/>
              <a:t>Title</a:t>
            </a:r>
          </a:p>
        </p:txBody>
      </p:sp>
      <p:sp>
        <p:nvSpPr>
          <p:cNvPr id="8" name="Text Placeholder 4">
            <a:extLst>
              <a:ext uri="{FF2B5EF4-FFF2-40B4-BE49-F238E27FC236}">
                <a16:creationId xmlns:a16="http://schemas.microsoft.com/office/drawing/2014/main" id="{C15B972D-114C-6199-6A8D-0BF0E48C2C11}"/>
              </a:ext>
            </a:extLst>
          </p:cNvPr>
          <p:cNvSpPr>
            <a:spLocks noGrp="1"/>
          </p:cNvSpPr>
          <p:nvPr>
            <p:ph type="body" sz="quarter" idx="13" hasCustomPrompt="1"/>
          </p:nvPr>
        </p:nvSpPr>
        <p:spPr>
          <a:xfrm>
            <a:off x="908413" y="3742092"/>
            <a:ext cx="8065706" cy="736854"/>
          </a:xfrm>
        </p:spPr>
        <p:txBody>
          <a:bodyPr anchor="ctr"/>
          <a:lstStyle>
            <a:lvl1pPr marL="0" indent="0">
              <a:buNone/>
              <a:defRPr>
                <a:solidFill>
                  <a:schemeClr val="bg1"/>
                </a:solidFill>
              </a:defRPr>
            </a:lvl1pPr>
          </a:lstStyle>
          <a:p>
            <a:pPr lvl="0"/>
            <a:r>
              <a:rPr lang="en-US"/>
              <a:t>Address Line 1</a:t>
            </a:r>
          </a:p>
          <a:p>
            <a:pPr lvl="0"/>
            <a:r>
              <a:rPr lang="en-US"/>
              <a:t>Address Line 2</a:t>
            </a:r>
          </a:p>
        </p:txBody>
      </p:sp>
      <p:sp>
        <p:nvSpPr>
          <p:cNvPr id="10" name="Text Placeholder 4">
            <a:extLst>
              <a:ext uri="{FF2B5EF4-FFF2-40B4-BE49-F238E27FC236}">
                <a16:creationId xmlns:a16="http://schemas.microsoft.com/office/drawing/2014/main" id="{4E3DDED4-B3C0-E201-4CAB-7178200F3015}"/>
              </a:ext>
            </a:extLst>
          </p:cNvPr>
          <p:cNvSpPr>
            <a:spLocks noGrp="1"/>
          </p:cNvSpPr>
          <p:nvPr>
            <p:ph type="body" sz="quarter" idx="14" hasCustomPrompt="1"/>
          </p:nvPr>
        </p:nvSpPr>
        <p:spPr>
          <a:xfrm>
            <a:off x="902317" y="4558956"/>
            <a:ext cx="8065706" cy="355854"/>
          </a:xfrm>
        </p:spPr>
        <p:txBody>
          <a:bodyPr anchor="ctr"/>
          <a:lstStyle>
            <a:lvl1pPr marL="0" indent="0">
              <a:buNone/>
              <a:defRPr>
                <a:solidFill>
                  <a:schemeClr val="bg1"/>
                </a:solidFill>
              </a:defRPr>
            </a:lvl1pPr>
          </a:lstStyle>
          <a:p>
            <a:pPr lvl="0"/>
            <a:r>
              <a:rPr lang="en-US"/>
              <a:t>Cell</a:t>
            </a:r>
          </a:p>
        </p:txBody>
      </p:sp>
      <p:sp>
        <p:nvSpPr>
          <p:cNvPr id="11" name="Text Placeholder 4">
            <a:extLst>
              <a:ext uri="{FF2B5EF4-FFF2-40B4-BE49-F238E27FC236}">
                <a16:creationId xmlns:a16="http://schemas.microsoft.com/office/drawing/2014/main" id="{A1A10785-2503-6F3A-998A-965A0E2EC2C4}"/>
              </a:ext>
            </a:extLst>
          </p:cNvPr>
          <p:cNvSpPr>
            <a:spLocks noGrp="1"/>
          </p:cNvSpPr>
          <p:nvPr>
            <p:ph type="body" sz="quarter" idx="15" hasCustomPrompt="1"/>
          </p:nvPr>
        </p:nvSpPr>
        <p:spPr>
          <a:xfrm>
            <a:off x="890125" y="5031396"/>
            <a:ext cx="8065706" cy="355854"/>
          </a:xfrm>
        </p:spPr>
        <p:txBody>
          <a:bodyPr anchor="ctr"/>
          <a:lstStyle>
            <a:lvl1pPr marL="0" indent="0">
              <a:buNone/>
              <a:defRPr>
                <a:solidFill>
                  <a:schemeClr val="bg1"/>
                </a:solidFill>
              </a:defRPr>
            </a:lvl1pPr>
          </a:lstStyle>
          <a:p>
            <a:pPr lvl="0"/>
            <a:r>
              <a:rPr lang="en-US"/>
              <a:t>Email</a:t>
            </a:r>
          </a:p>
        </p:txBody>
      </p:sp>
      <p:pic>
        <p:nvPicPr>
          <p:cNvPr id="9" name="Graphic 8">
            <a:extLst>
              <a:ext uri="{FF2B5EF4-FFF2-40B4-BE49-F238E27FC236}">
                <a16:creationId xmlns:a16="http://schemas.microsoft.com/office/drawing/2014/main" id="{4777379C-2BE8-9CB4-109E-C35E6670B9C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49" y="18981"/>
            <a:ext cx="12188351" cy="6839019"/>
          </a:xfrm>
          <a:prstGeom prst="rect">
            <a:avLst/>
          </a:prstGeom>
        </p:spPr>
      </p:pic>
    </p:spTree>
    <p:extLst>
      <p:ext uri="{BB962C8B-B14F-4D97-AF65-F5344CB8AC3E}">
        <p14:creationId xmlns:p14="http://schemas.microsoft.com/office/powerpoint/2010/main" val="62183387"/>
      </p:ext>
    </p:extLst>
  </p:cSld>
  <p:clrMapOvr>
    <a:masterClrMapping/>
  </p:clrMapOvr>
  <p:extLst>
    <p:ext uri="{DCECCB84-F9BA-43D5-87BE-67443E8EF086}">
      <p15:sldGuideLst xmlns:p15="http://schemas.microsoft.com/office/powerpoint/2012/main"/>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hank you layout 2">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2311187413"/>
      </p:ext>
    </p:extLst>
  </p:cSld>
  <p:clrMapOvr>
    <a:masterClrMapping/>
  </p:clrMapOvr>
  <p:extLst>
    <p:ext uri="{DCECCB84-F9BA-43D5-87BE-67443E8EF086}">
      <p15:sldGuideLst xmlns:p15="http://schemas.microsoft.com/office/powerpoint/2012/main"/>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p:cSld name="1_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a:t>
            </a:r>
            <a:r>
              <a:rPr lang="en-US" sz="800" err="1">
                <a:solidFill>
                  <a:schemeClr val="bg1"/>
                </a:solidFill>
                <a:latin typeface="Arial" panose="020B0604020202020204" pitchFamily="34" charset="0"/>
                <a:cs typeface="Arial" panose="020B0604020202020204" pitchFamily="34" charset="0"/>
              </a:rPr>
              <a:t>rsmus.com</a:t>
            </a:r>
            <a:r>
              <a:rPr lang="en-US" sz="800">
                <a:solidFill>
                  <a:schemeClr val="bg1"/>
                </a:solidFill>
                <a:latin typeface="Arial" panose="020B0604020202020204" pitchFamily="34" charset="0"/>
                <a:cs typeface="Arial" panose="020B0604020202020204" pitchFamily="34" charset="0"/>
              </a:rPr>
              <a:t>/</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4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4" name="Graphic 3">
            <a:extLst>
              <a:ext uri="{FF2B5EF4-FFF2-40B4-BE49-F238E27FC236}">
                <a16:creationId xmlns:a16="http://schemas.microsoft.com/office/drawing/2014/main" id="{CBA31D15-6615-B25D-66EC-476A1ED3F4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960" y="4343400"/>
            <a:ext cx="2264219" cy="273593"/>
          </a:xfrm>
          <a:prstGeom prst="rect">
            <a:avLst/>
          </a:prstGeom>
        </p:spPr>
      </p:pic>
    </p:spTree>
    <p:extLst>
      <p:ext uri="{BB962C8B-B14F-4D97-AF65-F5344CB8AC3E}">
        <p14:creationId xmlns:p14="http://schemas.microsoft.com/office/powerpoint/2010/main" val="1109153031"/>
      </p:ext>
    </p:extLst>
  </p:cSld>
  <p:clrMapOvr>
    <a:masterClrMapping/>
  </p:clrMapOvr>
  <p:extLst>
    <p:ext uri="{DCECCB84-F9BA-43D5-87BE-67443E8EF086}">
      <p15:sldGuideLst xmlns:p15="http://schemas.microsoft.com/office/powerpoint/2012/main"/>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matchingName="Agenda, 3 sections">
  <p:cSld name="Agenda, 3 sections">
    <p:spTree>
      <p:nvGrpSpPr>
        <p:cNvPr id="1" name="Shape 2343"/>
        <p:cNvGrpSpPr/>
        <p:nvPr/>
      </p:nvGrpSpPr>
      <p:grpSpPr>
        <a:xfrm>
          <a:off x="0" y="0"/>
          <a:ext cx="0" cy="0"/>
          <a:chOff x="0" y="0"/>
          <a:chExt cx="0" cy="0"/>
        </a:xfrm>
      </p:grpSpPr>
      <p:sp>
        <p:nvSpPr>
          <p:cNvPr id="2344" name="Google Shape;2344;p222"/>
          <p:cNvSpPr txBox="1">
            <a:spLocks noGrp="1"/>
          </p:cNvSpPr>
          <p:nvPr>
            <p:ph type="title"/>
          </p:nvPr>
        </p:nvSpPr>
        <p:spPr>
          <a:xfrm>
            <a:off x="677473" y="3260815"/>
            <a:ext cx="4550400" cy="5008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grpSp>
        <p:nvGrpSpPr>
          <p:cNvPr id="2345" name="Google Shape;2345;p222"/>
          <p:cNvGrpSpPr/>
          <p:nvPr/>
        </p:nvGrpSpPr>
        <p:grpSpPr>
          <a:xfrm>
            <a:off x="5426367" y="1994898"/>
            <a:ext cx="952499" cy="2863540"/>
            <a:chOff x="5426367" y="1960607"/>
            <a:chExt cx="952499" cy="2863540"/>
          </a:xfrm>
        </p:grpSpPr>
        <p:grpSp>
          <p:nvGrpSpPr>
            <p:cNvPr id="2346" name="Google Shape;2346;p222"/>
            <p:cNvGrpSpPr/>
            <p:nvPr/>
          </p:nvGrpSpPr>
          <p:grpSpPr>
            <a:xfrm>
              <a:off x="5434239" y="1960607"/>
              <a:ext cx="750192" cy="607594"/>
              <a:chOff x="5434239" y="1960607"/>
              <a:chExt cx="750192" cy="607594"/>
            </a:xfrm>
          </p:grpSpPr>
          <p:sp>
            <p:nvSpPr>
              <p:cNvPr id="2347" name="Google Shape;2347;p222"/>
              <p:cNvSpPr/>
              <p:nvPr/>
            </p:nvSpPr>
            <p:spPr>
              <a:xfrm>
                <a:off x="5434239" y="1960607"/>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7992" y="474220"/>
                      <a:pt x="231434" y="474220"/>
                    </a:cubicBezTo>
                    <a:cubicBezTo>
                      <a:pt x="314876" y="47422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48" name="Google Shape;2348;p222"/>
              <p:cNvSpPr/>
              <p:nvPr/>
            </p:nvSpPr>
            <p:spPr>
              <a:xfrm>
                <a:off x="5956146" y="1972306"/>
                <a:ext cx="228285" cy="595895"/>
              </a:xfrm>
              <a:custGeom>
                <a:avLst/>
                <a:gdLst/>
                <a:ahLst/>
                <a:cxnLst/>
                <a:rect l="l" t="t" r="r" b="b"/>
                <a:pathLst>
                  <a:path w="228285" h="595895" extrusionOk="0">
                    <a:moveTo>
                      <a:pt x="81081" y="130255"/>
                    </a:moveTo>
                    <a:lnTo>
                      <a:pt x="0" y="130255"/>
                    </a:lnTo>
                    <a:lnTo>
                      <a:pt x="0" y="0"/>
                    </a:lnTo>
                    <a:lnTo>
                      <a:pt x="228285" y="0"/>
                    </a:lnTo>
                    <a:lnTo>
                      <a:pt x="228285" y="595895"/>
                    </a:lnTo>
                    <a:lnTo>
                      <a:pt x="81081" y="595895"/>
                    </a:lnTo>
                    <a:lnTo>
                      <a:pt x="81081" y="130255"/>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49" name="Google Shape;2349;p222"/>
            <p:cNvGrpSpPr/>
            <p:nvPr/>
          </p:nvGrpSpPr>
          <p:grpSpPr>
            <a:xfrm>
              <a:off x="5430303" y="3085460"/>
              <a:ext cx="945414" cy="606035"/>
              <a:chOff x="5430303" y="3085460"/>
              <a:chExt cx="945414" cy="606035"/>
            </a:xfrm>
          </p:grpSpPr>
          <p:sp>
            <p:nvSpPr>
              <p:cNvPr id="2350" name="Google Shape;2350;p222"/>
              <p:cNvSpPr/>
              <p:nvPr/>
            </p:nvSpPr>
            <p:spPr>
              <a:xfrm>
                <a:off x="5430303" y="3086240"/>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60614" y="605255"/>
                      <a:pt x="0" y="478120"/>
                      <a:pt x="0" y="301848"/>
                    </a:cubicBezTo>
                    <a:cubicBezTo>
                      <a:pt x="0" y="127135"/>
                      <a:pt x="60614"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7004"/>
                      <a:pt x="324322" y="301848"/>
                    </a:cubicBezTo>
                    <a:cubicBezTo>
                      <a:pt x="324322" y="210591"/>
                      <a:pt x="314876"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1" name="Google Shape;2351;p222"/>
              <p:cNvSpPr/>
              <p:nvPr/>
            </p:nvSpPr>
            <p:spPr>
              <a:xfrm>
                <a:off x="5960869" y="3085460"/>
                <a:ext cx="414848" cy="599795"/>
              </a:xfrm>
              <a:custGeom>
                <a:avLst/>
                <a:gdLst/>
                <a:ahLst/>
                <a:cxnLst/>
                <a:rect l="l" t="t" r="r" b="b"/>
                <a:pathLst>
                  <a:path w="414848" h="599795" extrusionOk="0">
                    <a:moveTo>
                      <a:pt x="1574" y="496840"/>
                    </a:moveTo>
                    <a:cubicBezTo>
                      <a:pt x="129099" y="392324"/>
                      <a:pt x="265283" y="288588"/>
                      <a:pt x="265283" y="188752"/>
                    </a:cubicBezTo>
                    <a:cubicBezTo>
                      <a:pt x="265283" y="145854"/>
                      <a:pt x="245603" y="117775"/>
                      <a:pt x="203095" y="117775"/>
                    </a:cubicBezTo>
                    <a:cubicBezTo>
                      <a:pt x="161374" y="117775"/>
                      <a:pt x="136184" y="150534"/>
                      <a:pt x="136184" y="206691"/>
                    </a:cubicBezTo>
                    <a:lnTo>
                      <a:pt x="0" y="206691"/>
                    </a:lnTo>
                    <a:cubicBezTo>
                      <a:pt x="3936" y="62397"/>
                      <a:pt x="99186" y="0"/>
                      <a:pt x="208605" y="0"/>
                    </a:cubicBezTo>
                    <a:cubicBezTo>
                      <a:pt x="345576" y="0"/>
                      <a:pt x="406190" y="78777"/>
                      <a:pt x="406190" y="179393"/>
                    </a:cubicBezTo>
                    <a:cubicBezTo>
                      <a:pt x="406190" y="309647"/>
                      <a:pt x="288111" y="414163"/>
                      <a:pt x="192861" y="486700"/>
                    </a:cubicBezTo>
                    <a:lnTo>
                      <a:pt x="414849" y="486700"/>
                    </a:lnTo>
                    <a:lnTo>
                      <a:pt x="414849" y="599795"/>
                    </a:lnTo>
                    <a:lnTo>
                      <a:pt x="1574" y="599795"/>
                    </a:lnTo>
                    <a:lnTo>
                      <a:pt x="1574" y="496840"/>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52" name="Google Shape;2352;p222"/>
            <p:cNvGrpSpPr/>
            <p:nvPr/>
          </p:nvGrpSpPr>
          <p:grpSpPr>
            <a:xfrm>
              <a:off x="5426367" y="4209533"/>
              <a:ext cx="952499" cy="614614"/>
              <a:chOff x="5426367" y="4209533"/>
              <a:chExt cx="952499" cy="614614"/>
            </a:xfrm>
          </p:grpSpPr>
          <p:sp>
            <p:nvSpPr>
              <p:cNvPr id="2353" name="Google Shape;2353;p222"/>
              <p:cNvSpPr/>
              <p:nvPr/>
            </p:nvSpPr>
            <p:spPr>
              <a:xfrm>
                <a:off x="5426367" y="4211093"/>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4" name="Google Shape;2354;p222"/>
              <p:cNvSpPr/>
              <p:nvPr/>
            </p:nvSpPr>
            <p:spPr>
              <a:xfrm>
                <a:off x="5960869" y="4209533"/>
                <a:ext cx="417997" cy="614614"/>
              </a:xfrm>
              <a:custGeom>
                <a:avLst/>
                <a:gdLst/>
                <a:ahLst/>
                <a:cxnLst/>
                <a:rect l="l" t="t" r="r" b="b"/>
                <a:pathLst>
                  <a:path w="417997" h="614614" extrusionOk="0">
                    <a:moveTo>
                      <a:pt x="211754" y="0"/>
                    </a:moveTo>
                    <a:cubicBezTo>
                      <a:pt x="338492" y="0"/>
                      <a:pt x="406977" y="71757"/>
                      <a:pt x="406977" y="161453"/>
                    </a:cubicBezTo>
                    <a:cubicBezTo>
                      <a:pt x="406977" y="239450"/>
                      <a:pt x="357384" y="281568"/>
                      <a:pt x="316450" y="295608"/>
                    </a:cubicBezTo>
                    <a:lnTo>
                      <a:pt x="316450" y="298728"/>
                    </a:lnTo>
                    <a:cubicBezTo>
                      <a:pt x="376277" y="318227"/>
                      <a:pt x="417998" y="364245"/>
                      <a:pt x="417998" y="442242"/>
                    </a:cubicBezTo>
                    <a:cubicBezTo>
                      <a:pt x="417998" y="542858"/>
                      <a:pt x="345576" y="614615"/>
                      <a:pt x="219626" y="614615"/>
                    </a:cubicBezTo>
                    <a:cubicBezTo>
                      <a:pt x="94463" y="614615"/>
                      <a:pt x="3936" y="556117"/>
                      <a:pt x="0" y="421183"/>
                    </a:cubicBezTo>
                    <a:lnTo>
                      <a:pt x="136184" y="421183"/>
                    </a:lnTo>
                    <a:cubicBezTo>
                      <a:pt x="136971" y="467981"/>
                      <a:pt x="162161" y="498399"/>
                      <a:pt x="214116" y="498399"/>
                    </a:cubicBezTo>
                    <a:cubicBezTo>
                      <a:pt x="257411" y="498399"/>
                      <a:pt x="281814" y="470321"/>
                      <a:pt x="281814" y="431322"/>
                    </a:cubicBezTo>
                    <a:cubicBezTo>
                      <a:pt x="281814" y="378284"/>
                      <a:pt x="249539" y="357225"/>
                      <a:pt x="176331" y="357225"/>
                    </a:cubicBezTo>
                    <a:lnTo>
                      <a:pt x="150353" y="357225"/>
                    </a:lnTo>
                    <a:lnTo>
                      <a:pt x="150353" y="243350"/>
                    </a:lnTo>
                    <a:lnTo>
                      <a:pt x="176331" y="243350"/>
                    </a:lnTo>
                    <a:cubicBezTo>
                      <a:pt x="224349" y="243350"/>
                      <a:pt x="270006" y="231650"/>
                      <a:pt x="270006" y="177833"/>
                    </a:cubicBezTo>
                    <a:cubicBezTo>
                      <a:pt x="270006" y="138054"/>
                      <a:pt x="246390" y="116215"/>
                      <a:pt x="208605" y="116215"/>
                    </a:cubicBezTo>
                    <a:cubicBezTo>
                      <a:pt x="162948" y="116215"/>
                      <a:pt x="147205" y="148974"/>
                      <a:pt x="144056" y="181733"/>
                    </a:cubicBezTo>
                    <a:lnTo>
                      <a:pt x="7085" y="181733"/>
                    </a:lnTo>
                    <a:cubicBezTo>
                      <a:pt x="11808" y="63957"/>
                      <a:pt x="88952" y="0"/>
                      <a:pt x="211754" y="0"/>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sp>
        <p:nvSpPr>
          <p:cNvPr id="2355" name="Google Shape;2355;p222"/>
          <p:cNvSpPr/>
          <p:nvPr/>
        </p:nvSpPr>
        <p:spPr>
          <a:xfrm rot="-5400000">
            <a:off x="801433" y="2992200"/>
            <a:ext cx="76000" cy="409600"/>
          </a:xfrm>
          <a:prstGeom prst="roundRect">
            <a:avLst>
              <a:gd name="adj" fmla="val 50000"/>
            </a:avLst>
          </a:prstGeom>
          <a:gradFill>
            <a:gsLst>
              <a:gs pos="0">
                <a:schemeClr val="accent2"/>
              </a:gs>
              <a:gs pos="100000">
                <a:schemeClr val="accent1"/>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56" name="Google Shape;2356;p222"/>
          <p:cNvSpPr txBox="1">
            <a:spLocks noGrp="1"/>
          </p:cNvSpPr>
          <p:nvPr>
            <p:ph type="body" idx="1"/>
          </p:nvPr>
        </p:nvSpPr>
        <p:spPr>
          <a:xfrm>
            <a:off x="6656933" y="1890667"/>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7" name="Google Shape;2357;p222"/>
          <p:cNvSpPr txBox="1">
            <a:spLocks noGrp="1"/>
          </p:cNvSpPr>
          <p:nvPr>
            <p:ph type="body" idx="2"/>
          </p:nvPr>
        </p:nvSpPr>
        <p:spPr>
          <a:xfrm>
            <a:off x="6656933" y="3016788"/>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8" name="Google Shape;2358;p222"/>
          <p:cNvSpPr txBox="1">
            <a:spLocks noGrp="1"/>
          </p:cNvSpPr>
          <p:nvPr>
            <p:ph type="body" idx="3"/>
          </p:nvPr>
        </p:nvSpPr>
        <p:spPr>
          <a:xfrm>
            <a:off x="6656933" y="4142911"/>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78002312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userDrawn="1">
  <p:cSld name="Blank">
    <p:bg>
      <p:bgRef idx="1001">
        <a:schemeClr val="bg1"/>
      </p:bgRef>
    </p:bg>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832081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59950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53209584"/>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3_Create Layou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0"/>
          </p:nvPr>
        </p:nvSpPr>
        <p:spPr/>
        <p:txBody>
          <a:bodyPr/>
          <a:lstStyle/>
          <a:p>
            <a:fld id="{59982661-8095-4F36-B003-38F8D9469F79}" type="slidenum">
              <a:rPr lang="en-GB" smtClean="0"/>
              <a:t>‹#›</a:t>
            </a:fld>
            <a:endParaRPr lang="en-GB"/>
          </a:p>
        </p:txBody>
      </p:sp>
      <p:sp>
        <p:nvSpPr>
          <p:cNvPr id="26" name="Content Placeholder 1"/>
          <p:cNvSpPr>
            <a:spLocks noGrp="1"/>
          </p:cNvSpPr>
          <p:nvPr>
            <p:ph idx="31"/>
            <p:custDataLst>
              <p:tags r:id="rId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2"/>
          <p:cNvSpPr>
            <a:spLocks noGrp="1"/>
          </p:cNvSpPr>
          <p:nvPr>
            <p:ph idx="11"/>
            <p:custDataLst>
              <p:tags r:id="rId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idx="12"/>
            <p:custDataLst>
              <p:tags r:id="rId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p:cNvSpPr>
            <a:spLocks noGrp="1"/>
          </p:cNvSpPr>
          <p:nvPr>
            <p:ph idx="13"/>
            <p:custDataLst>
              <p:tags r:id="rId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5"/>
          <p:cNvSpPr>
            <a:spLocks noGrp="1"/>
          </p:cNvSpPr>
          <p:nvPr>
            <p:ph idx="14"/>
            <p:custDataLst>
              <p:tags r:id="rId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p:cNvSpPr>
            <a:spLocks noGrp="1"/>
          </p:cNvSpPr>
          <p:nvPr>
            <p:ph idx="15"/>
            <p:custDataLst>
              <p:tags r:id="rId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7"/>
          <p:cNvSpPr>
            <a:spLocks noGrp="1"/>
          </p:cNvSpPr>
          <p:nvPr>
            <p:ph idx="16"/>
            <p:custDataLst>
              <p:tags r:id="rId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8"/>
          <p:cNvSpPr>
            <a:spLocks noGrp="1"/>
          </p:cNvSpPr>
          <p:nvPr>
            <p:ph idx="17"/>
            <p:custDataLst>
              <p:tags r:id="rId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p:cNvSpPr>
            <a:spLocks noGrp="1"/>
          </p:cNvSpPr>
          <p:nvPr>
            <p:ph idx="18"/>
            <p:custDataLst>
              <p:tags r:id="rId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0"/>
          <p:cNvSpPr>
            <a:spLocks noGrp="1"/>
          </p:cNvSpPr>
          <p:nvPr>
            <p:ph idx="19"/>
            <p:custDataLst>
              <p:tags r:id="rId10"/>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1"/>
          <p:cNvSpPr>
            <a:spLocks noGrp="1"/>
          </p:cNvSpPr>
          <p:nvPr>
            <p:ph idx="20"/>
            <p:custDataLst>
              <p:tags r:id="rId1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12"/>
          <p:cNvSpPr>
            <a:spLocks noGrp="1"/>
          </p:cNvSpPr>
          <p:nvPr>
            <p:ph idx="21"/>
            <p:custDataLst>
              <p:tags r:id="rId1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3"/>
          <p:cNvSpPr>
            <a:spLocks noGrp="1"/>
          </p:cNvSpPr>
          <p:nvPr>
            <p:ph idx="22"/>
            <p:custDataLst>
              <p:tags r:id="rId1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4"/>
          <p:cNvSpPr>
            <a:spLocks noGrp="1"/>
          </p:cNvSpPr>
          <p:nvPr>
            <p:ph idx="23"/>
            <p:custDataLst>
              <p:tags r:id="rId1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5"/>
          <p:cNvSpPr>
            <a:spLocks noGrp="1"/>
          </p:cNvSpPr>
          <p:nvPr>
            <p:ph idx="24"/>
            <p:custDataLst>
              <p:tags r:id="rId1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6"/>
          <p:cNvSpPr>
            <a:spLocks noGrp="1"/>
          </p:cNvSpPr>
          <p:nvPr>
            <p:ph idx="25"/>
            <p:custDataLst>
              <p:tags r:id="rId1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7"/>
          <p:cNvSpPr>
            <a:spLocks noGrp="1"/>
          </p:cNvSpPr>
          <p:nvPr>
            <p:ph idx="26"/>
            <p:custDataLst>
              <p:tags r:id="rId1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8"/>
          <p:cNvSpPr>
            <a:spLocks noGrp="1"/>
          </p:cNvSpPr>
          <p:nvPr>
            <p:ph idx="27"/>
            <p:custDataLst>
              <p:tags r:id="rId1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9"/>
          <p:cNvSpPr>
            <a:spLocks noGrp="1"/>
          </p:cNvSpPr>
          <p:nvPr>
            <p:ph idx="28"/>
            <p:custDataLst>
              <p:tags r:id="rId1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p:cNvSpPr>
            <a:spLocks noGrp="1"/>
          </p:cNvSpPr>
          <p:nvPr>
            <p:ph idx="32"/>
            <p:custDataLst>
              <p:tags r:id="rId20"/>
            </p:custDataLst>
          </p:nvPr>
        </p:nvSpPr>
        <p:spPr>
          <a:xfrm>
            <a:off x="336063" y="1335600"/>
            <a:ext cx="11519879" cy="4838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2491836"/>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2_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4" name="Rectangle 3">
            <a:extLst>
              <a:ext uri="{FF2B5EF4-FFF2-40B4-BE49-F238E27FC236}">
                <a16:creationId xmlns:a16="http://schemas.microsoft.com/office/drawing/2014/main" id="{52408627-7E4A-AE1F-9D3B-E2CFB1302B9D}"/>
              </a:ext>
            </a:extLst>
          </p:cNvPr>
          <p:cNvSpPr/>
          <p:nvPr userDrawn="1"/>
        </p:nvSpPr>
        <p:spPr>
          <a:xfrm>
            <a:off x="1" y="2"/>
            <a:ext cx="12192000" cy="114831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19"/>
          </a:p>
        </p:txBody>
      </p:sp>
      <p:pic>
        <p:nvPicPr>
          <p:cNvPr id="6" name="Picture 5">
            <a:extLst>
              <a:ext uri="{FF2B5EF4-FFF2-40B4-BE49-F238E27FC236}">
                <a16:creationId xmlns:a16="http://schemas.microsoft.com/office/drawing/2014/main" id="{A7BE00A2-4F44-C99F-80BF-49B79A8D4BA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145366" y="145676"/>
            <a:ext cx="953706" cy="400907"/>
          </a:xfrm>
          <a:prstGeom prst="rect">
            <a:avLst/>
          </a:prstGeom>
        </p:spPr>
      </p:pic>
      <p:pic>
        <p:nvPicPr>
          <p:cNvPr id="8" name="Picture 7">
            <a:extLst>
              <a:ext uri="{FF2B5EF4-FFF2-40B4-BE49-F238E27FC236}">
                <a16:creationId xmlns:a16="http://schemas.microsoft.com/office/drawing/2014/main" id="{2BCB36EC-6919-DDA7-DEF5-71FEB2AB23B4}"/>
              </a:ext>
            </a:extLst>
          </p:cNvPr>
          <p:cNvPicPr>
            <a:picLocks noChangeAspect="1"/>
          </p:cNvPicPr>
          <p:nvPr userDrawn="1"/>
        </p:nvPicPr>
        <p:blipFill>
          <a:blip r:embed="rId6"/>
          <a:srcRect t="18429" b="18429"/>
          <a:stretch/>
        </p:blipFill>
        <p:spPr>
          <a:xfrm>
            <a:off x="8227891" y="2"/>
            <a:ext cx="3964110" cy="1148314"/>
          </a:xfrm>
          <a:custGeom>
            <a:avLst/>
            <a:gdLst>
              <a:gd name="connsiteX0" fmla="*/ 1035847 w 5054240"/>
              <a:gd name="connsiteY0" fmla="*/ 1710657 h 2128225"/>
              <a:gd name="connsiteX1" fmla="*/ 1035847 w 5054240"/>
              <a:gd name="connsiteY1" fmla="*/ 1817977 h 2128225"/>
              <a:gd name="connsiteX2" fmla="*/ 1086228 w 5054240"/>
              <a:gd name="connsiteY2" fmla="*/ 1817977 h 2128225"/>
              <a:gd name="connsiteX3" fmla="*/ 1086228 w 5054240"/>
              <a:gd name="connsiteY3" fmla="*/ 1710657 h 2128225"/>
              <a:gd name="connsiteX4" fmla="*/ 407851 w 5054240"/>
              <a:gd name="connsiteY4" fmla="*/ 1710270 h 2128225"/>
              <a:gd name="connsiteX5" fmla="*/ 497431 w 5054240"/>
              <a:gd name="connsiteY5" fmla="*/ 1710270 h 2128225"/>
              <a:gd name="connsiteX6" fmla="*/ 497431 w 5054240"/>
              <a:gd name="connsiteY6" fmla="*/ 1817588 h 2128225"/>
              <a:gd name="connsiteX7" fmla="*/ 407851 w 5054240"/>
              <a:gd name="connsiteY7" fmla="*/ 1817588 h 2128225"/>
              <a:gd name="connsiteX8" fmla="*/ 1551304 w 5054240"/>
              <a:gd name="connsiteY8" fmla="*/ 1602717 h 2128225"/>
              <a:gd name="connsiteX9" fmla="*/ 1551304 w 5054240"/>
              <a:gd name="connsiteY9" fmla="*/ 1710037 h 2128225"/>
              <a:gd name="connsiteX10" fmla="*/ 1640885 w 5054240"/>
              <a:gd name="connsiteY10" fmla="*/ 1710037 h 2128225"/>
              <a:gd name="connsiteX11" fmla="*/ 1640885 w 5054240"/>
              <a:gd name="connsiteY11" fmla="*/ 1602717 h 2128225"/>
              <a:gd name="connsiteX12" fmla="*/ 1253272 w 5054240"/>
              <a:gd name="connsiteY12" fmla="*/ 1602717 h 2128225"/>
              <a:gd name="connsiteX13" fmla="*/ 1253357 w 5054240"/>
              <a:gd name="connsiteY13" fmla="*/ 1602794 h 2128225"/>
              <a:gd name="connsiteX14" fmla="*/ 1253144 w 5054240"/>
              <a:gd name="connsiteY14" fmla="*/ 1602988 h 2128225"/>
              <a:gd name="connsiteX15" fmla="*/ 1253102 w 5054240"/>
              <a:gd name="connsiteY15" fmla="*/ 1602988 h 2128225"/>
              <a:gd name="connsiteX16" fmla="*/ 1253102 w 5054240"/>
              <a:gd name="connsiteY16" fmla="*/ 1710657 h 2128225"/>
              <a:gd name="connsiteX17" fmla="*/ 1303100 w 5054240"/>
              <a:gd name="connsiteY17" fmla="*/ 1710657 h 2128225"/>
              <a:gd name="connsiteX18" fmla="*/ 1303100 w 5054240"/>
              <a:gd name="connsiteY18" fmla="*/ 1602717 h 2128225"/>
              <a:gd name="connsiteX19" fmla="*/ 2480990 w 5054240"/>
              <a:gd name="connsiteY19" fmla="*/ 1280526 h 2128225"/>
              <a:gd name="connsiteX20" fmla="*/ 2480990 w 5054240"/>
              <a:gd name="connsiteY20" fmla="*/ 1387845 h 2128225"/>
              <a:gd name="connsiteX21" fmla="*/ 2531371 w 5054240"/>
              <a:gd name="connsiteY21" fmla="*/ 1387845 h 2128225"/>
              <a:gd name="connsiteX22" fmla="*/ 2531371 w 5054240"/>
              <a:gd name="connsiteY22" fmla="*/ 1280526 h 2128225"/>
              <a:gd name="connsiteX23" fmla="*/ 1925144 w 5054240"/>
              <a:gd name="connsiteY23" fmla="*/ 1173439 h 2128225"/>
              <a:gd name="connsiteX24" fmla="*/ 2149072 w 5054240"/>
              <a:gd name="connsiteY24" fmla="*/ 1173439 h 2128225"/>
              <a:gd name="connsiteX25" fmla="*/ 2149072 w 5054240"/>
              <a:gd name="connsiteY25" fmla="*/ 1280758 h 2128225"/>
              <a:gd name="connsiteX26" fmla="*/ 1925144 w 5054240"/>
              <a:gd name="connsiteY26" fmla="*/ 1280758 h 2128225"/>
              <a:gd name="connsiteX27" fmla="*/ 1785182 w 5054240"/>
              <a:gd name="connsiteY27" fmla="*/ 1173439 h 2128225"/>
              <a:gd name="connsiteX28" fmla="*/ 1874763 w 5054240"/>
              <a:gd name="connsiteY28" fmla="*/ 1173439 h 2128225"/>
              <a:gd name="connsiteX29" fmla="*/ 1874763 w 5054240"/>
              <a:gd name="connsiteY29" fmla="*/ 1280758 h 2128225"/>
              <a:gd name="connsiteX30" fmla="*/ 1785182 w 5054240"/>
              <a:gd name="connsiteY30" fmla="*/ 1280758 h 2128225"/>
              <a:gd name="connsiteX31" fmla="*/ 3252434 w 5054240"/>
              <a:gd name="connsiteY31" fmla="*/ 1066081 h 2128225"/>
              <a:gd name="connsiteX32" fmla="*/ 3252434 w 5054240"/>
              <a:gd name="connsiteY32" fmla="*/ 1173400 h 2128225"/>
              <a:gd name="connsiteX33" fmla="*/ 3302814 w 5054240"/>
              <a:gd name="connsiteY33" fmla="*/ 1173400 h 2128225"/>
              <a:gd name="connsiteX34" fmla="*/ 3302814 w 5054240"/>
              <a:gd name="connsiteY34" fmla="*/ 1066081 h 2128225"/>
              <a:gd name="connsiteX35" fmla="*/ 3365057 w 5054240"/>
              <a:gd name="connsiteY35" fmla="*/ 958762 h 2128225"/>
              <a:gd name="connsiteX36" fmla="*/ 3365057 w 5054240"/>
              <a:gd name="connsiteY36" fmla="*/ 1066081 h 2128225"/>
              <a:gd name="connsiteX37" fmla="*/ 3454638 w 5054240"/>
              <a:gd name="connsiteY37" fmla="*/ 1066081 h 2128225"/>
              <a:gd name="connsiteX38" fmla="*/ 3454638 w 5054240"/>
              <a:gd name="connsiteY38" fmla="*/ 958762 h 2128225"/>
              <a:gd name="connsiteX39" fmla="*/ 4110141 w 5054240"/>
              <a:gd name="connsiteY39" fmla="*/ 745131 h 2128225"/>
              <a:gd name="connsiteX40" fmla="*/ 4110141 w 5054240"/>
              <a:gd name="connsiteY40" fmla="*/ 851442 h 2128225"/>
              <a:gd name="connsiteX41" fmla="*/ 4191814 w 5054240"/>
              <a:gd name="connsiteY41" fmla="*/ 851442 h 2128225"/>
              <a:gd name="connsiteX42" fmla="*/ 4191814 w 5054240"/>
              <a:gd name="connsiteY42" fmla="*/ 745131 h 2128225"/>
              <a:gd name="connsiteX43" fmla="*/ 3510673 w 5054240"/>
              <a:gd name="connsiteY43" fmla="*/ 637851 h 2128225"/>
              <a:gd name="connsiteX44" fmla="*/ 3600253 w 5054240"/>
              <a:gd name="connsiteY44" fmla="*/ 637851 h 2128225"/>
              <a:gd name="connsiteX45" fmla="*/ 3600253 w 5054240"/>
              <a:gd name="connsiteY45" fmla="*/ 745170 h 2128225"/>
              <a:gd name="connsiteX46" fmla="*/ 3510673 w 5054240"/>
              <a:gd name="connsiteY46" fmla="*/ 745170 h 2128225"/>
              <a:gd name="connsiteX47" fmla="*/ 3874563 w 5054240"/>
              <a:gd name="connsiteY47" fmla="*/ 637812 h 2128225"/>
              <a:gd name="connsiteX48" fmla="*/ 3874563 w 5054240"/>
              <a:gd name="connsiteY48" fmla="*/ 744122 h 2128225"/>
              <a:gd name="connsiteX49" fmla="*/ 3924944 w 5054240"/>
              <a:gd name="connsiteY49" fmla="*/ 744122 h 2128225"/>
              <a:gd name="connsiteX50" fmla="*/ 3924944 w 5054240"/>
              <a:gd name="connsiteY50" fmla="*/ 637812 h 2128225"/>
              <a:gd name="connsiteX51" fmla="*/ 4748596 w 5054240"/>
              <a:gd name="connsiteY51" fmla="*/ 315893 h 2128225"/>
              <a:gd name="connsiteX52" fmla="*/ 4748596 w 5054240"/>
              <a:gd name="connsiteY52" fmla="*/ 423174 h 2128225"/>
              <a:gd name="connsiteX53" fmla="*/ 4798978 w 5054240"/>
              <a:gd name="connsiteY53" fmla="*/ 423174 h 2128225"/>
              <a:gd name="connsiteX54" fmla="*/ 4798978 w 5054240"/>
              <a:gd name="connsiteY54" fmla="*/ 315893 h 2128225"/>
              <a:gd name="connsiteX55" fmla="*/ 4798382 w 5054240"/>
              <a:gd name="connsiteY55" fmla="*/ 101253 h 2128225"/>
              <a:gd name="connsiteX56" fmla="*/ 4846806 w 5054240"/>
              <a:gd name="connsiteY56" fmla="*/ 101253 h 2128225"/>
              <a:gd name="connsiteX57" fmla="*/ 4846806 w 5054240"/>
              <a:gd name="connsiteY57" fmla="*/ 208573 h 2128225"/>
              <a:gd name="connsiteX58" fmla="*/ 4938342 w 5054240"/>
              <a:gd name="connsiteY58" fmla="*/ 208573 h 2128225"/>
              <a:gd name="connsiteX59" fmla="*/ 4938342 w 5054240"/>
              <a:gd name="connsiteY59" fmla="*/ 315853 h 2128225"/>
              <a:gd name="connsiteX60" fmla="*/ 4988724 w 5054240"/>
              <a:gd name="connsiteY60" fmla="*/ 315853 h 2128225"/>
              <a:gd name="connsiteX61" fmla="*/ 4988724 w 5054240"/>
              <a:gd name="connsiteY61" fmla="*/ 208573 h 2128225"/>
              <a:gd name="connsiteX62" fmla="*/ 5054198 w 5054240"/>
              <a:gd name="connsiteY62" fmla="*/ 208573 h 2128225"/>
              <a:gd name="connsiteX63" fmla="*/ 5054198 w 5054240"/>
              <a:gd name="connsiteY63" fmla="*/ 2128225 h 2128225"/>
              <a:gd name="connsiteX64" fmla="*/ 0 w 5054240"/>
              <a:gd name="connsiteY64" fmla="*/ 2128225 h 2128225"/>
              <a:gd name="connsiteX65" fmla="*/ 0 w 5054240"/>
              <a:gd name="connsiteY65" fmla="*/ 1924598 h 2128225"/>
              <a:gd name="connsiteX66" fmla="*/ 238597 w 5054240"/>
              <a:gd name="connsiteY66" fmla="*/ 1924598 h 2128225"/>
              <a:gd name="connsiteX67" fmla="*/ 238597 w 5054240"/>
              <a:gd name="connsiteY67" fmla="*/ 1817588 h 2128225"/>
              <a:gd name="connsiteX68" fmla="*/ 407851 w 5054240"/>
              <a:gd name="connsiteY68" fmla="*/ 1817588 h 2128225"/>
              <a:gd name="connsiteX69" fmla="*/ 407851 w 5054240"/>
              <a:gd name="connsiteY69" fmla="*/ 1924714 h 2128225"/>
              <a:gd name="connsiteX70" fmla="*/ 547812 w 5054240"/>
              <a:gd name="connsiteY70" fmla="*/ 1924714 h 2128225"/>
              <a:gd name="connsiteX71" fmla="*/ 547812 w 5054240"/>
              <a:gd name="connsiteY71" fmla="*/ 1710230 h 2128225"/>
              <a:gd name="connsiteX72" fmla="*/ 819401 w 5054240"/>
              <a:gd name="connsiteY72" fmla="*/ 1710230 h 2128225"/>
              <a:gd name="connsiteX73" fmla="*/ 819401 w 5054240"/>
              <a:gd name="connsiteY73" fmla="*/ 1602678 h 2128225"/>
              <a:gd name="connsiteX74" fmla="*/ 1026451 w 5054240"/>
              <a:gd name="connsiteY74" fmla="*/ 1602678 h 2128225"/>
              <a:gd name="connsiteX75" fmla="*/ 1026451 w 5054240"/>
              <a:gd name="connsiteY75" fmla="*/ 1495358 h 2128225"/>
              <a:gd name="connsiteX76" fmla="*/ 1118922 w 5054240"/>
              <a:gd name="connsiteY76" fmla="*/ 1495358 h 2128225"/>
              <a:gd name="connsiteX77" fmla="*/ 1118922 w 5054240"/>
              <a:gd name="connsiteY77" fmla="*/ 1387806 h 2128225"/>
              <a:gd name="connsiteX78" fmla="*/ 1169303 w 5054240"/>
              <a:gd name="connsiteY78" fmla="*/ 1387806 h 2128225"/>
              <a:gd name="connsiteX79" fmla="*/ 1169303 w 5054240"/>
              <a:gd name="connsiteY79" fmla="*/ 1495358 h 2128225"/>
              <a:gd name="connsiteX80" fmla="*/ 1392722 w 5054240"/>
              <a:gd name="connsiteY80" fmla="*/ 1495358 h 2128225"/>
              <a:gd name="connsiteX81" fmla="*/ 1392722 w 5054240"/>
              <a:gd name="connsiteY81" fmla="*/ 1602678 h 2128225"/>
              <a:gd name="connsiteX82" fmla="*/ 1442720 w 5054240"/>
              <a:gd name="connsiteY82" fmla="*/ 1602678 h 2128225"/>
              <a:gd name="connsiteX83" fmla="*/ 1442720 w 5054240"/>
              <a:gd name="connsiteY83" fmla="*/ 1495358 h 2128225"/>
              <a:gd name="connsiteX84" fmla="*/ 1546670 w 5054240"/>
              <a:gd name="connsiteY84" fmla="*/ 1495358 h 2128225"/>
              <a:gd name="connsiteX85" fmla="*/ 1546670 w 5054240"/>
              <a:gd name="connsiteY85" fmla="*/ 1387806 h 2128225"/>
              <a:gd name="connsiteX86" fmla="*/ 1835691 w 5054240"/>
              <a:gd name="connsiteY86" fmla="*/ 1387806 h 2128225"/>
              <a:gd name="connsiteX87" fmla="*/ 1835691 w 5054240"/>
              <a:gd name="connsiteY87" fmla="*/ 1495358 h 2128225"/>
              <a:gd name="connsiteX88" fmla="*/ 2068803 w 5054240"/>
              <a:gd name="connsiteY88" fmla="*/ 1495358 h 2128225"/>
              <a:gd name="connsiteX89" fmla="*/ 2068803 w 5054240"/>
              <a:gd name="connsiteY89" fmla="*/ 1388039 h 2128225"/>
              <a:gd name="connsiteX90" fmla="*/ 2295623 w 5054240"/>
              <a:gd name="connsiteY90" fmla="*/ 1388039 h 2128225"/>
              <a:gd name="connsiteX91" fmla="*/ 2295623 w 5054240"/>
              <a:gd name="connsiteY91" fmla="*/ 1280720 h 2128225"/>
              <a:gd name="connsiteX92" fmla="*/ 2199538 w 5054240"/>
              <a:gd name="connsiteY92" fmla="*/ 1280720 h 2128225"/>
              <a:gd name="connsiteX93" fmla="*/ 2199538 w 5054240"/>
              <a:gd name="connsiteY93" fmla="*/ 1173400 h 2128225"/>
              <a:gd name="connsiteX94" fmla="*/ 2566999 w 5054240"/>
              <a:gd name="connsiteY94" fmla="*/ 1173400 h 2128225"/>
              <a:gd name="connsiteX95" fmla="*/ 2566999 w 5054240"/>
              <a:gd name="connsiteY95" fmla="*/ 1066081 h 2128225"/>
              <a:gd name="connsiteX96" fmla="*/ 2790928 w 5054240"/>
              <a:gd name="connsiteY96" fmla="*/ 1066081 h 2128225"/>
              <a:gd name="connsiteX97" fmla="*/ 2790928 w 5054240"/>
              <a:gd name="connsiteY97" fmla="*/ 958762 h 2128225"/>
              <a:gd name="connsiteX98" fmla="*/ 3015282 w 5054240"/>
              <a:gd name="connsiteY98" fmla="*/ 958762 h 2128225"/>
              <a:gd name="connsiteX99" fmla="*/ 3015282 w 5054240"/>
              <a:gd name="connsiteY99" fmla="*/ 1066081 h 2128225"/>
              <a:gd name="connsiteX100" fmla="*/ 3160388 w 5054240"/>
              <a:gd name="connsiteY100" fmla="*/ 1066081 h 2128225"/>
              <a:gd name="connsiteX101" fmla="*/ 3160388 w 5054240"/>
              <a:gd name="connsiteY101" fmla="*/ 851442 h 2128225"/>
              <a:gd name="connsiteX102" fmla="*/ 3249968 w 5054240"/>
              <a:gd name="connsiteY102" fmla="*/ 851442 h 2128225"/>
              <a:gd name="connsiteX103" fmla="*/ 3249968 w 5054240"/>
              <a:gd name="connsiteY103" fmla="*/ 958762 h 2128225"/>
              <a:gd name="connsiteX104" fmla="*/ 3300306 w 5054240"/>
              <a:gd name="connsiteY104" fmla="*/ 958762 h 2128225"/>
              <a:gd name="connsiteX105" fmla="*/ 3300306 w 5054240"/>
              <a:gd name="connsiteY105" fmla="*/ 851442 h 2128225"/>
              <a:gd name="connsiteX106" fmla="*/ 3524236 w 5054240"/>
              <a:gd name="connsiteY106" fmla="*/ 851442 h 2128225"/>
              <a:gd name="connsiteX107" fmla="*/ 3524236 w 5054240"/>
              <a:gd name="connsiteY107" fmla="*/ 958762 h 2128225"/>
              <a:gd name="connsiteX108" fmla="*/ 3574616 w 5054240"/>
              <a:gd name="connsiteY108" fmla="*/ 958762 h 2128225"/>
              <a:gd name="connsiteX109" fmla="*/ 3574616 w 5054240"/>
              <a:gd name="connsiteY109" fmla="*/ 851442 h 2128225"/>
              <a:gd name="connsiteX110" fmla="*/ 3707860 w 5054240"/>
              <a:gd name="connsiteY110" fmla="*/ 851442 h 2128225"/>
              <a:gd name="connsiteX111" fmla="*/ 3707860 w 5054240"/>
              <a:gd name="connsiteY111" fmla="*/ 745131 h 2128225"/>
              <a:gd name="connsiteX112" fmla="*/ 3650719 w 5054240"/>
              <a:gd name="connsiteY112" fmla="*/ 745131 h 2128225"/>
              <a:gd name="connsiteX113" fmla="*/ 3650719 w 5054240"/>
              <a:gd name="connsiteY113" fmla="*/ 637812 h 2128225"/>
              <a:gd name="connsiteX114" fmla="*/ 3765978 w 5054240"/>
              <a:gd name="connsiteY114" fmla="*/ 637812 h 2128225"/>
              <a:gd name="connsiteX115" fmla="*/ 3765978 w 5054240"/>
              <a:gd name="connsiteY115" fmla="*/ 530493 h 2128225"/>
              <a:gd name="connsiteX116" fmla="*/ 3816360 w 5054240"/>
              <a:gd name="connsiteY116" fmla="*/ 530493 h 2128225"/>
              <a:gd name="connsiteX117" fmla="*/ 3816360 w 5054240"/>
              <a:gd name="connsiteY117" fmla="*/ 637812 h 2128225"/>
              <a:gd name="connsiteX118" fmla="*/ 3874308 w 5054240"/>
              <a:gd name="connsiteY118" fmla="*/ 637812 h 2128225"/>
              <a:gd name="connsiteX119" fmla="*/ 3874308 w 5054240"/>
              <a:gd name="connsiteY119" fmla="*/ 530493 h 2128225"/>
              <a:gd name="connsiteX120" fmla="*/ 4098194 w 5054240"/>
              <a:gd name="connsiteY120" fmla="*/ 530493 h 2128225"/>
              <a:gd name="connsiteX121" fmla="*/ 4098194 w 5054240"/>
              <a:gd name="connsiteY121" fmla="*/ 637812 h 2128225"/>
              <a:gd name="connsiteX122" fmla="*/ 4281096 w 5054240"/>
              <a:gd name="connsiteY122" fmla="*/ 637812 h 2128225"/>
              <a:gd name="connsiteX123" fmla="*/ 4281096 w 5054240"/>
              <a:gd name="connsiteY123" fmla="*/ 530493 h 2128225"/>
              <a:gd name="connsiteX124" fmla="*/ 4191855 w 5054240"/>
              <a:gd name="connsiteY124" fmla="*/ 530493 h 2128225"/>
              <a:gd name="connsiteX125" fmla="*/ 4191855 w 5054240"/>
              <a:gd name="connsiteY125" fmla="*/ 423174 h 2128225"/>
              <a:gd name="connsiteX126" fmla="*/ 4524710 w 5054240"/>
              <a:gd name="connsiteY126" fmla="*/ 423174 h 2128225"/>
              <a:gd name="connsiteX127" fmla="*/ 4524710 w 5054240"/>
              <a:gd name="connsiteY127" fmla="*/ 315853 h 2128225"/>
              <a:gd name="connsiteX128" fmla="*/ 4714499 w 5054240"/>
              <a:gd name="connsiteY128" fmla="*/ 315853 h 2128225"/>
              <a:gd name="connsiteX129" fmla="*/ 4714499 w 5054240"/>
              <a:gd name="connsiteY129" fmla="*/ 208573 h 2128225"/>
              <a:gd name="connsiteX130" fmla="*/ 4798382 w 5054240"/>
              <a:gd name="connsiteY130" fmla="*/ 208573 h 2128225"/>
              <a:gd name="connsiteX131" fmla="*/ 4988724 w 5054240"/>
              <a:gd name="connsiteY131" fmla="*/ 0 h 2128225"/>
              <a:gd name="connsiteX132" fmla="*/ 5054240 w 5054240"/>
              <a:gd name="connsiteY132" fmla="*/ 0 h 2128225"/>
              <a:gd name="connsiteX133" fmla="*/ 5054240 w 5054240"/>
              <a:gd name="connsiteY133" fmla="*/ 101253 h 2128225"/>
              <a:gd name="connsiteX134" fmla="*/ 4988724 w 5054240"/>
              <a:gd name="connsiteY134" fmla="*/ 101253 h 212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5054240" h="2128225">
                <a:moveTo>
                  <a:pt x="1035847" y="1710657"/>
                </a:moveTo>
                <a:lnTo>
                  <a:pt x="1035847" y="1817977"/>
                </a:lnTo>
                <a:lnTo>
                  <a:pt x="1086228" y="1817977"/>
                </a:lnTo>
                <a:lnTo>
                  <a:pt x="1086228" y="1710657"/>
                </a:lnTo>
                <a:close/>
                <a:moveTo>
                  <a:pt x="407851" y="1710270"/>
                </a:moveTo>
                <a:lnTo>
                  <a:pt x="497431" y="1710270"/>
                </a:lnTo>
                <a:lnTo>
                  <a:pt x="497431" y="1817588"/>
                </a:lnTo>
                <a:lnTo>
                  <a:pt x="407851" y="1817588"/>
                </a:lnTo>
                <a:close/>
                <a:moveTo>
                  <a:pt x="1551304" y="1602717"/>
                </a:moveTo>
                <a:lnTo>
                  <a:pt x="1551304" y="1710037"/>
                </a:lnTo>
                <a:lnTo>
                  <a:pt x="1640885" y="1710037"/>
                </a:lnTo>
                <a:lnTo>
                  <a:pt x="1640885" y="1602717"/>
                </a:lnTo>
                <a:close/>
                <a:moveTo>
                  <a:pt x="1253272" y="1602717"/>
                </a:moveTo>
                <a:lnTo>
                  <a:pt x="1253357" y="1602794"/>
                </a:lnTo>
                <a:lnTo>
                  <a:pt x="1253144" y="1602988"/>
                </a:lnTo>
                <a:lnTo>
                  <a:pt x="1253102" y="1602988"/>
                </a:lnTo>
                <a:lnTo>
                  <a:pt x="1253102" y="1710657"/>
                </a:lnTo>
                <a:lnTo>
                  <a:pt x="1303100" y="1710657"/>
                </a:lnTo>
                <a:lnTo>
                  <a:pt x="1303100" y="1602717"/>
                </a:lnTo>
                <a:close/>
                <a:moveTo>
                  <a:pt x="2480990" y="1280526"/>
                </a:moveTo>
                <a:lnTo>
                  <a:pt x="2480990" y="1387845"/>
                </a:lnTo>
                <a:lnTo>
                  <a:pt x="2531371" y="1387845"/>
                </a:lnTo>
                <a:lnTo>
                  <a:pt x="2531371" y="1280526"/>
                </a:lnTo>
                <a:close/>
                <a:moveTo>
                  <a:pt x="1925144" y="1173439"/>
                </a:moveTo>
                <a:lnTo>
                  <a:pt x="2149072" y="1173439"/>
                </a:lnTo>
                <a:lnTo>
                  <a:pt x="2149072" y="1280758"/>
                </a:lnTo>
                <a:lnTo>
                  <a:pt x="1925144" y="1280758"/>
                </a:lnTo>
                <a:close/>
                <a:moveTo>
                  <a:pt x="1785182" y="1173439"/>
                </a:moveTo>
                <a:lnTo>
                  <a:pt x="1874763" y="1173439"/>
                </a:lnTo>
                <a:lnTo>
                  <a:pt x="1874763" y="1280758"/>
                </a:lnTo>
                <a:lnTo>
                  <a:pt x="1785182" y="1280758"/>
                </a:lnTo>
                <a:close/>
                <a:moveTo>
                  <a:pt x="3252434" y="1066081"/>
                </a:moveTo>
                <a:lnTo>
                  <a:pt x="3252434" y="1173400"/>
                </a:lnTo>
                <a:lnTo>
                  <a:pt x="3302814" y="1173400"/>
                </a:lnTo>
                <a:lnTo>
                  <a:pt x="3302814" y="1066081"/>
                </a:lnTo>
                <a:close/>
                <a:moveTo>
                  <a:pt x="3365057" y="958762"/>
                </a:moveTo>
                <a:lnTo>
                  <a:pt x="3365057" y="1066081"/>
                </a:lnTo>
                <a:lnTo>
                  <a:pt x="3454638" y="1066081"/>
                </a:lnTo>
                <a:lnTo>
                  <a:pt x="3454638" y="958762"/>
                </a:lnTo>
                <a:close/>
                <a:moveTo>
                  <a:pt x="4110141" y="745131"/>
                </a:moveTo>
                <a:lnTo>
                  <a:pt x="4110141" y="851442"/>
                </a:lnTo>
                <a:lnTo>
                  <a:pt x="4191814" y="851442"/>
                </a:lnTo>
                <a:lnTo>
                  <a:pt x="4191814" y="745131"/>
                </a:lnTo>
                <a:close/>
                <a:moveTo>
                  <a:pt x="3510673" y="637851"/>
                </a:moveTo>
                <a:lnTo>
                  <a:pt x="3600253" y="637851"/>
                </a:lnTo>
                <a:lnTo>
                  <a:pt x="3600253" y="745170"/>
                </a:lnTo>
                <a:lnTo>
                  <a:pt x="3510673" y="745170"/>
                </a:lnTo>
                <a:close/>
                <a:moveTo>
                  <a:pt x="3874563" y="637812"/>
                </a:moveTo>
                <a:lnTo>
                  <a:pt x="3874563" y="744122"/>
                </a:lnTo>
                <a:lnTo>
                  <a:pt x="3924944" y="744122"/>
                </a:lnTo>
                <a:lnTo>
                  <a:pt x="3924944" y="637812"/>
                </a:lnTo>
                <a:close/>
                <a:moveTo>
                  <a:pt x="4748596" y="315893"/>
                </a:moveTo>
                <a:lnTo>
                  <a:pt x="4748596" y="423174"/>
                </a:lnTo>
                <a:lnTo>
                  <a:pt x="4798978" y="423174"/>
                </a:lnTo>
                <a:lnTo>
                  <a:pt x="4798978" y="315893"/>
                </a:lnTo>
                <a:close/>
                <a:moveTo>
                  <a:pt x="4798382" y="101253"/>
                </a:moveTo>
                <a:lnTo>
                  <a:pt x="4846806" y="101253"/>
                </a:lnTo>
                <a:lnTo>
                  <a:pt x="4846806" y="208573"/>
                </a:lnTo>
                <a:lnTo>
                  <a:pt x="4938342" y="208573"/>
                </a:lnTo>
                <a:lnTo>
                  <a:pt x="4938342" y="315853"/>
                </a:lnTo>
                <a:lnTo>
                  <a:pt x="4988724" y="315853"/>
                </a:lnTo>
                <a:lnTo>
                  <a:pt x="4988724" y="208573"/>
                </a:lnTo>
                <a:lnTo>
                  <a:pt x="5054198" y="208573"/>
                </a:lnTo>
                <a:lnTo>
                  <a:pt x="5054198" y="2128225"/>
                </a:lnTo>
                <a:lnTo>
                  <a:pt x="0" y="2128225"/>
                </a:lnTo>
                <a:lnTo>
                  <a:pt x="0" y="1924598"/>
                </a:lnTo>
                <a:lnTo>
                  <a:pt x="238597" y="1924598"/>
                </a:lnTo>
                <a:lnTo>
                  <a:pt x="238597" y="1817588"/>
                </a:lnTo>
                <a:lnTo>
                  <a:pt x="407851" y="1817588"/>
                </a:lnTo>
                <a:lnTo>
                  <a:pt x="407851" y="1924714"/>
                </a:lnTo>
                <a:lnTo>
                  <a:pt x="547812" y="1924714"/>
                </a:lnTo>
                <a:lnTo>
                  <a:pt x="547812" y="1710230"/>
                </a:lnTo>
                <a:lnTo>
                  <a:pt x="819401" y="1710230"/>
                </a:lnTo>
                <a:lnTo>
                  <a:pt x="819401" y="1602678"/>
                </a:lnTo>
                <a:lnTo>
                  <a:pt x="1026451" y="1602678"/>
                </a:lnTo>
                <a:lnTo>
                  <a:pt x="1026451" y="1495358"/>
                </a:lnTo>
                <a:lnTo>
                  <a:pt x="1118922" y="1495358"/>
                </a:lnTo>
                <a:lnTo>
                  <a:pt x="1118922" y="1387806"/>
                </a:lnTo>
                <a:lnTo>
                  <a:pt x="1169303" y="1387806"/>
                </a:lnTo>
                <a:lnTo>
                  <a:pt x="1169303" y="1495358"/>
                </a:lnTo>
                <a:lnTo>
                  <a:pt x="1392722" y="1495358"/>
                </a:lnTo>
                <a:lnTo>
                  <a:pt x="1392722" y="1602678"/>
                </a:lnTo>
                <a:lnTo>
                  <a:pt x="1442720" y="1602678"/>
                </a:lnTo>
                <a:lnTo>
                  <a:pt x="1442720" y="1495358"/>
                </a:lnTo>
                <a:lnTo>
                  <a:pt x="1546670" y="1495358"/>
                </a:lnTo>
                <a:lnTo>
                  <a:pt x="1546670" y="1387806"/>
                </a:lnTo>
                <a:lnTo>
                  <a:pt x="1835691" y="1387806"/>
                </a:lnTo>
                <a:lnTo>
                  <a:pt x="1835691" y="1495358"/>
                </a:lnTo>
                <a:lnTo>
                  <a:pt x="2068803" y="1495358"/>
                </a:lnTo>
                <a:lnTo>
                  <a:pt x="2068803" y="1388039"/>
                </a:lnTo>
                <a:lnTo>
                  <a:pt x="2295623" y="1388039"/>
                </a:lnTo>
                <a:lnTo>
                  <a:pt x="2295623" y="1280720"/>
                </a:lnTo>
                <a:lnTo>
                  <a:pt x="2199538" y="1280720"/>
                </a:lnTo>
                <a:lnTo>
                  <a:pt x="2199538" y="1173400"/>
                </a:lnTo>
                <a:lnTo>
                  <a:pt x="2566999" y="1173400"/>
                </a:lnTo>
                <a:lnTo>
                  <a:pt x="2566999" y="1066081"/>
                </a:lnTo>
                <a:lnTo>
                  <a:pt x="2790928" y="1066081"/>
                </a:lnTo>
                <a:lnTo>
                  <a:pt x="2790928" y="958762"/>
                </a:lnTo>
                <a:lnTo>
                  <a:pt x="3015282" y="958762"/>
                </a:lnTo>
                <a:lnTo>
                  <a:pt x="3015282" y="1066081"/>
                </a:lnTo>
                <a:lnTo>
                  <a:pt x="3160388" y="1066081"/>
                </a:lnTo>
                <a:lnTo>
                  <a:pt x="3160388" y="851442"/>
                </a:lnTo>
                <a:lnTo>
                  <a:pt x="3249968" y="851442"/>
                </a:lnTo>
                <a:lnTo>
                  <a:pt x="3249968" y="958762"/>
                </a:lnTo>
                <a:lnTo>
                  <a:pt x="3300306" y="958762"/>
                </a:lnTo>
                <a:lnTo>
                  <a:pt x="3300306" y="851442"/>
                </a:lnTo>
                <a:lnTo>
                  <a:pt x="3524236" y="851442"/>
                </a:lnTo>
                <a:lnTo>
                  <a:pt x="3524236" y="958762"/>
                </a:lnTo>
                <a:lnTo>
                  <a:pt x="3574616" y="958762"/>
                </a:lnTo>
                <a:lnTo>
                  <a:pt x="3574616" y="851442"/>
                </a:lnTo>
                <a:lnTo>
                  <a:pt x="3707860" y="851442"/>
                </a:lnTo>
                <a:lnTo>
                  <a:pt x="3707860" y="745131"/>
                </a:lnTo>
                <a:lnTo>
                  <a:pt x="3650719" y="745131"/>
                </a:lnTo>
                <a:lnTo>
                  <a:pt x="3650719" y="637812"/>
                </a:lnTo>
                <a:lnTo>
                  <a:pt x="3765978" y="637812"/>
                </a:lnTo>
                <a:lnTo>
                  <a:pt x="3765978" y="530493"/>
                </a:lnTo>
                <a:lnTo>
                  <a:pt x="3816360" y="530493"/>
                </a:lnTo>
                <a:lnTo>
                  <a:pt x="3816360" y="637812"/>
                </a:lnTo>
                <a:lnTo>
                  <a:pt x="3874308" y="637812"/>
                </a:lnTo>
                <a:lnTo>
                  <a:pt x="3874308" y="530493"/>
                </a:lnTo>
                <a:lnTo>
                  <a:pt x="4098194" y="530493"/>
                </a:lnTo>
                <a:lnTo>
                  <a:pt x="4098194" y="637812"/>
                </a:lnTo>
                <a:lnTo>
                  <a:pt x="4281096" y="637812"/>
                </a:lnTo>
                <a:lnTo>
                  <a:pt x="4281096" y="530493"/>
                </a:lnTo>
                <a:lnTo>
                  <a:pt x="4191855" y="530493"/>
                </a:lnTo>
                <a:lnTo>
                  <a:pt x="4191855" y="423174"/>
                </a:lnTo>
                <a:lnTo>
                  <a:pt x="4524710" y="423174"/>
                </a:lnTo>
                <a:lnTo>
                  <a:pt x="4524710" y="315853"/>
                </a:lnTo>
                <a:lnTo>
                  <a:pt x="4714499" y="315853"/>
                </a:lnTo>
                <a:lnTo>
                  <a:pt x="4714499" y="208573"/>
                </a:lnTo>
                <a:lnTo>
                  <a:pt x="4798382" y="208573"/>
                </a:lnTo>
                <a:close/>
                <a:moveTo>
                  <a:pt x="4988724" y="0"/>
                </a:moveTo>
                <a:lnTo>
                  <a:pt x="5054240" y="0"/>
                </a:lnTo>
                <a:lnTo>
                  <a:pt x="5054240" y="101253"/>
                </a:lnTo>
                <a:lnTo>
                  <a:pt x="4988724" y="101253"/>
                </a:lnTo>
                <a:close/>
              </a:path>
            </a:pathLst>
          </a:custGeom>
        </p:spPr>
      </p:pic>
      <p:sp>
        <p:nvSpPr>
          <p:cNvPr id="2" name="Title 2">
            <a:extLst>
              <a:ext uri="{FF2B5EF4-FFF2-40B4-BE49-F238E27FC236}">
                <a16:creationId xmlns:a16="http://schemas.microsoft.com/office/drawing/2014/main" id="{A359BC39-9F0F-F78E-7370-539E6E562D6E}"/>
              </a:ext>
            </a:extLst>
          </p:cNvPr>
          <p:cNvSpPr txBox="1">
            <a:spLocks/>
          </p:cNvSpPr>
          <p:nvPr userDrawn="1">
            <p:custDataLst>
              <p:tags r:id="rId1"/>
            </p:custDataLst>
          </p:nvPr>
        </p:nvSpPr>
        <p:spPr>
          <a:xfrm>
            <a:off x="335407" y="400812"/>
            <a:ext cx="8261924"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noProof="0">
              <a:ln>
                <a:noFill/>
              </a:ln>
              <a:solidFill>
                <a:srgbClr val="63666A"/>
              </a:solidFill>
              <a:effectLst/>
              <a:uLnTx/>
              <a:uFillTx/>
              <a:latin typeface="Arial"/>
              <a:ea typeface="+mj-ea"/>
              <a:cs typeface="+mj-cs"/>
            </a:endParaRPr>
          </a:p>
        </p:txBody>
      </p:sp>
    </p:spTree>
    <p:extLst>
      <p:ext uri="{BB962C8B-B14F-4D97-AF65-F5344CB8AC3E}">
        <p14:creationId xmlns:p14="http://schemas.microsoft.com/office/powerpoint/2010/main" val="36740722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70560" y="1633728"/>
            <a:ext cx="8778240" cy="4335272"/>
          </a:xfrm>
        </p:spPr>
        <p:txBody>
          <a:bodyPr lIns="0" tIns="0" rIns="0" bIns="0">
            <a:normAutofit/>
          </a:bodyPr>
          <a:lstStyle>
            <a:lvl1pPr marL="230712" indent="-230712">
              <a:lnSpc>
                <a:spcPct val="90000"/>
              </a:lnSpc>
              <a:spcBef>
                <a:spcPts val="1600"/>
              </a:spcBef>
              <a:spcAft>
                <a:spcPts val="0"/>
              </a:spcAft>
              <a:buClr>
                <a:schemeClr val="tx1"/>
              </a:buClr>
              <a:buFont typeface="Arial" panose="020B0604020202020204" pitchFamily="34" charset="0"/>
              <a:buChar char="•"/>
              <a:defRPr sz="2667" b="0" baseline="0">
                <a:solidFill>
                  <a:schemeClr val="tx1"/>
                </a:solidFill>
              </a:defRPr>
            </a:lvl1pPr>
            <a:lvl2pPr marL="531271" indent="-154513">
              <a:lnSpc>
                <a:spcPct val="90000"/>
              </a:lnSpc>
              <a:spcBef>
                <a:spcPts val="800"/>
              </a:spcBef>
              <a:spcAft>
                <a:spcPts val="0"/>
              </a:spcAft>
              <a:buClr>
                <a:schemeClr val="accent1"/>
              </a:buClr>
              <a:buFont typeface="Arial" panose="020B0604020202020204" pitchFamily="34" charset="0"/>
              <a:buChar char="-"/>
              <a:tabLst/>
              <a:defRPr sz="2133" baseline="0">
                <a:solidFill>
                  <a:schemeClr val="accent1"/>
                </a:solidFill>
              </a:defRPr>
            </a:lvl2pPr>
            <a:lvl3pPr marL="766214" indent="-152396">
              <a:lnSpc>
                <a:spcPct val="100000"/>
              </a:lnSpc>
              <a:spcBef>
                <a:spcPts val="800"/>
              </a:spcBef>
              <a:buClr>
                <a:schemeClr val="accent1"/>
              </a:buClr>
              <a:buFont typeface="Arial" panose="020B0604020202020204" pitchFamily="34" charset="0"/>
              <a:buChar char="-"/>
              <a:defRPr sz="1867">
                <a:solidFill>
                  <a:schemeClr val="accent1"/>
                </a:solidFill>
              </a:defRPr>
            </a:lvl3pPr>
            <a:lvl5pPr>
              <a:defRPr/>
            </a:lvl5pPr>
          </a:lstStyle>
          <a:p>
            <a:pPr>
              <a:buClr>
                <a:schemeClr val="tx1"/>
              </a:buClr>
            </a:pPr>
            <a:r>
              <a:rPr lang="en-US"/>
              <a:t>First Level</a:t>
            </a:r>
          </a:p>
          <a:p>
            <a:pPr lvl="1">
              <a:buClr>
                <a:schemeClr val="tx1"/>
              </a:buClr>
            </a:pPr>
            <a:r>
              <a:rPr lang="en-US"/>
              <a:t>Second Level</a:t>
            </a:r>
          </a:p>
          <a:p>
            <a:pPr lvl="2">
              <a:buClr>
                <a:schemeClr val="tx1"/>
              </a:buClr>
            </a:pPr>
            <a:r>
              <a:rPr lang="en-US"/>
              <a:t>Third Level</a:t>
            </a:r>
          </a:p>
        </p:txBody>
      </p:sp>
      <p:sp>
        <p:nvSpPr>
          <p:cNvPr id="10" name="Title 1"/>
          <p:cNvSpPr>
            <a:spLocks noGrp="1"/>
          </p:cNvSpPr>
          <p:nvPr>
            <p:ph type="title" hasCustomPrompt="1"/>
          </p:nvPr>
        </p:nvSpPr>
        <p:spPr>
          <a:xfrm>
            <a:off x="670560" y="381000"/>
            <a:ext cx="10911840" cy="844296"/>
          </a:xfrm>
        </p:spPr>
        <p:txBody>
          <a:bodyPr anchor="b" anchorCtr="0"/>
          <a:lstStyle>
            <a:lvl1pPr>
              <a:defRPr/>
            </a:lvl1pPr>
          </a:lstStyle>
          <a:p>
            <a:br>
              <a:rPr lang="en-US"/>
            </a:br>
            <a:r>
              <a:rPr lang="en-US"/>
              <a:t>Click to edit Master title style</a:t>
            </a:r>
          </a:p>
        </p:txBody>
      </p:sp>
    </p:spTree>
    <p:extLst>
      <p:ext uri="{BB962C8B-B14F-4D97-AF65-F5344CB8AC3E}">
        <p14:creationId xmlns:p14="http://schemas.microsoft.com/office/powerpoint/2010/main" val="1931511105"/>
      </p:ext>
    </p:extLst>
  </p:cSld>
  <p:clrMapOvr>
    <a:masterClrMapping/>
  </p:clrMapOvr>
  <p:hf hdr="0" dt="0"/>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3_Title, subtitle and content layout">
    <p:bg>
      <p:bgPr>
        <a:solidFill>
          <a:schemeClr val="tx1"/>
        </a:solidFill>
        <a:effectLst/>
      </p:bgPr>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0">
                <a:solidFill>
                  <a:schemeClr val="bg1"/>
                </a:solidFill>
              </a:defRPr>
            </a:lvl1pPr>
          </a:lstStyle>
          <a:p>
            <a:pPr lvl="0"/>
            <a:r>
              <a:rPr lang="en-US"/>
              <a:t>Click to add subheading</a:t>
            </a:r>
            <a:endParaRPr lang="en-GB"/>
          </a:p>
        </p:txBody>
      </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600" y="2487726"/>
            <a:ext cx="7788608" cy="437027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grpSp>
        <p:nvGrpSpPr>
          <p:cNvPr id="8" name="Group 7">
            <a:extLst>
              <a:ext uri="{FF2B5EF4-FFF2-40B4-BE49-F238E27FC236}">
                <a16:creationId xmlns:a16="http://schemas.microsoft.com/office/drawing/2014/main" id="{2782FBF0-9D9E-19AE-DC30-0796829725EF}"/>
              </a:ext>
            </a:extLst>
          </p:cNvPr>
          <p:cNvGrpSpPr/>
          <p:nvPr userDrawn="1"/>
        </p:nvGrpSpPr>
        <p:grpSpPr>
          <a:xfrm>
            <a:off x="10863102" y="309052"/>
            <a:ext cx="911847" cy="382707"/>
            <a:chOff x="7459170" y="481236"/>
            <a:chExt cx="2697427" cy="1132124"/>
          </a:xfrm>
          <a:solidFill>
            <a:schemeClr val="bg1"/>
          </a:solidFill>
        </p:grpSpPr>
        <p:sp>
          <p:nvSpPr>
            <p:cNvPr id="9" name="Freeform 8">
              <a:extLst>
                <a:ext uri="{FF2B5EF4-FFF2-40B4-BE49-F238E27FC236}">
                  <a16:creationId xmlns:a16="http://schemas.microsoft.com/office/drawing/2014/main" id="{42864910-4C7A-3D4E-48CD-D85DC4AD32A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D69A189-E4A4-09BC-625A-758110B855A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BDE20C1-01CD-0CE9-490C-A9CF25F6EB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4EEA97-1562-463A-B42C-64C9073EE06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E66572C-F5C9-C297-A47F-DDF2919DAF5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4611A91-BFB8-7814-3464-E6309F7AED7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D9681DA-ADD0-918D-C879-984AD193B14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1959027003"/>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r>
              <a:rPr lang="en-GB"/>
              <a:t>January 2024</a:t>
            </a:r>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0" name="Title Placeholder 13">
            <a:extLst>
              <a:ext uri="{FF2B5EF4-FFF2-40B4-BE49-F238E27FC236}">
                <a16:creationId xmlns:a16="http://schemas.microsoft.com/office/drawing/2014/main" id="{FEDC99D9-7D20-7A02-6B05-F38CE8BA333B}"/>
              </a:ext>
            </a:extLst>
          </p:cNvPr>
          <p:cNvSpPr>
            <a:spLocks noGrp="1"/>
          </p:cNvSpPr>
          <p:nvPr>
            <p:ph type="title"/>
          </p:nvPr>
        </p:nvSpPr>
        <p:spPr>
          <a:xfrm>
            <a:off x="245607" y="120481"/>
            <a:ext cx="10620375" cy="553998"/>
          </a:xfrm>
          <a:prstGeom prst="rect">
            <a:avLst/>
          </a:prstGeom>
        </p:spPr>
        <p:txBody>
          <a:bodyPr vert="horz" wrap="square" lIns="0" tIns="0" rIns="0" bIns="0" rtlCol="0" anchor="t" anchorCtr="0">
            <a:spAutoFit/>
          </a:bodyPr>
          <a:lstStyle/>
          <a:p>
            <a:r>
              <a:rPr lang="en-US"/>
              <a:t>Click to add heading</a:t>
            </a:r>
            <a:endParaRPr lang="en-GB"/>
          </a:p>
        </p:txBody>
      </p:sp>
    </p:spTree>
    <p:extLst>
      <p:ext uri="{BB962C8B-B14F-4D97-AF65-F5344CB8AC3E}">
        <p14:creationId xmlns:p14="http://schemas.microsoft.com/office/powerpoint/2010/main" val="155525560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2_Title, subtitle and content layout">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61102700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userDrawn="1">
  <p:cSld name="Texture-01">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00E2FCD-8CD8-00FD-C558-D19EF5E99D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454" y="133351"/>
            <a:ext cx="11915209" cy="6579552"/>
          </a:xfrm>
          <a:prstGeom prst="rect">
            <a:avLst/>
          </a:prstGeom>
        </p:spPr>
      </p:pic>
      <p:pic>
        <p:nvPicPr>
          <p:cNvPr id="3" name="Picture 2">
            <a:extLst>
              <a:ext uri="{FF2B5EF4-FFF2-40B4-BE49-F238E27FC236}">
                <a16:creationId xmlns:a16="http://schemas.microsoft.com/office/drawing/2014/main" id="{47F70AAE-A14D-86B4-18B7-4837A234728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44079" y="6534150"/>
            <a:ext cx="1539367" cy="120512"/>
          </a:xfrm>
          <a:prstGeom prst="rect">
            <a:avLst/>
          </a:prstGeom>
        </p:spPr>
      </p:pic>
      <p:sp>
        <p:nvSpPr>
          <p:cNvPr id="4" name="Footer Placeholder 3">
            <a:extLst>
              <a:ext uri="{FF2B5EF4-FFF2-40B4-BE49-F238E27FC236}">
                <a16:creationId xmlns:a16="http://schemas.microsoft.com/office/drawing/2014/main" id="{21AED7B6-E930-4B73-845F-99262175EA18}"/>
              </a:ext>
            </a:extLst>
          </p:cNvPr>
          <p:cNvSpPr>
            <a:spLocks noGrp="1"/>
          </p:cNvSpPr>
          <p:nvPr>
            <p:ph type="ftr" sz="quarter" idx="11"/>
          </p:nvPr>
        </p:nvSpPr>
        <p:spPr/>
        <p:txBody>
          <a:bodyPr/>
          <a:lstStyle>
            <a:lvl1pPr>
              <a:defRPr>
                <a:solidFill>
                  <a:srgbClr val="81B2C3"/>
                </a:solidFill>
              </a:defRPr>
            </a:lvl1pPr>
          </a:lstStyle>
          <a:p>
            <a:r>
              <a:rPr lang="en-US"/>
              <a:t>Copyright © 2025, Oracle and/or its affiliates</a:t>
            </a:r>
          </a:p>
        </p:txBody>
      </p:sp>
      <p:sp>
        <p:nvSpPr>
          <p:cNvPr id="5" name="Slide Number Placeholder 4">
            <a:extLst>
              <a:ext uri="{FF2B5EF4-FFF2-40B4-BE49-F238E27FC236}">
                <a16:creationId xmlns:a16="http://schemas.microsoft.com/office/drawing/2014/main" id="{83691DFD-B788-4684-96F9-4DD21020B309}"/>
              </a:ext>
            </a:extLst>
          </p:cNvPr>
          <p:cNvSpPr>
            <a:spLocks noGrp="1"/>
          </p:cNvSpPr>
          <p:nvPr>
            <p:ph type="sldNum" sz="quarter" idx="12"/>
          </p:nvPr>
        </p:nvSpPr>
        <p:spPr/>
        <p:txBody>
          <a:bodyPr/>
          <a:lstStyle>
            <a:lvl1pPr>
              <a:defRPr>
                <a:solidFill>
                  <a:srgbClr val="81B2C3"/>
                </a:solidFill>
              </a:defRPr>
            </a:lvl1pPr>
          </a:lstStyle>
          <a:p>
            <a:fld id="{345D60D9-5372-5F40-9443-0F9AE5BDC3C8}" type="slidenum">
              <a:rPr lang="en-US" smtClean="0"/>
              <a:pPr/>
              <a:t>‹#›</a:t>
            </a:fld>
            <a:endParaRPr lang="en-US"/>
          </a:p>
        </p:txBody>
      </p:sp>
    </p:spTree>
    <p:extLst>
      <p:ext uri="{BB962C8B-B14F-4D97-AF65-F5344CB8AC3E}">
        <p14:creationId xmlns:p14="http://schemas.microsoft.com/office/powerpoint/2010/main" val="1298305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793630"/>
            <a:ext cx="10845800" cy="5412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508000" y="620606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Tree>
    <p:extLst>
      <p:ext uri="{BB962C8B-B14F-4D97-AF65-F5344CB8AC3E}">
        <p14:creationId xmlns:p14="http://schemas.microsoft.com/office/powerpoint/2010/main" val="205112679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grpSp>
        <p:nvGrpSpPr>
          <p:cNvPr id="4" name="Group 3"/>
          <p:cNvGrpSpPr/>
          <p:nvPr userDrawn="1"/>
        </p:nvGrpSpPr>
        <p:grpSpPr>
          <a:xfrm>
            <a:off x="603136" y="648306"/>
            <a:ext cx="2303185" cy="45719"/>
            <a:chOff x="586073" y="1056890"/>
            <a:chExt cx="2303185" cy="63781"/>
          </a:xfrm>
        </p:grpSpPr>
        <p:sp>
          <p:nvSpPr>
            <p:cNvPr id="5" name="Rounded Rectangle 4"/>
            <p:cNvSpPr/>
            <p:nvPr/>
          </p:nvSpPr>
          <p:spPr>
            <a:xfrm>
              <a:off x="586073" y="1056890"/>
              <a:ext cx="443834" cy="63781"/>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1048916" y="1056891"/>
              <a:ext cx="661896" cy="6377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1729821" y="1056893"/>
              <a:ext cx="1159437" cy="6377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92717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4189064C-0A44-4657-9615-5AB7444DA03C}"/>
              </a:ext>
            </a:extLst>
          </p:cNvPr>
          <p:cNvSpPr>
            <a:spLocks noGrp="1"/>
          </p:cNvSpPr>
          <p:nvPr>
            <p:ph type="sldNum" sz="quarter" idx="10"/>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40317923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609600" y="838201"/>
            <a:ext cx="5145601" cy="51816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0300" y="838201"/>
            <a:ext cx="5143500" cy="51816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084264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BBFAE-89EF-4B81-B6D0-BC4B6E92AE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7651F3-3104-4DD8-9DD7-6E53B11708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79031285"/>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3"/>
        <p:cNvGrpSpPr/>
        <p:nvPr/>
      </p:nvGrpSpPr>
      <p:grpSpPr>
        <a:xfrm>
          <a:off x="0" y="0"/>
          <a:ext cx="0" cy="0"/>
          <a:chOff x="0" y="0"/>
          <a:chExt cx="0" cy="0"/>
        </a:xfrm>
      </p:grpSpPr>
      <p:sp>
        <p:nvSpPr>
          <p:cNvPr id="74" name="Google Shape;74;p16"/>
          <p:cNvSpPr txBox="1">
            <a:spLocks noGrp="1"/>
          </p:cNvSpPr>
          <p:nvPr>
            <p:ph type="title"/>
          </p:nvPr>
        </p:nvSpPr>
        <p:spPr>
          <a:xfrm>
            <a:off x="677473" y="714169"/>
            <a:ext cx="10837200" cy="4836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75" name="Google Shape;75;p16"/>
          <p:cNvSpPr txBox="1">
            <a:spLocks noGrp="1"/>
          </p:cNvSpPr>
          <p:nvPr>
            <p:ph type="sldNum" idx="12"/>
          </p:nvPr>
        </p:nvSpPr>
        <p:spPr>
          <a:xfrm>
            <a:off x="8771327" y="6402411"/>
            <a:ext cx="2743200" cy="206000"/>
          </a:xfrm>
          <a:prstGeom prst="rect">
            <a:avLst/>
          </a:prstGeom>
          <a:noFill/>
          <a:ln>
            <a:noFill/>
          </a:ln>
        </p:spPr>
        <p:txBody>
          <a:bodyPr spcFirstLastPara="1" wrap="square" lIns="68575" tIns="34275" rIns="68575" bIns="34275"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9956168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2 Logo">
  <p:cSld name="2 Logo">
    <p:spTree>
      <p:nvGrpSpPr>
        <p:cNvPr id="1" name="Shape 1292"/>
        <p:cNvGrpSpPr/>
        <p:nvPr/>
      </p:nvGrpSpPr>
      <p:grpSpPr>
        <a:xfrm>
          <a:off x="0" y="0"/>
          <a:ext cx="0" cy="0"/>
          <a:chOff x="0" y="0"/>
          <a:chExt cx="0" cy="0"/>
        </a:xfrm>
      </p:grpSpPr>
      <p:pic>
        <p:nvPicPr>
          <p:cNvPr id="1293" name="Google Shape;1293;p76"/>
          <p:cNvPicPr preferRelativeResize="0"/>
          <p:nvPr/>
        </p:nvPicPr>
        <p:blipFill rotWithShape="1">
          <a:blip r:embed="rId2">
            <a:alphaModFix/>
          </a:blip>
          <a:srcRect/>
          <a:stretch/>
        </p:blipFill>
        <p:spPr>
          <a:xfrm>
            <a:off x="11033333" y="565460"/>
            <a:ext cx="635735" cy="445095"/>
          </a:xfrm>
          <a:prstGeom prst="rect">
            <a:avLst/>
          </a:prstGeom>
          <a:noFill/>
          <a:ln>
            <a:noFill/>
          </a:ln>
        </p:spPr>
      </p:pic>
    </p:spTree>
    <p:extLst>
      <p:ext uri="{BB962C8B-B14F-4D97-AF65-F5344CB8AC3E}">
        <p14:creationId xmlns:p14="http://schemas.microsoft.com/office/powerpoint/2010/main" val="1445677306"/>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matchingName="Basic - two line">
  <p:cSld name="Basic - two line">
    <p:spTree>
      <p:nvGrpSpPr>
        <p:cNvPr id="1" name="Shape 3964"/>
        <p:cNvGrpSpPr/>
        <p:nvPr/>
      </p:nvGrpSpPr>
      <p:grpSpPr>
        <a:xfrm>
          <a:off x="0" y="0"/>
          <a:ext cx="0" cy="0"/>
          <a:chOff x="0" y="0"/>
          <a:chExt cx="0" cy="0"/>
        </a:xfrm>
      </p:grpSpPr>
      <p:pic>
        <p:nvPicPr>
          <p:cNvPr id="3965" name="Google Shape;3965;p277" descr="Salesforce logoGoogle Shape;13;p3"/>
          <p:cNvPicPr preferRelativeResize="0"/>
          <p:nvPr/>
        </p:nvPicPr>
        <p:blipFill rotWithShape="1">
          <a:blip r:embed="rId2">
            <a:alphaModFix/>
          </a:blip>
          <a:srcRect/>
          <a:stretch/>
        </p:blipFill>
        <p:spPr>
          <a:xfrm>
            <a:off x="11033333" y="565459"/>
            <a:ext cx="635735" cy="445096"/>
          </a:xfrm>
          <a:prstGeom prst="rect">
            <a:avLst/>
          </a:prstGeom>
          <a:noFill/>
          <a:ln>
            <a:noFill/>
          </a:ln>
        </p:spPr>
      </p:pic>
      <p:sp>
        <p:nvSpPr>
          <p:cNvPr id="3966" name="Google Shape;3966;p277"/>
          <p:cNvSpPr txBox="1">
            <a:spLocks noGrp="1"/>
          </p:cNvSpPr>
          <p:nvPr>
            <p:ph type="body" idx="1"/>
          </p:nvPr>
        </p:nvSpPr>
        <p:spPr>
          <a:xfrm>
            <a:off x="547366" y="6365912"/>
            <a:ext cx="11040000" cy="165600"/>
          </a:xfrm>
          <a:prstGeom prst="rect">
            <a:avLst/>
          </a:prstGeom>
          <a:noFill/>
          <a:ln>
            <a:noFill/>
          </a:ln>
        </p:spPr>
        <p:txBody>
          <a:bodyPr spcFirstLastPara="1" wrap="square" lIns="0" tIns="0" rIns="0" bIns="0" anchor="b" anchorCtr="0">
            <a:noAutofit/>
          </a:bodyPr>
          <a:lstStyle>
            <a:lvl1pPr marL="304815" lvl="0" indent="-152408" algn="l">
              <a:lnSpc>
                <a:spcPct val="115000"/>
              </a:lnSpc>
              <a:spcBef>
                <a:spcPts val="0"/>
              </a:spcBef>
              <a:spcAft>
                <a:spcPts val="0"/>
              </a:spcAft>
              <a:buClr>
                <a:srgbClr val="444444"/>
              </a:buClr>
              <a:buSzPts val="1400"/>
              <a:buFont typeface="Salesforce Sans"/>
              <a:buNone/>
              <a:defRPr sz="933">
                <a:solidFill>
                  <a:srgbClr val="444444"/>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7" name="Google Shape;3967;p277"/>
          <p:cNvSpPr txBox="1">
            <a:spLocks noGrp="1"/>
          </p:cNvSpPr>
          <p:nvPr>
            <p:ph type="body" idx="2"/>
          </p:nvPr>
        </p:nvSpPr>
        <p:spPr>
          <a:xfrm>
            <a:off x="547369" y="579119"/>
            <a:ext cx="10095200" cy="1042400"/>
          </a:xfrm>
          <a:prstGeom prst="rect">
            <a:avLst/>
          </a:prstGeom>
          <a:noFill/>
          <a:ln>
            <a:noFill/>
          </a:ln>
        </p:spPr>
        <p:txBody>
          <a:bodyPr spcFirstLastPara="1" wrap="square" lIns="0" tIns="0" rIns="0" bIns="0" anchor="t" anchorCtr="0">
            <a:noAutofit/>
          </a:bodyPr>
          <a:lstStyle>
            <a:lvl1pPr marL="304815" lvl="0" indent="-279414" algn="l">
              <a:lnSpc>
                <a:spcPct val="100000"/>
              </a:lnSpc>
              <a:spcBef>
                <a:spcPts val="533"/>
              </a:spcBef>
              <a:spcAft>
                <a:spcPts val="0"/>
              </a:spcAft>
              <a:buSzPts val="3000"/>
              <a:buChar char="●"/>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8" name="Google Shape;3968;p277"/>
          <p:cNvSpPr txBox="1">
            <a:spLocks noGrp="1"/>
          </p:cNvSpPr>
          <p:nvPr>
            <p:ph type="body" idx="3"/>
          </p:nvPr>
        </p:nvSpPr>
        <p:spPr>
          <a:xfrm>
            <a:off x="547369" y="1676400"/>
            <a:ext cx="10095200" cy="597600"/>
          </a:xfrm>
          <a:prstGeom prst="rect">
            <a:avLst/>
          </a:prstGeom>
          <a:noFill/>
          <a:ln>
            <a:noFill/>
          </a:ln>
        </p:spPr>
        <p:txBody>
          <a:bodyPr spcFirstLastPara="1" wrap="square" lIns="0" tIns="0" rIns="0" bIns="0" anchor="t" anchorCtr="0">
            <a:noAutofit/>
          </a:bodyPr>
          <a:lstStyle>
            <a:lvl1pPr marL="304815" lvl="0" indent="-152408" algn="l">
              <a:lnSpc>
                <a:spcPct val="90000"/>
              </a:lnSpc>
              <a:spcBef>
                <a:spcPts val="0"/>
              </a:spcBef>
              <a:spcAft>
                <a:spcPts val="0"/>
              </a:spcAft>
              <a:buClr>
                <a:srgbClr val="032D60"/>
              </a:buClr>
              <a:buSzPts val="3600"/>
              <a:buFont typeface="Salesforce Sans"/>
              <a:buNone/>
              <a:defRPr sz="2400">
                <a:solidFill>
                  <a:srgbClr val="032D60"/>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9" name="Google Shape;3969;p277"/>
          <p:cNvSpPr txBox="1">
            <a:spLocks noGrp="1"/>
          </p:cNvSpPr>
          <p:nvPr>
            <p:ph type="sldNum" idx="12"/>
          </p:nvPr>
        </p:nvSpPr>
        <p:spPr>
          <a:xfrm>
            <a:off x="5892799" y="6126500"/>
            <a:ext cx="2844800" cy="460000"/>
          </a:xfrm>
          <a:prstGeom prst="rect">
            <a:avLst/>
          </a:prstGeom>
          <a:noFill/>
          <a:ln>
            <a:noFill/>
          </a:ln>
        </p:spPr>
        <p:txBody>
          <a:bodyPr spcFirstLastPara="1" wrap="square" lIns="182850" tIns="182850" rIns="182850" bIns="182850" anchor="ctr" anchorCtr="0">
            <a:normAutofit/>
          </a:bodyPr>
          <a:lstStyle>
            <a:lvl1pPr marL="0" lvl="0"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1pPr>
            <a:lvl2pPr marL="0" lvl="1"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2pPr>
            <a:lvl3pPr marL="0" lvl="2"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3pPr>
            <a:lvl4pPr marL="0" lvl="3"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4pPr>
            <a:lvl5pPr marL="0" lvl="4"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5pPr>
            <a:lvl6pPr marL="0" lvl="5"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6pPr>
            <a:lvl7pPr marL="0" lvl="6"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7pPr>
            <a:lvl8pPr marL="0" lvl="7"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8pPr>
            <a:lvl9pPr marL="0" lvl="8"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9pPr>
          </a:lstStyle>
          <a:p>
            <a:fld id="{00000000-1234-1234-1234-123412341234}" type="slidenum">
              <a:rPr lang="en" smtClean="0"/>
              <a:pPr/>
              <a:t>‹#›</a:t>
            </a:fld>
            <a:endParaRPr lang="en">
              <a:solidFill>
                <a:schemeClr val="dk2"/>
              </a:solidFill>
              <a:latin typeface="Arial"/>
              <a:ea typeface="Arial"/>
              <a:cs typeface="Arial"/>
              <a:sym typeface="Arial"/>
            </a:endParaRPr>
          </a:p>
        </p:txBody>
      </p:sp>
    </p:spTree>
    <p:extLst>
      <p:ext uri="{BB962C8B-B14F-4D97-AF65-F5344CB8AC3E}">
        <p14:creationId xmlns:p14="http://schemas.microsoft.com/office/powerpoint/2010/main" val="153531039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37 Product feature 1">
  <p:cSld name="37 Product feature 1">
    <p:bg>
      <p:bgPr>
        <a:solidFill>
          <a:schemeClr val="accent5"/>
        </a:solidFill>
        <a:effectLst/>
      </p:bgPr>
    </p:bg>
    <p:spTree>
      <p:nvGrpSpPr>
        <p:cNvPr id="1" name="Shape 4401"/>
        <p:cNvGrpSpPr/>
        <p:nvPr/>
      </p:nvGrpSpPr>
      <p:grpSpPr>
        <a:xfrm>
          <a:off x="0" y="0"/>
          <a:ext cx="0" cy="0"/>
          <a:chOff x="0" y="0"/>
          <a:chExt cx="0" cy="0"/>
        </a:xfrm>
      </p:grpSpPr>
      <p:pic>
        <p:nvPicPr>
          <p:cNvPr id="4402" name="Google Shape;4402;p320"/>
          <p:cNvPicPr preferRelativeResize="0"/>
          <p:nvPr/>
        </p:nvPicPr>
        <p:blipFill rotWithShape="1">
          <a:blip r:embed="rId2">
            <a:alphaModFix amt="38000"/>
          </a:blip>
          <a:srcRect l="894" t="10837" r="42467" b="30071"/>
          <a:stretch/>
        </p:blipFill>
        <p:spPr>
          <a:xfrm rot="10800000" flipH="1">
            <a:off x="9361771" y="-45033"/>
            <a:ext cx="3236721" cy="2336147"/>
          </a:xfrm>
          <a:prstGeom prst="rect">
            <a:avLst/>
          </a:prstGeom>
          <a:noFill/>
          <a:ln>
            <a:noFill/>
          </a:ln>
        </p:spPr>
      </p:pic>
      <p:pic>
        <p:nvPicPr>
          <p:cNvPr id="4403" name="Google Shape;4403;p320"/>
          <p:cNvPicPr preferRelativeResize="0"/>
          <p:nvPr/>
        </p:nvPicPr>
        <p:blipFill rotWithShape="1">
          <a:blip r:embed="rId3">
            <a:alphaModFix/>
          </a:blip>
          <a:srcRect t="10944" r="11426"/>
          <a:stretch/>
        </p:blipFill>
        <p:spPr>
          <a:xfrm flipH="1">
            <a:off x="1629" y="107376"/>
            <a:ext cx="6496522" cy="5469049"/>
          </a:xfrm>
          <a:prstGeom prst="rect">
            <a:avLst/>
          </a:prstGeom>
          <a:noFill/>
          <a:ln>
            <a:noFill/>
          </a:ln>
        </p:spPr>
      </p:pic>
      <p:grpSp>
        <p:nvGrpSpPr>
          <p:cNvPr id="4404" name="Google Shape;4404;p320"/>
          <p:cNvGrpSpPr/>
          <p:nvPr/>
        </p:nvGrpSpPr>
        <p:grpSpPr>
          <a:xfrm flipH="1">
            <a:off x="-205" y="5794637"/>
            <a:ext cx="3697085" cy="1064200"/>
            <a:chOff x="8490945" y="5794637"/>
            <a:chExt cx="3696100" cy="1064200"/>
          </a:xfrm>
        </p:grpSpPr>
        <p:pic>
          <p:nvPicPr>
            <p:cNvPr id="4405" name="Google Shape;4405;p320" title="alt=&quot;&quot;"/>
            <p:cNvPicPr preferRelativeResize="0"/>
            <p:nvPr/>
          </p:nvPicPr>
          <p:blipFill rotWithShape="1">
            <a:blip r:embed="rId4">
              <a:alphaModFix/>
            </a:blip>
            <a:srcRect b="9428"/>
            <a:stretch/>
          </p:blipFill>
          <p:spPr>
            <a:xfrm rot="5">
              <a:off x="8490945" y="5999329"/>
              <a:ext cx="2927399" cy="858670"/>
            </a:xfrm>
            <a:prstGeom prst="rect">
              <a:avLst/>
            </a:prstGeom>
            <a:noFill/>
            <a:ln>
              <a:noFill/>
            </a:ln>
          </p:spPr>
        </p:pic>
        <p:pic>
          <p:nvPicPr>
            <p:cNvPr id="4406" name="Google Shape;4406;p320" title="alt=&quot;&quot;"/>
            <p:cNvPicPr preferRelativeResize="0"/>
            <p:nvPr/>
          </p:nvPicPr>
          <p:blipFill rotWithShape="1">
            <a:blip r:embed="rId5">
              <a:alphaModFix/>
            </a:blip>
            <a:srcRect l="19156" t="21979" r="31986" b="38630"/>
            <a:stretch/>
          </p:blipFill>
          <p:spPr>
            <a:xfrm>
              <a:off x="10330873" y="5794637"/>
              <a:ext cx="1856172" cy="1064200"/>
            </a:xfrm>
            <a:prstGeom prst="rect">
              <a:avLst/>
            </a:prstGeom>
            <a:noFill/>
            <a:ln>
              <a:noFill/>
            </a:ln>
          </p:spPr>
        </p:pic>
      </p:grpSp>
      <p:pic>
        <p:nvPicPr>
          <p:cNvPr id="4407" name="Google Shape;4407;p320"/>
          <p:cNvPicPr preferRelativeResize="0"/>
          <p:nvPr/>
        </p:nvPicPr>
        <p:blipFill rotWithShape="1">
          <a:blip r:embed="rId6">
            <a:alphaModFix/>
          </a:blip>
          <a:srcRect r="9966"/>
          <a:stretch/>
        </p:blipFill>
        <p:spPr>
          <a:xfrm>
            <a:off x="11022809" y="5971339"/>
            <a:ext cx="1182147" cy="890026"/>
          </a:xfrm>
          <a:prstGeom prst="rect">
            <a:avLst/>
          </a:prstGeom>
          <a:noFill/>
          <a:ln>
            <a:noFill/>
          </a:ln>
        </p:spPr>
      </p:pic>
      <p:pic>
        <p:nvPicPr>
          <p:cNvPr id="4408" name="Google Shape;4408;p320" descr="pasted-image.pdf"/>
          <p:cNvPicPr preferRelativeResize="0"/>
          <p:nvPr/>
        </p:nvPicPr>
        <p:blipFill rotWithShape="1">
          <a:blip r:embed="rId7">
            <a:alphaModFix/>
          </a:blip>
          <a:srcRect/>
          <a:stretch/>
        </p:blipFill>
        <p:spPr>
          <a:xfrm>
            <a:off x="11033333" y="565460"/>
            <a:ext cx="635735" cy="445095"/>
          </a:xfrm>
          <a:prstGeom prst="rect">
            <a:avLst/>
          </a:prstGeom>
          <a:noFill/>
          <a:ln>
            <a:noFill/>
          </a:ln>
        </p:spPr>
      </p:pic>
      <p:sp>
        <p:nvSpPr>
          <p:cNvPr id="4409" name="Google Shape;4409;p320"/>
          <p:cNvSpPr txBox="1">
            <a:spLocks noGrp="1"/>
          </p:cNvSpPr>
          <p:nvPr>
            <p:ph type="title"/>
          </p:nvPr>
        </p:nvSpPr>
        <p:spPr>
          <a:xfrm>
            <a:off x="579117" y="1926336"/>
            <a:ext cx="5116000" cy="2617600"/>
          </a:xfrm>
          <a:prstGeom prst="rect">
            <a:avLst/>
          </a:prstGeom>
        </p:spPr>
        <p:txBody>
          <a:bodyPr spcFirstLastPara="1" wrap="square" lIns="0" tIns="0" rIns="0" bIns="0" anchor="b" anchorCtr="0">
            <a:noAutofit/>
          </a:bodyPr>
          <a:lstStyle>
            <a:lvl1pPr lvl="0">
              <a:lnSpc>
                <a:spcPct val="90000"/>
              </a:lnSpc>
              <a:spcBef>
                <a:spcPts val="0"/>
              </a:spcBef>
              <a:spcAft>
                <a:spcPts val="0"/>
              </a:spcAft>
              <a:buSzPts val="7200"/>
              <a:buNone/>
              <a:defRPr sz="4800"/>
            </a:lvl1pPr>
            <a:lvl2pPr lvl="1">
              <a:spcBef>
                <a:spcPts val="0"/>
              </a:spcBef>
              <a:spcAft>
                <a:spcPts val="0"/>
              </a:spcAft>
              <a:buSzPts val="5600"/>
              <a:buNone/>
              <a:defRPr/>
            </a:lvl2pPr>
            <a:lvl3pPr lvl="2">
              <a:spcBef>
                <a:spcPts val="0"/>
              </a:spcBef>
              <a:spcAft>
                <a:spcPts val="0"/>
              </a:spcAft>
              <a:buSzPts val="5600"/>
              <a:buNone/>
              <a:defRPr/>
            </a:lvl3pPr>
            <a:lvl4pPr lvl="3">
              <a:spcBef>
                <a:spcPts val="0"/>
              </a:spcBef>
              <a:spcAft>
                <a:spcPts val="0"/>
              </a:spcAft>
              <a:buSzPts val="5600"/>
              <a:buNone/>
              <a:defRPr/>
            </a:lvl4pPr>
            <a:lvl5pPr lvl="4">
              <a:spcBef>
                <a:spcPts val="0"/>
              </a:spcBef>
              <a:spcAft>
                <a:spcPts val="0"/>
              </a:spcAft>
              <a:buSzPts val="5600"/>
              <a:buNone/>
              <a:defRPr/>
            </a:lvl5pPr>
            <a:lvl6pPr lvl="5">
              <a:spcBef>
                <a:spcPts val="0"/>
              </a:spcBef>
              <a:spcAft>
                <a:spcPts val="0"/>
              </a:spcAft>
              <a:buSzPts val="5600"/>
              <a:buNone/>
              <a:defRPr/>
            </a:lvl6pPr>
            <a:lvl7pPr lvl="6">
              <a:spcBef>
                <a:spcPts val="0"/>
              </a:spcBef>
              <a:spcAft>
                <a:spcPts val="0"/>
              </a:spcAft>
              <a:buSzPts val="5600"/>
              <a:buNone/>
              <a:defRPr/>
            </a:lvl7pPr>
            <a:lvl8pPr lvl="7">
              <a:spcBef>
                <a:spcPts val="0"/>
              </a:spcBef>
              <a:spcAft>
                <a:spcPts val="0"/>
              </a:spcAft>
              <a:buSzPts val="5600"/>
              <a:buNone/>
              <a:defRPr/>
            </a:lvl8pPr>
            <a:lvl9pPr lvl="8">
              <a:spcBef>
                <a:spcPts val="0"/>
              </a:spcBef>
              <a:spcAft>
                <a:spcPts val="0"/>
              </a:spcAft>
              <a:buSzPts val="5600"/>
              <a:buNone/>
              <a:defRPr/>
            </a:lvl9pPr>
          </a:lstStyle>
          <a:p>
            <a:endParaRPr/>
          </a:p>
        </p:txBody>
      </p:sp>
    </p:spTree>
    <p:extLst>
      <p:ext uri="{BB962C8B-B14F-4D97-AF65-F5344CB8AC3E}">
        <p14:creationId xmlns:p14="http://schemas.microsoft.com/office/powerpoint/2010/main" val="75113950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Title and content layout 2">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13816"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1DDFA5C8-65C4-F016-C39A-2B72D60E0770}"/>
              </a:ext>
            </a:extLst>
          </p:cNvPr>
          <p:cNvSpPr>
            <a:spLocks noGrp="1"/>
          </p:cNvSpPr>
          <p:nvPr>
            <p:ph type="sldNum" sz="quarter" idx="11"/>
          </p:nvPr>
        </p:nvSpPr>
        <p:spPr/>
        <p:txBody>
          <a:bodyPr/>
          <a:lstStyle>
            <a:lvl1pPr>
              <a:defRPr>
                <a:solidFill>
                  <a:schemeClr val="bg2"/>
                </a:solidFill>
              </a:defRPr>
            </a:lvl1pPr>
          </a:lstStyle>
          <a:p>
            <a:fld id="{9E74224C-F5B0-D04D-98A9-64EC68DC7E07}" type="slidenum">
              <a:rPr lang="en-US" smtClean="0"/>
              <a:pPr/>
              <a:t>‹#›</a:t>
            </a:fld>
            <a:endParaRPr lang="en-US"/>
          </a:p>
        </p:txBody>
      </p:sp>
    </p:spTree>
    <p:extLst>
      <p:ext uri="{BB962C8B-B14F-4D97-AF65-F5344CB8AC3E}">
        <p14:creationId xmlns:p14="http://schemas.microsoft.com/office/powerpoint/2010/main" val="2521582780"/>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41764612"/>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1_Title and content layout 1">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2A51CCD9-EE1C-6E4E-3062-32FDB9DF76D6}"/>
              </a:ext>
            </a:extLst>
          </p:cNvPr>
          <p:cNvSpPr>
            <a:spLocks noGrp="1"/>
          </p:cNvSpPr>
          <p:nvPr>
            <p:ph type="sldNum" sz="quarter" idx="11"/>
          </p:nvPr>
        </p:nvSpPr>
        <p:spPr/>
        <p:txBody>
          <a:bodyPr/>
          <a:lstStyle/>
          <a:p>
            <a:fld id="{9E74224C-F5B0-D04D-98A9-64EC68DC7E07}" type="slidenum">
              <a:rPr lang="en-US" smtClean="0"/>
              <a:pPr/>
              <a:t>‹#›</a:t>
            </a:fld>
            <a:endParaRPr lang="en-US"/>
          </a:p>
        </p:txBody>
      </p:sp>
      <p:sp>
        <p:nvSpPr>
          <p:cNvPr id="2" name="Rectangle 1">
            <a:extLst>
              <a:ext uri="{FF2B5EF4-FFF2-40B4-BE49-F238E27FC236}">
                <a16:creationId xmlns:a16="http://schemas.microsoft.com/office/drawing/2014/main" id="{2434A8C4-0EF4-2B48-0CFC-1F2EFFB0DABC}"/>
              </a:ext>
            </a:extLst>
          </p:cNvPr>
          <p:cNvSpPr/>
          <p:nvPr userDrawn="1"/>
        </p:nvSpPr>
        <p:spPr>
          <a:xfrm>
            <a:off x="6663267" y="4191000"/>
            <a:ext cx="5528733" cy="2667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Tree>
    <p:extLst>
      <p:ext uri="{BB962C8B-B14F-4D97-AF65-F5344CB8AC3E}">
        <p14:creationId xmlns:p14="http://schemas.microsoft.com/office/powerpoint/2010/main" val="591284445"/>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and subtitle layout no brick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888B8D"/>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grpSp>
    </p:spTree>
    <p:extLst>
      <p:ext uri="{BB962C8B-B14F-4D97-AF65-F5344CB8AC3E}">
        <p14:creationId xmlns:p14="http://schemas.microsoft.com/office/powerpoint/2010/main" val="2791333130"/>
      </p:ext>
    </p:extLst>
  </p:cSld>
  <p:clrMapOvr>
    <a:masterClrMapping/>
  </p:clrMapOvr>
  <p:hf hdr="0" ftr="0" dt="0"/>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1_Three point triang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4A4E4F81-F86D-CD02-2171-579792C7EC2B}"/>
              </a:ext>
            </a:extLst>
          </p:cNvPr>
          <p:cNvGrpSpPr/>
          <p:nvPr userDrawn="1"/>
        </p:nvGrpSpPr>
        <p:grpSpPr>
          <a:xfrm>
            <a:off x="815975"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endParaRPr lang="en-US"/>
              </a:p>
            </p:txBody>
          </p:sp>
        </p:grpSp>
      </p:grpSp>
      <p:sp>
        <p:nvSpPr>
          <p:cNvPr id="28" name="Text Placeholder 49">
            <a:extLst>
              <a:ext uri="{FF2B5EF4-FFF2-40B4-BE49-F238E27FC236}">
                <a16:creationId xmlns:a16="http://schemas.microsoft.com/office/drawing/2014/main" id="{5FC72C66-FCCA-1483-EC99-713AC8B15A7D}"/>
              </a:ext>
            </a:extLst>
          </p:cNvPr>
          <p:cNvSpPr>
            <a:spLocks noGrp="1"/>
          </p:cNvSpPr>
          <p:nvPr>
            <p:ph type="body" sz="quarter" idx="16" hasCustomPrompt="1"/>
          </p:nvPr>
        </p:nvSpPr>
        <p:spPr>
          <a:xfrm>
            <a:off x="7712433" y="3191585"/>
            <a:ext cx="3483481"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728483" y="2831683"/>
            <a:ext cx="3461755" cy="324044"/>
          </a:xfrm>
        </p:spPr>
        <p:txBody>
          <a:bodyPr>
            <a:normAutofit/>
          </a:bodyPr>
          <a:lstStyle>
            <a:lvl1pPr algn="r">
              <a:defRPr sz="1600" b="1">
                <a:solidFill>
                  <a:schemeClr val="tx1"/>
                </a:solidFill>
              </a:defRPr>
            </a:lvl1pPr>
          </a:lstStyle>
          <a:p>
            <a:pPr lvl="0"/>
            <a:r>
              <a:rPr lang="en-US"/>
              <a:t>Lorem ipsum dolor</a:t>
            </a:r>
          </a:p>
        </p:txBody>
      </p:sp>
      <p:sp>
        <p:nvSpPr>
          <p:cNvPr id="30" name="Text Placeholder 49">
            <a:extLst>
              <a:ext uri="{FF2B5EF4-FFF2-40B4-BE49-F238E27FC236}">
                <a16:creationId xmlns:a16="http://schemas.microsoft.com/office/drawing/2014/main" id="{444760C2-A78A-C2A0-9F75-9D105F5BD15F}"/>
              </a:ext>
            </a:extLst>
          </p:cNvPr>
          <p:cNvSpPr>
            <a:spLocks noGrp="1"/>
          </p:cNvSpPr>
          <p:nvPr>
            <p:ph type="body" sz="quarter" idx="18" hasCustomPrompt="1"/>
          </p:nvPr>
        </p:nvSpPr>
        <p:spPr>
          <a:xfrm>
            <a:off x="980036" y="3191585"/>
            <a:ext cx="3744364"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6086" y="2831683"/>
            <a:ext cx="3721010" cy="324044"/>
          </a:xfrm>
        </p:spPr>
        <p:txBody>
          <a:bodyPr>
            <a:normAutofit/>
          </a:bodyPr>
          <a:lstStyle>
            <a:lvl1pPr>
              <a:defRPr sz="1600" b="1">
                <a:solidFill>
                  <a:schemeClr val="tx1"/>
                </a:solidFill>
              </a:defRPr>
            </a:lvl1pPr>
          </a:lstStyle>
          <a:p>
            <a:pPr lvl="0"/>
            <a:r>
              <a:rPr lang="en-US"/>
              <a:t>Lorem ipsum dolor</a:t>
            </a:r>
          </a:p>
        </p:txBody>
      </p:sp>
      <p:sp>
        <p:nvSpPr>
          <p:cNvPr id="32" name="Text Placeholder 49">
            <a:extLst>
              <a:ext uri="{FF2B5EF4-FFF2-40B4-BE49-F238E27FC236}">
                <a16:creationId xmlns:a16="http://schemas.microsoft.com/office/drawing/2014/main" id="{B5261580-97E4-50AF-6C07-FE08EF6676C8}"/>
              </a:ext>
            </a:extLst>
          </p:cNvPr>
          <p:cNvSpPr>
            <a:spLocks noGrp="1"/>
          </p:cNvSpPr>
          <p:nvPr>
            <p:ph type="body" sz="quarter" idx="20" hasCustomPrompt="1"/>
          </p:nvPr>
        </p:nvSpPr>
        <p:spPr>
          <a:xfrm>
            <a:off x="4082984" y="5998702"/>
            <a:ext cx="4125585"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103826" y="5638800"/>
            <a:ext cx="4099853" cy="324044"/>
          </a:xfrm>
        </p:spPr>
        <p:txBody>
          <a:bodyPr>
            <a:normAutofit/>
          </a:bodyPr>
          <a:lstStyle>
            <a:lvl1pPr algn="ctr">
              <a:defRPr sz="1600" b="1">
                <a:solidFill>
                  <a:schemeClr val="tx1"/>
                </a:solidFill>
              </a:defRPr>
            </a:lvl1pPr>
          </a:lstStyle>
          <a:p>
            <a:pPr lvl="0"/>
            <a:r>
              <a:rPr lang="en-US"/>
              <a:t>Lorem ipsum dolor</a:t>
            </a:r>
          </a:p>
        </p:txBody>
      </p:sp>
    </p:spTree>
    <p:extLst>
      <p:ext uri="{BB962C8B-B14F-4D97-AF65-F5344CB8AC3E}">
        <p14:creationId xmlns:p14="http://schemas.microsoft.com/office/powerpoint/2010/main" val="20499350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609600" y="838200"/>
            <a:ext cx="5145601" cy="462152"/>
          </a:xfrm>
        </p:spPr>
        <p:txBody>
          <a:bodyPr anchor="t" anchorCtr="0"/>
          <a:lstStyle>
            <a:lvl1pPr marL="0" indent="0">
              <a:spcBef>
                <a:spcPts val="640"/>
              </a:spcBef>
              <a:spcAft>
                <a:spcPts val="0"/>
              </a:spcAft>
              <a:buNone/>
              <a:defRPr sz="2800" b="0" cap="none" baseline="0">
                <a:solidFill>
                  <a:schemeClr val="accent1"/>
                </a:solidFill>
              </a:defRPr>
            </a:lvl1pPr>
            <a:lvl2pPr marL="544166" indent="0">
              <a:buNone/>
              <a:defRPr sz="2400" b="1"/>
            </a:lvl2pPr>
            <a:lvl3pPr marL="1088333" indent="0">
              <a:buNone/>
              <a:defRPr sz="2133" b="1"/>
            </a:lvl3pPr>
            <a:lvl4pPr marL="1632498" indent="0">
              <a:buNone/>
              <a:defRPr sz="1867" b="1"/>
            </a:lvl4pPr>
            <a:lvl5pPr marL="2176666" indent="0">
              <a:buNone/>
              <a:defRPr sz="1867" b="1"/>
            </a:lvl5pPr>
            <a:lvl6pPr marL="2720832" indent="0">
              <a:buNone/>
              <a:defRPr sz="1867" b="1"/>
            </a:lvl6pPr>
            <a:lvl7pPr marL="3264997" indent="0">
              <a:buNone/>
              <a:defRPr sz="1867" b="1"/>
            </a:lvl7pPr>
            <a:lvl8pPr marL="3809163" indent="0">
              <a:buNone/>
              <a:defRPr sz="1867" b="1"/>
            </a:lvl8pPr>
            <a:lvl9pPr marL="4353330" indent="0">
              <a:buNone/>
              <a:defRPr sz="1867" b="1"/>
            </a:lvl9pPr>
          </a:lstStyle>
          <a:p>
            <a:pPr lvl="0"/>
            <a:r>
              <a:rPr lang="en-US"/>
              <a:t>Edit Master text styles</a:t>
            </a:r>
          </a:p>
        </p:txBody>
      </p:sp>
      <p:sp>
        <p:nvSpPr>
          <p:cNvPr id="4" name="Content Placeholder 3"/>
          <p:cNvSpPr>
            <a:spLocks noGrp="1"/>
          </p:cNvSpPr>
          <p:nvPr>
            <p:ph sz="half" idx="2" hasCustomPrompt="1"/>
          </p:nvPr>
        </p:nvSpPr>
        <p:spPr>
          <a:xfrm>
            <a:off x="609600" y="1300352"/>
            <a:ext cx="5145601" cy="4719447"/>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210300" y="833312"/>
            <a:ext cx="5143500" cy="432000"/>
          </a:xfrm>
        </p:spPr>
        <p:txBody>
          <a:bodyPr anchor="t" anchorCtr="0"/>
          <a:lstStyle>
            <a:lvl1pPr marL="0" indent="0">
              <a:spcBef>
                <a:spcPts val="640"/>
              </a:spcBef>
              <a:spcAft>
                <a:spcPts val="0"/>
              </a:spcAft>
              <a:buNone/>
              <a:defRPr sz="2800" b="0" cap="none" baseline="0">
                <a:solidFill>
                  <a:schemeClr val="accent1"/>
                </a:solidFill>
              </a:defRPr>
            </a:lvl1pPr>
            <a:lvl2pPr marL="544166" indent="0">
              <a:buNone/>
              <a:defRPr sz="2400" b="1"/>
            </a:lvl2pPr>
            <a:lvl3pPr marL="1088333" indent="0">
              <a:buNone/>
              <a:defRPr sz="2133" b="1"/>
            </a:lvl3pPr>
            <a:lvl4pPr marL="1632498" indent="0">
              <a:buNone/>
              <a:defRPr sz="1867" b="1"/>
            </a:lvl4pPr>
            <a:lvl5pPr marL="2176666" indent="0">
              <a:buNone/>
              <a:defRPr sz="1867" b="1"/>
            </a:lvl5pPr>
            <a:lvl6pPr marL="2720832" indent="0">
              <a:buNone/>
              <a:defRPr sz="1867" b="1"/>
            </a:lvl6pPr>
            <a:lvl7pPr marL="3264997" indent="0">
              <a:buNone/>
              <a:defRPr sz="1867" b="1"/>
            </a:lvl7pPr>
            <a:lvl8pPr marL="3809163" indent="0">
              <a:buNone/>
              <a:defRPr sz="1867" b="1"/>
            </a:lvl8pPr>
            <a:lvl9pPr marL="4353330" indent="0">
              <a:buNone/>
              <a:defRPr sz="1867" b="1"/>
            </a:lvl9pPr>
          </a:lstStyle>
          <a:p>
            <a:pPr lvl="0"/>
            <a:r>
              <a:rPr lang="en-US"/>
              <a:t>Edit Master text styles</a:t>
            </a:r>
          </a:p>
        </p:txBody>
      </p:sp>
      <p:sp>
        <p:nvSpPr>
          <p:cNvPr id="6" name="Content Placeholder 5"/>
          <p:cNvSpPr>
            <a:spLocks noGrp="1"/>
          </p:cNvSpPr>
          <p:nvPr>
            <p:ph sz="quarter" idx="4" hasCustomPrompt="1"/>
          </p:nvPr>
        </p:nvSpPr>
        <p:spPr>
          <a:xfrm>
            <a:off x="6210300" y="1265313"/>
            <a:ext cx="5140500" cy="4754888"/>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0788526"/>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287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490" cy="6858000"/>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3181629955"/>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50690357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977806002"/>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2" name="Text Placeholder 5">
            <a:extLst>
              <a:ext uri="{FF2B5EF4-FFF2-40B4-BE49-F238E27FC236}">
                <a16:creationId xmlns:a16="http://schemas.microsoft.com/office/drawing/2014/main" id="{15476F96-96A3-F297-64CD-A68870CAC866}"/>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3" name="Rectangle 2">
            <a:extLst>
              <a:ext uri="{FF2B5EF4-FFF2-40B4-BE49-F238E27FC236}">
                <a16:creationId xmlns:a16="http://schemas.microsoft.com/office/drawing/2014/main" id="{C9F37950-57D5-285F-ED6F-B80D85ADAC01}"/>
              </a:ext>
            </a:extLst>
          </p:cNvPr>
          <p:cNvSpPr/>
          <p:nvPr userDrawn="1"/>
        </p:nvSpPr>
        <p:spPr>
          <a:xfrm>
            <a:off x="8075966" y="-950927"/>
            <a:ext cx="4116033" cy="7799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Mix and match color only divider slides</a:t>
            </a: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187131" y="687949"/>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1322652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tx1"/>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r>
              <a:rPr lang="en-US"/>
              <a:t>Click icon to add picture</a:t>
            </a:r>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0900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4" name="Rectangle 3">
            <a:extLst>
              <a:ext uri="{FF2B5EF4-FFF2-40B4-BE49-F238E27FC236}">
                <a16:creationId xmlns:a16="http://schemas.microsoft.com/office/drawing/2014/main" id="{6E50E2FF-EA26-870F-B676-8DAF035F30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Either use photo dividers or </a:t>
            </a:r>
            <a:r>
              <a:rPr lang="en-US" sz="1400" b="0" err="1">
                <a:solidFill>
                  <a:srgbClr val="E40046"/>
                </a:solidFill>
              </a:rPr>
              <a:t>colour</a:t>
            </a:r>
            <a:r>
              <a:rPr lang="en-US" sz="1400" b="0">
                <a:solidFill>
                  <a:srgbClr val="E40046"/>
                </a:solidFill>
              </a:rPr>
              <a:t> dividers don’t mix and match</a:t>
            </a:r>
          </a:p>
          <a:p>
            <a:pPr marL="0" indent="0" algn="l">
              <a:buFont typeface="+mj-lt"/>
              <a:buNone/>
            </a:pPr>
            <a:endParaRPr lang="en-US" sz="1800" b="0">
              <a:solidFill>
                <a:srgbClr val="E40046"/>
              </a:solidFill>
            </a:endParaRPr>
          </a:p>
        </p:txBody>
      </p:sp>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54945842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Tree>
    <p:extLst>
      <p:ext uri="{BB962C8B-B14F-4D97-AF65-F5344CB8AC3E}">
        <p14:creationId xmlns:p14="http://schemas.microsoft.com/office/powerpoint/2010/main" val="113259307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70526325"/>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352621795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24928591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 No Logo">
    <p:spTree>
      <p:nvGrpSpPr>
        <p:cNvPr id="1" name=""/>
        <p:cNvGrpSpPr/>
        <p:nvPr/>
      </p:nvGrpSpPr>
      <p:grpSpPr>
        <a:xfrm>
          <a:off x="0" y="0"/>
          <a:ext cx="0" cy="0"/>
          <a:chOff x="0" y="0"/>
          <a:chExt cx="0" cy="0"/>
        </a:xfrm>
      </p:grpSpPr>
      <p:sp>
        <p:nvSpPr>
          <p:cNvPr id="3" name="Rectangle 2"/>
          <p:cNvSpPr/>
          <p:nvPr userDrawn="1"/>
        </p:nvSpPr>
        <p:spPr>
          <a:xfrm>
            <a:off x="10763251" y="5995035"/>
            <a:ext cx="1152525" cy="650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57200" y="228600"/>
            <a:ext cx="11430000" cy="896112"/>
          </a:xfrm>
          <a:prstGeom prst="rect">
            <a:avLst/>
          </a:prstGeom>
        </p:spPr>
        <p:txBody>
          <a:bodyPr>
            <a:normAutofit/>
          </a:bodyPr>
          <a:lstStyle>
            <a:lvl1pPr algn="l" defTabSz="914400" rtl="0" eaLnBrk="1" latinLnBrk="0" hangingPunct="1">
              <a:lnSpc>
                <a:spcPct val="90000"/>
              </a:lnSpc>
              <a:spcBef>
                <a:spcPct val="0"/>
              </a:spcBef>
              <a:buNone/>
              <a:defRPr lang="en-US" sz="2800" b="0" kern="1200" dirty="0">
                <a:solidFill>
                  <a:schemeClr val="bg1"/>
                </a:solidFill>
                <a:latin typeface="Arial" panose="020B0604020202020204" pitchFamily="34" charset="0"/>
                <a:ea typeface="+mj-ea"/>
                <a:cs typeface="Arial" panose="020B0604020202020204" pitchFamily="34" charset="0"/>
              </a:defRPr>
            </a:lvl1pPr>
          </a:lstStyle>
          <a:p>
            <a:r>
              <a:rPr lang="en-US"/>
              <a:t>Title (sentence case)</a:t>
            </a:r>
          </a:p>
        </p:txBody>
      </p:sp>
      <p:sp>
        <p:nvSpPr>
          <p:cNvPr id="4" name="Slide Number Placeholder 6"/>
          <p:cNvSpPr>
            <a:spLocks noGrp="1"/>
          </p:cNvSpPr>
          <p:nvPr>
            <p:ph type="sldNum" sz="quarter" idx="4"/>
          </p:nvPr>
        </p:nvSpPr>
        <p:spPr>
          <a:xfrm>
            <a:off x="4724400" y="6587708"/>
            <a:ext cx="2743200" cy="279664"/>
          </a:xfrm>
          <a:prstGeom prst="rect">
            <a:avLst/>
          </a:prstGeom>
        </p:spPr>
        <p:txBody>
          <a:bodyPr/>
          <a:lstStyle>
            <a:lvl1pPr algn="ctr">
              <a:defRPr sz="1000">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Tree>
    <p:extLst>
      <p:ext uri="{BB962C8B-B14F-4D97-AF65-F5344CB8AC3E}">
        <p14:creationId xmlns:p14="http://schemas.microsoft.com/office/powerpoint/2010/main" val="888733674"/>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03306013"/>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9043671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itle, subtitle and content layout">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59730774"/>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Title, subtitle and content layout">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38200"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86C72681-8C5E-0677-81BC-19D52016E5E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3492550757"/>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Blank slide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65525811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grpSp>
        <p:nvGrpSpPr>
          <p:cNvPr id="4" name="Group 3">
            <a:extLst>
              <a:ext uri="{FF2B5EF4-FFF2-40B4-BE49-F238E27FC236}">
                <a16:creationId xmlns:a16="http://schemas.microsoft.com/office/drawing/2014/main" id="{65B9153A-9F04-345A-4CA1-963B01DA3273}"/>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accent4"/>
                </a:solidFill>
              </a:defRPr>
            </a:lvl1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a:extLst>
              <a:ext uri="{FF2B5EF4-FFF2-40B4-BE49-F238E27FC236}">
                <a16:creationId xmlns:a16="http://schemas.microsoft.com/office/drawing/2014/main" id="{7BEF0843-863D-70F2-4F87-921E41A6C3C2}"/>
              </a:ext>
            </a:extLst>
          </p:cNvPr>
          <p:cNvSpPr>
            <a:spLocks noGrp="1"/>
          </p:cNvSpPr>
          <p:nvPr>
            <p:ph sz="quarter" idx="19"/>
          </p:nvPr>
        </p:nvSpPr>
        <p:spPr>
          <a:xfrm>
            <a:off x="6219825" y="1983440"/>
            <a:ext cx="5190004" cy="442408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3397452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1_Two column layout">
    <p:bg>
      <p:bgPr>
        <a:solidFill>
          <a:schemeClr val="tx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76E4936-B714-2B4B-2E2F-7DE308A8C3D7}"/>
              </a:ext>
            </a:extLst>
          </p:cNvPr>
          <p:cNvSpPr>
            <a:spLocks noGrp="1"/>
          </p:cNvSpPr>
          <p:nvPr>
            <p:ph sz="quarter" idx="17"/>
          </p:nvPr>
        </p:nvSpPr>
        <p:spPr>
          <a:xfrm>
            <a:off x="620877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Graphic 1">
            <a:extLst>
              <a:ext uri="{FF2B5EF4-FFF2-40B4-BE49-F238E27FC236}">
                <a16:creationId xmlns:a16="http://schemas.microsoft.com/office/drawing/2014/main" id="{95CD01D7-56B5-9C8A-0FB6-B47B59DA2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963046772"/>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Three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447800"/>
            <a:ext cx="3403771"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a:t>
            </a:r>
            <a:endParaRPr lang="en-GB"/>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447800"/>
            <a:ext cx="3397405"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447800"/>
            <a:ext cx="3420657"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grpSp>
        <p:nvGrpSpPr>
          <p:cNvPr id="5" name="Group 4">
            <a:extLst>
              <a:ext uri="{FF2B5EF4-FFF2-40B4-BE49-F238E27FC236}">
                <a16:creationId xmlns:a16="http://schemas.microsoft.com/office/drawing/2014/main" id="{591F3DED-33E1-2A27-8417-C862386CC9D7}"/>
              </a:ext>
            </a:extLst>
          </p:cNvPr>
          <p:cNvGrpSpPr/>
          <p:nvPr/>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7" name="Content Placeholder 17">
            <a:extLst>
              <a:ext uri="{FF2B5EF4-FFF2-40B4-BE49-F238E27FC236}">
                <a16:creationId xmlns:a16="http://schemas.microsoft.com/office/drawing/2014/main" id="{0A776850-50EE-E561-4FFE-50964993BAB6}"/>
              </a:ext>
            </a:extLst>
          </p:cNvPr>
          <p:cNvSpPr>
            <a:spLocks noGrp="1"/>
          </p:cNvSpPr>
          <p:nvPr>
            <p:ph sz="quarter" idx="20"/>
          </p:nvPr>
        </p:nvSpPr>
        <p:spPr>
          <a:xfrm>
            <a:off x="82296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7E6C179B-B0FB-66D9-590F-5E20DFE7C553}"/>
              </a:ext>
            </a:extLst>
          </p:cNvPr>
          <p:cNvSpPr>
            <a:spLocks noGrp="1"/>
          </p:cNvSpPr>
          <p:nvPr>
            <p:ph sz="quarter" idx="21"/>
          </p:nvPr>
        </p:nvSpPr>
        <p:spPr>
          <a:xfrm>
            <a:off x="44196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Content Placeholder 17">
            <a:extLst>
              <a:ext uri="{FF2B5EF4-FFF2-40B4-BE49-F238E27FC236}">
                <a16:creationId xmlns:a16="http://schemas.microsoft.com/office/drawing/2014/main" id="{A9EE28E5-77BF-A362-4864-199E18F99C58}"/>
              </a:ext>
            </a:extLst>
          </p:cNvPr>
          <p:cNvSpPr>
            <a:spLocks noGrp="1"/>
          </p:cNvSpPr>
          <p:nvPr>
            <p:ph sz="quarter" idx="22"/>
          </p:nvPr>
        </p:nvSpPr>
        <p:spPr>
          <a:xfrm>
            <a:off x="80010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146190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Four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444752"/>
            <a:ext cx="2514650"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Four column</a:t>
            </a:r>
            <a:endParaRPr lang="en-GB"/>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444752"/>
            <a:ext cx="2514731"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444752"/>
            <a:ext cx="2538964"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444752"/>
            <a:ext cx="2528283" cy="382587"/>
          </a:xfrm>
        </p:spPr>
        <p:txBody>
          <a:bodyPr anchor="b"/>
          <a:lstStyle>
            <a:lvl1pPr marL="0" indent="0">
              <a:buNone/>
              <a:defRPr sz="2000" b="1">
                <a:solidFill>
                  <a:schemeClr val="tx2"/>
                </a:solidFill>
                <a:latin typeface="+mn-lt"/>
              </a:defRPr>
            </a:lvl1pPr>
          </a:lstStyle>
          <a:p>
            <a:pPr lvl="0"/>
            <a:r>
              <a:rPr lang="en-US"/>
              <a:t>Click to add text</a:t>
            </a:r>
          </a:p>
        </p:txBody>
      </p:sp>
      <p:grpSp>
        <p:nvGrpSpPr>
          <p:cNvPr id="2" name="Group 1">
            <a:extLst>
              <a:ext uri="{FF2B5EF4-FFF2-40B4-BE49-F238E27FC236}">
                <a16:creationId xmlns:a16="http://schemas.microsoft.com/office/drawing/2014/main" id="{16C66BC4-CE7E-E443-BEF3-B7BBA49FE37B}"/>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 name="Content Placeholder 17">
            <a:extLst>
              <a:ext uri="{FF2B5EF4-FFF2-40B4-BE49-F238E27FC236}">
                <a16:creationId xmlns:a16="http://schemas.microsoft.com/office/drawing/2014/main" id="{6836F395-4748-2751-1D21-D93193CB7721}"/>
              </a:ext>
            </a:extLst>
          </p:cNvPr>
          <p:cNvSpPr>
            <a:spLocks noGrp="1"/>
          </p:cNvSpPr>
          <p:nvPr>
            <p:ph sz="quarter" idx="22"/>
          </p:nvPr>
        </p:nvSpPr>
        <p:spPr>
          <a:xfrm>
            <a:off x="82296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24FDCD0B-78AD-B0E5-5A66-A6DC66DC0B27}"/>
              </a:ext>
            </a:extLst>
          </p:cNvPr>
          <p:cNvSpPr>
            <a:spLocks noGrp="1"/>
          </p:cNvSpPr>
          <p:nvPr>
            <p:ph sz="quarter" idx="23"/>
          </p:nvPr>
        </p:nvSpPr>
        <p:spPr>
          <a:xfrm>
            <a:off x="350520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Content Placeholder 17">
            <a:extLst>
              <a:ext uri="{FF2B5EF4-FFF2-40B4-BE49-F238E27FC236}">
                <a16:creationId xmlns:a16="http://schemas.microsoft.com/office/drawing/2014/main" id="{EA511637-20FB-46F5-8612-86CB87549DD6}"/>
              </a:ext>
            </a:extLst>
          </p:cNvPr>
          <p:cNvSpPr>
            <a:spLocks noGrp="1"/>
          </p:cNvSpPr>
          <p:nvPr>
            <p:ph sz="quarter" idx="24"/>
          </p:nvPr>
        </p:nvSpPr>
        <p:spPr>
          <a:xfrm>
            <a:off x="6199632"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tent Placeholder 17">
            <a:extLst>
              <a:ext uri="{FF2B5EF4-FFF2-40B4-BE49-F238E27FC236}">
                <a16:creationId xmlns:a16="http://schemas.microsoft.com/office/drawing/2014/main" id="{8D7C06DE-97BF-BAF3-02DD-41639AF97BE4}"/>
              </a:ext>
            </a:extLst>
          </p:cNvPr>
          <p:cNvSpPr>
            <a:spLocks noGrp="1"/>
          </p:cNvSpPr>
          <p:nvPr>
            <p:ph sz="quarter" idx="25"/>
          </p:nvPr>
        </p:nvSpPr>
        <p:spPr>
          <a:xfrm>
            <a:off x="8915400" y="1981200"/>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67966605"/>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73880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ECE84-7D9E-7842-A5DF-33CDC07AF1D6}"/>
              </a:ext>
            </a:extLst>
          </p:cNvPr>
          <p:cNvSpPr>
            <a:spLocks noGrp="1"/>
          </p:cNvSpPr>
          <p:nvPr>
            <p:ph type="title" hasCustomPrompt="1"/>
          </p:nvPr>
        </p:nvSpPr>
        <p:spPr>
          <a:xfrm>
            <a:off x="512872" y="232347"/>
            <a:ext cx="11166257" cy="433759"/>
          </a:xfrm>
          <a:prstGeom prst="rect">
            <a:avLst/>
          </a:prstGeom>
        </p:spPr>
        <p:txBody>
          <a:bodyPr wrap="none" lIns="0" tIns="0" rIns="0" bIns="0" anchor="ctr">
            <a:noAutofit/>
          </a:bodyPr>
          <a:lstStyle>
            <a:lvl1pPr>
              <a:defRPr sz="3200">
                <a:solidFill>
                  <a:schemeClr val="accent1"/>
                </a:solidFill>
              </a:defRPr>
            </a:lvl1pPr>
          </a:lstStyle>
          <a:p>
            <a:r>
              <a:rPr lang="en-US"/>
              <a:t>Click to edit master title style</a:t>
            </a:r>
          </a:p>
        </p:txBody>
      </p:sp>
      <p:sp>
        <p:nvSpPr>
          <p:cNvPr id="11" name="Rectangle 10">
            <a:extLst>
              <a:ext uri="{FF2B5EF4-FFF2-40B4-BE49-F238E27FC236}">
                <a16:creationId xmlns:a16="http://schemas.microsoft.com/office/drawing/2014/main" id="{A48EA563-D1FF-8947-8409-47F55C50A67A}"/>
              </a:ext>
            </a:extLst>
          </p:cNvPr>
          <p:cNvSpPr/>
          <p:nvPr userDrawn="1"/>
        </p:nvSpPr>
        <p:spPr>
          <a:xfrm>
            <a:off x="2236303" y="785866"/>
            <a:ext cx="9473184" cy="45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0" rIns="180000" bIns="720000" rtlCol="0" anchor="ctr"/>
          <a:lstStyle/>
          <a:p>
            <a:pPr marL="177800" indent="-177800">
              <a:buFont typeface="Arial" panose="020B0604020202020204" pitchFamily="34" charset="0"/>
              <a:buChar char="•"/>
            </a:pPr>
            <a:endParaRPr lang="en-US" sz="2400" i="1"/>
          </a:p>
        </p:txBody>
      </p:sp>
      <p:sp>
        <p:nvSpPr>
          <p:cNvPr id="12" name="Rectangle 11">
            <a:extLst>
              <a:ext uri="{FF2B5EF4-FFF2-40B4-BE49-F238E27FC236}">
                <a16:creationId xmlns:a16="http://schemas.microsoft.com/office/drawing/2014/main" id="{328F5251-381F-F44D-96DF-69599987BAFE}"/>
              </a:ext>
            </a:extLst>
          </p:cNvPr>
          <p:cNvSpPr/>
          <p:nvPr userDrawn="1"/>
        </p:nvSpPr>
        <p:spPr>
          <a:xfrm>
            <a:off x="0" y="785865"/>
            <a:ext cx="458845"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 name="Rectangle 12">
            <a:extLst>
              <a:ext uri="{FF2B5EF4-FFF2-40B4-BE49-F238E27FC236}">
                <a16:creationId xmlns:a16="http://schemas.microsoft.com/office/drawing/2014/main" id="{937F7F61-966A-1046-BC28-2A71E58CE061}"/>
              </a:ext>
            </a:extLst>
          </p:cNvPr>
          <p:cNvSpPr/>
          <p:nvPr userDrawn="1"/>
        </p:nvSpPr>
        <p:spPr>
          <a:xfrm>
            <a:off x="508001" y="785865"/>
            <a:ext cx="1679146"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9" name="TextBox 8">
            <a:extLst>
              <a:ext uri="{FF2B5EF4-FFF2-40B4-BE49-F238E27FC236}">
                <a16:creationId xmlns:a16="http://schemas.microsoft.com/office/drawing/2014/main" id="{A5E52F43-38AC-6A4D-B2E5-441CD967006F}"/>
              </a:ext>
            </a:extLst>
          </p:cNvPr>
          <p:cNvSpPr txBox="1"/>
          <p:nvPr userDrawn="1"/>
        </p:nvSpPr>
        <p:spPr>
          <a:xfrm>
            <a:off x="507619" y="6457057"/>
            <a:ext cx="3056467" cy="215444"/>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tx1">
                    <a:lumMod val="40000"/>
                    <a:lumOff val="60000"/>
                  </a:schemeClr>
                </a:solidFill>
                <a:latin typeface="Arial" panose="020B0604020202020204" pitchFamily="34" charset="0"/>
                <a:cs typeface="Arial" panose="020B0604020202020204" pitchFamily="34" charset="0"/>
              </a:rPr>
              <a:t>© 2022 RSM US LLP. All Rights Reserved. </a:t>
            </a:r>
          </a:p>
        </p:txBody>
      </p:sp>
      <p:sp>
        <p:nvSpPr>
          <p:cNvPr id="10" name="Slide Number Placeholder 2">
            <a:extLst>
              <a:ext uri="{FF2B5EF4-FFF2-40B4-BE49-F238E27FC236}">
                <a16:creationId xmlns:a16="http://schemas.microsoft.com/office/drawing/2014/main" id="{040EEB06-36D7-1C4E-811A-ED754F0B9D2F}"/>
              </a:ext>
            </a:extLst>
          </p:cNvPr>
          <p:cNvSpPr>
            <a:spLocks noGrp="1"/>
          </p:cNvSpPr>
          <p:nvPr>
            <p:ph type="sldNum" sz="quarter" idx="13"/>
          </p:nvPr>
        </p:nvSpPr>
        <p:spPr>
          <a:xfrm>
            <a:off x="4724400" y="6384893"/>
            <a:ext cx="2743200" cy="276753"/>
          </a:xfrm>
          <a:prstGeom prst="rect">
            <a:avLst/>
          </a:prstGeom>
        </p:spPr>
        <p:txBody>
          <a:bodyPr anchor="ctr"/>
          <a:lstStyle>
            <a:defPPr>
              <a:defRPr lang="en-US"/>
            </a:defPPr>
            <a:lvl1pPr marL="0" algn="ctr" defTabSz="914400" rtl="0" eaLnBrk="1" latinLnBrk="0" hangingPunct="1">
              <a:defRPr sz="800" kern="1200">
                <a:solidFill>
                  <a:schemeClr val="tx1">
                    <a:lumMod val="40000"/>
                    <a:lumOff val="6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6A99BC-3C9D-4DF8-8B8C-E1FD2BDF0AD4}" type="slidenum">
              <a:rPr lang="en-US" smtClean="0"/>
              <a:pPr/>
              <a:t>‹#›</a:t>
            </a:fld>
            <a:endParaRPr lang="en-US"/>
          </a:p>
        </p:txBody>
      </p:sp>
    </p:spTree>
    <p:extLst>
      <p:ext uri="{BB962C8B-B14F-4D97-AF65-F5344CB8AC3E}">
        <p14:creationId xmlns:p14="http://schemas.microsoft.com/office/powerpoint/2010/main" val="3296754341"/>
      </p:ext>
    </p:extLst>
  </p:cSld>
  <p:clrMapOvr>
    <a:masterClrMapping/>
  </p:clrMapOvr>
  <p:extLst>
    <p:ext uri="{DCECCB84-F9BA-43D5-87BE-67443E8EF086}">
      <p15:sldGuideLst xmlns:p15="http://schemas.microsoft.com/office/powerpoint/2012/main">
        <p15:guide id="1" orient="horz" pos="2160">
          <p15:clr>
            <a:srgbClr val="FBAE40"/>
          </p15:clr>
        </p15:guide>
        <p15:guide id="2" pos="7368">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79330414"/>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7000871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8026931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60521581"/>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74681333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418511716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77765048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3244319600"/>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62920915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24977150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845389"/>
            <a:ext cx="10845800" cy="51744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508000" y="620606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a:pPr/>
              <a:t>‹#›</a:t>
            </a:fld>
            <a:endParaRPr lang="en-US"/>
          </a:p>
        </p:txBody>
      </p:sp>
    </p:spTree>
    <p:extLst>
      <p:ext uri="{BB962C8B-B14F-4D97-AF65-F5344CB8AC3E}">
        <p14:creationId xmlns:p14="http://schemas.microsoft.com/office/powerpoint/2010/main" val="456127028"/>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50967914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092061305"/>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778441705"/>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20169856"/>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761846332"/>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5334379"/>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41559952"/>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017796793"/>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0806810"/>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479253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490" cy="6858000"/>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4032962506"/>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7658519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sp>
        <p:nvSpPr>
          <p:cNvPr id="4" name="Text Placeholder 3">
            <a:extLst>
              <a:ext uri="{FF2B5EF4-FFF2-40B4-BE49-F238E27FC236}">
                <a16:creationId xmlns:a16="http://schemas.microsoft.com/office/drawing/2014/main" id="{10E304D8-E056-A7AA-58D8-A147EFD98485}"/>
              </a:ext>
            </a:extLst>
          </p:cNvPr>
          <p:cNvSpPr>
            <a:spLocks noGrp="1"/>
          </p:cNvSpPr>
          <p:nvPr>
            <p:ph type="body" sz="quarter" idx="16" hasCustomPrompt="1"/>
          </p:nvPr>
        </p:nvSpPr>
        <p:spPr>
          <a:xfrm>
            <a:off x="4956048" y="1252728"/>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0" name="Text Placeholder 9">
            <a:extLst>
              <a:ext uri="{FF2B5EF4-FFF2-40B4-BE49-F238E27FC236}">
                <a16:creationId xmlns:a16="http://schemas.microsoft.com/office/drawing/2014/main" id="{969D1756-695B-B522-5749-6A28C9BCED27}"/>
              </a:ext>
            </a:extLst>
          </p:cNvPr>
          <p:cNvSpPr>
            <a:spLocks noGrp="1"/>
          </p:cNvSpPr>
          <p:nvPr>
            <p:ph type="body" sz="quarter" idx="17" hasCustomPrompt="1"/>
          </p:nvPr>
        </p:nvSpPr>
        <p:spPr>
          <a:xfrm>
            <a:off x="49560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11" name="Text Placeholder 3">
            <a:extLst>
              <a:ext uri="{FF2B5EF4-FFF2-40B4-BE49-F238E27FC236}">
                <a16:creationId xmlns:a16="http://schemas.microsoft.com/office/drawing/2014/main" id="{C8D3A221-BC13-56A4-A300-930347348C77}"/>
              </a:ext>
            </a:extLst>
          </p:cNvPr>
          <p:cNvSpPr>
            <a:spLocks noGrp="1"/>
          </p:cNvSpPr>
          <p:nvPr>
            <p:ph type="body" sz="quarter" idx="18" hasCustomPrompt="1"/>
          </p:nvPr>
        </p:nvSpPr>
        <p:spPr>
          <a:xfrm>
            <a:off x="8156448" y="1280160"/>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2" name="Text Placeholder 3">
            <a:extLst>
              <a:ext uri="{FF2B5EF4-FFF2-40B4-BE49-F238E27FC236}">
                <a16:creationId xmlns:a16="http://schemas.microsoft.com/office/drawing/2014/main" id="{74C486AC-0049-6245-B083-A937EBC236AB}"/>
              </a:ext>
            </a:extLst>
          </p:cNvPr>
          <p:cNvSpPr>
            <a:spLocks noGrp="1"/>
          </p:cNvSpPr>
          <p:nvPr>
            <p:ph type="body" sz="quarter" idx="19" hasCustomPrompt="1"/>
          </p:nvPr>
        </p:nvSpPr>
        <p:spPr>
          <a:xfrm>
            <a:off x="4956048" y="4169664"/>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4" name="Text Placeholder 3">
            <a:extLst>
              <a:ext uri="{FF2B5EF4-FFF2-40B4-BE49-F238E27FC236}">
                <a16:creationId xmlns:a16="http://schemas.microsoft.com/office/drawing/2014/main" id="{CD3B0620-9894-F125-14B9-CD640560FD6A}"/>
              </a:ext>
            </a:extLst>
          </p:cNvPr>
          <p:cNvSpPr>
            <a:spLocks noGrp="1"/>
          </p:cNvSpPr>
          <p:nvPr>
            <p:ph type="body" sz="quarter" idx="20" hasCustomPrompt="1"/>
          </p:nvPr>
        </p:nvSpPr>
        <p:spPr>
          <a:xfrm>
            <a:off x="8153870" y="4197096"/>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9" name="Text Placeholder 9">
            <a:extLst>
              <a:ext uri="{FF2B5EF4-FFF2-40B4-BE49-F238E27FC236}">
                <a16:creationId xmlns:a16="http://schemas.microsoft.com/office/drawing/2014/main" id="{04F6BC5D-29CC-231E-4719-983E8BA15AA8}"/>
              </a:ext>
            </a:extLst>
          </p:cNvPr>
          <p:cNvSpPr>
            <a:spLocks noGrp="1"/>
          </p:cNvSpPr>
          <p:nvPr>
            <p:ph type="body" sz="quarter" idx="21" hasCustomPrompt="1"/>
          </p:nvPr>
        </p:nvSpPr>
        <p:spPr>
          <a:xfrm>
            <a:off x="81564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0" name="Text Placeholder 9">
            <a:extLst>
              <a:ext uri="{FF2B5EF4-FFF2-40B4-BE49-F238E27FC236}">
                <a16:creationId xmlns:a16="http://schemas.microsoft.com/office/drawing/2014/main" id="{01FEAD51-6040-1673-BC66-C9E1B8FC27F9}"/>
              </a:ext>
            </a:extLst>
          </p:cNvPr>
          <p:cNvSpPr>
            <a:spLocks noGrp="1"/>
          </p:cNvSpPr>
          <p:nvPr>
            <p:ph type="body" sz="quarter" idx="22" hasCustomPrompt="1"/>
          </p:nvPr>
        </p:nvSpPr>
        <p:spPr>
          <a:xfrm>
            <a:off x="4956048" y="553212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4" name="Text Placeholder 9">
            <a:extLst>
              <a:ext uri="{FF2B5EF4-FFF2-40B4-BE49-F238E27FC236}">
                <a16:creationId xmlns:a16="http://schemas.microsoft.com/office/drawing/2014/main" id="{EAEAE809-2E7A-2AF1-FB64-4210F149FF24}"/>
              </a:ext>
            </a:extLst>
          </p:cNvPr>
          <p:cNvSpPr>
            <a:spLocks noGrp="1"/>
          </p:cNvSpPr>
          <p:nvPr>
            <p:ph type="body" sz="quarter" idx="23" hasCustomPrompt="1"/>
          </p:nvPr>
        </p:nvSpPr>
        <p:spPr>
          <a:xfrm>
            <a:off x="8156448" y="5530584"/>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Tree>
    <p:extLst>
      <p:ext uri="{BB962C8B-B14F-4D97-AF65-F5344CB8AC3E}">
        <p14:creationId xmlns:p14="http://schemas.microsoft.com/office/powerpoint/2010/main" val="401177224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3277990"/>
            <a:ext cx="10647929" cy="451005"/>
            <a:chOff x="815974" y="3277990"/>
            <a:chExt cx="7080250" cy="451005"/>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Text Placeholder 22">
            <a:extLst>
              <a:ext uri="{FF2B5EF4-FFF2-40B4-BE49-F238E27FC236}">
                <a16:creationId xmlns:a16="http://schemas.microsoft.com/office/drawing/2014/main" id="{D5AF262E-3C8F-28B1-BCCF-0A97917A8B4F}"/>
              </a:ext>
            </a:extLst>
          </p:cNvPr>
          <p:cNvSpPr>
            <a:spLocks noGrp="1"/>
          </p:cNvSpPr>
          <p:nvPr>
            <p:ph type="body" sz="quarter" idx="15" hasCustomPrompt="1"/>
          </p:nvPr>
        </p:nvSpPr>
        <p:spPr>
          <a:xfrm>
            <a:off x="813816" y="2862072"/>
            <a:ext cx="5321808" cy="676656"/>
          </a:xfrm>
        </p:spPr>
        <p:txBody>
          <a:bodyPr anchor="ctr" anchorCtr="0">
            <a:normAutofit/>
          </a:bodyPr>
          <a:lstStyle>
            <a:lvl1pPr algn="ctr">
              <a:defRPr sz="4400" b="1">
                <a:solidFill>
                  <a:schemeClr val="tx1"/>
                </a:solidFill>
              </a:defRPr>
            </a:lvl1pPr>
          </a:lstStyle>
          <a:p>
            <a:pPr lvl="0"/>
            <a:r>
              <a:rPr lang="en-US"/>
              <a:t>01</a:t>
            </a:r>
          </a:p>
        </p:txBody>
      </p:sp>
      <p:sp>
        <p:nvSpPr>
          <p:cNvPr id="24" name="Text Placeholder 22">
            <a:extLst>
              <a:ext uri="{FF2B5EF4-FFF2-40B4-BE49-F238E27FC236}">
                <a16:creationId xmlns:a16="http://schemas.microsoft.com/office/drawing/2014/main" id="{0DE0CA70-573A-82EE-EA48-2FD42347E080}"/>
              </a:ext>
            </a:extLst>
          </p:cNvPr>
          <p:cNvSpPr>
            <a:spLocks noGrp="1"/>
          </p:cNvSpPr>
          <p:nvPr>
            <p:ph type="body" sz="quarter" idx="16" hasCustomPrompt="1"/>
          </p:nvPr>
        </p:nvSpPr>
        <p:spPr>
          <a:xfrm>
            <a:off x="6172200" y="2633472"/>
            <a:ext cx="5321808" cy="676656"/>
          </a:xfrm>
        </p:spPr>
        <p:txBody>
          <a:bodyPr anchor="ctr" anchorCtr="0">
            <a:normAutofit/>
          </a:bodyPr>
          <a:lstStyle>
            <a:lvl1pPr algn="ctr">
              <a:defRPr sz="4400" b="1">
                <a:solidFill>
                  <a:schemeClr val="tx1"/>
                </a:solidFill>
              </a:defRPr>
            </a:lvl1pPr>
          </a:lstStyle>
          <a:p>
            <a:pPr lvl="0"/>
            <a:r>
              <a:rPr lang="en-US"/>
              <a:t>02</a:t>
            </a:r>
          </a:p>
        </p:txBody>
      </p:sp>
    </p:spTree>
    <p:extLst>
      <p:ext uri="{BB962C8B-B14F-4D97-AF65-F5344CB8AC3E}">
        <p14:creationId xmlns:p14="http://schemas.microsoft.com/office/powerpoint/2010/main" val="360236996"/>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3736965"/>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Text Placeholder 25">
            <a:extLst>
              <a:ext uri="{FF2B5EF4-FFF2-40B4-BE49-F238E27FC236}">
                <a16:creationId xmlns:a16="http://schemas.microsoft.com/office/drawing/2014/main" id="{5055A999-4100-1F48-E076-B4B41D3A070A}"/>
              </a:ext>
            </a:extLst>
          </p:cNvPr>
          <p:cNvSpPr>
            <a:spLocks noGrp="1"/>
          </p:cNvSpPr>
          <p:nvPr>
            <p:ph type="body" sz="quarter" idx="17" hasCustomPrompt="1"/>
          </p:nvPr>
        </p:nvSpPr>
        <p:spPr>
          <a:xfrm>
            <a:off x="813816" y="2862072"/>
            <a:ext cx="2651760" cy="813816"/>
          </a:xfrm>
        </p:spPr>
        <p:txBody>
          <a:bodyPr anchor="ctr" anchorCtr="0">
            <a:normAutofit/>
          </a:bodyPr>
          <a:lstStyle>
            <a:lvl1pPr algn="ctr">
              <a:defRPr sz="4400" b="1">
                <a:solidFill>
                  <a:schemeClr val="tx1"/>
                </a:solidFill>
              </a:defRPr>
            </a:lvl1pPr>
          </a:lstStyle>
          <a:p>
            <a:pPr lvl="0"/>
            <a:r>
              <a:rPr lang="en-US"/>
              <a:t>01</a:t>
            </a:r>
          </a:p>
        </p:txBody>
      </p:sp>
      <p:sp>
        <p:nvSpPr>
          <p:cNvPr id="31" name="Text Placeholder 25">
            <a:extLst>
              <a:ext uri="{FF2B5EF4-FFF2-40B4-BE49-F238E27FC236}">
                <a16:creationId xmlns:a16="http://schemas.microsoft.com/office/drawing/2014/main" id="{99F001E0-F189-607B-C6FA-DA3C0646966B}"/>
              </a:ext>
            </a:extLst>
          </p:cNvPr>
          <p:cNvSpPr>
            <a:spLocks noGrp="1"/>
          </p:cNvSpPr>
          <p:nvPr>
            <p:ph type="body" sz="quarter" idx="18" hasCustomPrompt="1"/>
          </p:nvPr>
        </p:nvSpPr>
        <p:spPr>
          <a:xfrm>
            <a:off x="3483864" y="2633472"/>
            <a:ext cx="2651760" cy="813816"/>
          </a:xfrm>
        </p:spPr>
        <p:txBody>
          <a:bodyPr anchor="ctr" anchorCtr="0">
            <a:normAutofit/>
          </a:bodyPr>
          <a:lstStyle>
            <a:lvl1pPr algn="ctr">
              <a:defRPr sz="4400" b="1">
                <a:solidFill>
                  <a:schemeClr val="tx1"/>
                </a:solidFill>
              </a:defRPr>
            </a:lvl1pPr>
          </a:lstStyle>
          <a:p>
            <a:pPr lvl="0"/>
            <a:r>
              <a:rPr lang="en-US"/>
              <a:t>02</a:t>
            </a:r>
          </a:p>
        </p:txBody>
      </p:sp>
      <p:sp>
        <p:nvSpPr>
          <p:cNvPr id="32" name="Text Placeholder 25">
            <a:extLst>
              <a:ext uri="{FF2B5EF4-FFF2-40B4-BE49-F238E27FC236}">
                <a16:creationId xmlns:a16="http://schemas.microsoft.com/office/drawing/2014/main" id="{7AA02A4B-ABF3-889B-1E7C-DBCB4E50825D}"/>
              </a:ext>
            </a:extLst>
          </p:cNvPr>
          <p:cNvSpPr>
            <a:spLocks noGrp="1"/>
          </p:cNvSpPr>
          <p:nvPr>
            <p:ph type="body" sz="quarter" idx="19" hasCustomPrompt="1"/>
          </p:nvPr>
        </p:nvSpPr>
        <p:spPr>
          <a:xfrm>
            <a:off x="6113709" y="2414016"/>
            <a:ext cx="2651760" cy="813816"/>
          </a:xfrm>
        </p:spPr>
        <p:txBody>
          <a:bodyPr anchor="ctr" anchorCtr="0">
            <a:normAutofit/>
          </a:bodyPr>
          <a:lstStyle>
            <a:lvl1pPr algn="ctr">
              <a:defRPr sz="4400" b="1">
                <a:solidFill>
                  <a:schemeClr val="tx1"/>
                </a:solidFill>
              </a:defRPr>
            </a:lvl1pPr>
          </a:lstStyle>
          <a:p>
            <a:pPr lvl="0"/>
            <a:r>
              <a:rPr lang="en-US"/>
              <a:t>03</a:t>
            </a:r>
          </a:p>
        </p:txBody>
      </p:sp>
      <p:sp>
        <p:nvSpPr>
          <p:cNvPr id="33" name="Text Placeholder 25">
            <a:extLst>
              <a:ext uri="{FF2B5EF4-FFF2-40B4-BE49-F238E27FC236}">
                <a16:creationId xmlns:a16="http://schemas.microsoft.com/office/drawing/2014/main" id="{DFCCF825-70A5-94CB-90F5-1678DEA0AC13}"/>
              </a:ext>
            </a:extLst>
          </p:cNvPr>
          <p:cNvSpPr>
            <a:spLocks noGrp="1"/>
          </p:cNvSpPr>
          <p:nvPr>
            <p:ph type="body" sz="quarter" idx="20" hasCustomPrompt="1"/>
          </p:nvPr>
        </p:nvSpPr>
        <p:spPr>
          <a:xfrm>
            <a:off x="8783472" y="2203704"/>
            <a:ext cx="2651760" cy="813816"/>
          </a:xfrm>
        </p:spPr>
        <p:txBody>
          <a:bodyPr anchor="ctr" anchorCtr="0">
            <a:normAutofit/>
          </a:bodyPr>
          <a:lstStyle>
            <a:lvl1pPr algn="ctr">
              <a:defRPr sz="4400" b="1">
                <a:solidFill>
                  <a:schemeClr val="tx1"/>
                </a:solidFill>
              </a:defRPr>
            </a:lvl1pPr>
          </a:lstStyle>
          <a:p>
            <a:pPr lvl="0"/>
            <a:r>
              <a:rPr lang="en-US"/>
              <a:t>04</a:t>
            </a:r>
          </a:p>
        </p:txBody>
      </p:sp>
    </p:spTree>
    <p:extLst>
      <p:ext uri="{BB962C8B-B14F-4D97-AF65-F5344CB8AC3E}">
        <p14:creationId xmlns:p14="http://schemas.microsoft.com/office/powerpoint/2010/main" val="2612993445"/>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B0860C9-5209-1EB8-47AE-58CEA829E162}"/>
              </a:ext>
            </a:extLst>
          </p:cNvPr>
          <p:cNvSpPr>
            <a:spLocks noGrp="1"/>
          </p:cNvSpPr>
          <p:nvPr>
            <p:ph type="body" sz="quarter" idx="16" hasCustomPrompt="1"/>
          </p:nvPr>
        </p:nvSpPr>
        <p:spPr>
          <a:xfrm>
            <a:off x="1060704" y="1984248"/>
            <a:ext cx="1051560" cy="1051560"/>
          </a:xfrm>
          <a:solidFill>
            <a:schemeClr val="accent1"/>
          </a:solidFill>
        </p:spPr>
        <p:txBody>
          <a:bodyPr anchor="ctr" anchorCtr="0">
            <a:normAutofit/>
          </a:bodyPr>
          <a:lstStyle>
            <a:lvl1pPr algn="ctr">
              <a:defRPr sz="3600">
                <a:solidFill>
                  <a:schemeClr val="bg1"/>
                </a:solidFill>
              </a:defRPr>
            </a:lvl1pPr>
          </a:lstStyle>
          <a:p>
            <a:pPr lvl="0"/>
            <a:r>
              <a:rPr lang="en-US"/>
              <a:t>01</a:t>
            </a:r>
          </a:p>
        </p:txBody>
      </p:sp>
      <p:sp>
        <p:nvSpPr>
          <p:cNvPr id="23" name="Text Placeholder 21">
            <a:extLst>
              <a:ext uri="{FF2B5EF4-FFF2-40B4-BE49-F238E27FC236}">
                <a16:creationId xmlns:a16="http://schemas.microsoft.com/office/drawing/2014/main" id="{26181DBB-22A2-2829-138C-ED75F0DD6BC8}"/>
              </a:ext>
            </a:extLst>
          </p:cNvPr>
          <p:cNvSpPr>
            <a:spLocks noGrp="1"/>
          </p:cNvSpPr>
          <p:nvPr>
            <p:ph type="body" sz="quarter" idx="17" hasCustomPrompt="1"/>
          </p:nvPr>
        </p:nvSpPr>
        <p:spPr>
          <a:xfrm>
            <a:off x="6455664" y="1975104"/>
            <a:ext cx="1051560" cy="1051560"/>
          </a:xfrm>
          <a:solidFill>
            <a:schemeClr val="accent2"/>
          </a:solidFill>
        </p:spPr>
        <p:txBody>
          <a:bodyPr anchor="ctr" anchorCtr="0">
            <a:normAutofit/>
          </a:bodyPr>
          <a:lstStyle>
            <a:lvl1pPr algn="ctr">
              <a:defRPr sz="3600">
                <a:solidFill>
                  <a:schemeClr val="bg1"/>
                </a:solidFill>
              </a:defRPr>
            </a:lvl1pPr>
          </a:lstStyle>
          <a:p>
            <a:pPr lvl="0"/>
            <a:r>
              <a:rPr lang="en-US"/>
              <a:t>02</a:t>
            </a:r>
          </a:p>
        </p:txBody>
      </p:sp>
    </p:spTree>
    <p:extLst>
      <p:ext uri="{BB962C8B-B14F-4D97-AF65-F5344CB8AC3E}">
        <p14:creationId xmlns:p14="http://schemas.microsoft.com/office/powerpoint/2010/main" val="3288825299"/>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hree point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7BB5EF85-EA9E-3034-9AA7-3941942DDA58}"/>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99BADEA4-37D5-F262-1B68-0F2093F461FF}"/>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1B5CFE7E-0C43-2CC1-DF64-129ED37C241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CA2C38B0-0DF7-AD0C-8FCB-52F2242765EA}"/>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3B2CBE38-0F56-C0D6-98DE-2397D80DE88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6B21A685-8CB7-602E-9C15-B4E716E7DC5B}"/>
              </a:ext>
            </a:extLst>
          </p:cNvPr>
          <p:cNvSpPr>
            <a:spLocks noGrp="1"/>
          </p:cNvSpPr>
          <p:nvPr>
            <p:ph sz="quarter" idx="20"/>
          </p:nvPr>
        </p:nvSpPr>
        <p:spPr>
          <a:xfrm>
            <a:off x="1060704"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17">
            <a:extLst>
              <a:ext uri="{FF2B5EF4-FFF2-40B4-BE49-F238E27FC236}">
                <a16:creationId xmlns:a16="http://schemas.microsoft.com/office/drawing/2014/main" id="{B41AE74C-6FDB-F859-8319-02B2C62959D4}"/>
              </a:ext>
            </a:extLst>
          </p:cNvPr>
          <p:cNvSpPr>
            <a:spLocks noGrp="1"/>
          </p:cNvSpPr>
          <p:nvPr>
            <p:ph sz="quarter" idx="21"/>
          </p:nvPr>
        </p:nvSpPr>
        <p:spPr>
          <a:xfrm>
            <a:off x="4572000"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FB801FE-3167-9359-BDD6-13E2C567BBB8}"/>
              </a:ext>
            </a:extLst>
          </p:cNvPr>
          <p:cNvSpPr>
            <a:spLocks noGrp="1"/>
          </p:cNvSpPr>
          <p:nvPr>
            <p:ph sz="quarter" idx="22"/>
          </p:nvPr>
        </p:nvSpPr>
        <p:spPr>
          <a:xfrm>
            <a:off x="8180832"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5601135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hree point layou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C5743957-88D8-6563-88B1-3ADB23349BF0}"/>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12FBE549-8D23-F9ED-3121-708612E983BD}"/>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8AAED02F-0C2A-6705-0290-F2F54583BA7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491D960A-8FA4-573D-BFAA-85E0E9D20C45}"/>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EF9A0D2B-9A40-D3A8-CC66-650BEE54971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BA87037E-2DDA-B8D4-FC38-C03C64ECA203}"/>
              </a:ext>
            </a:extLst>
          </p:cNvPr>
          <p:cNvSpPr>
            <a:spLocks noGrp="1"/>
          </p:cNvSpPr>
          <p:nvPr>
            <p:ph sz="quarter" idx="20"/>
          </p:nvPr>
        </p:nvSpPr>
        <p:spPr>
          <a:xfrm>
            <a:off x="1060704"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8503487-2A2A-2577-E414-533AD55B9ACE}"/>
              </a:ext>
            </a:extLst>
          </p:cNvPr>
          <p:cNvSpPr>
            <a:spLocks noGrp="1"/>
          </p:cNvSpPr>
          <p:nvPr>
            <p:ph sz="quarter" idx="21"/>
          </p:nvPr>
        </p:nvSpPr>
        <p:spPr>
          <a:xfrm>
            <a:off x="4648200"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8BB224DA-BFA8-0A2D-EADF-72388F605911}"/>
              </a:ext>
            </a:extLst>
          </p:cNvPr>
          <p:cNvSpPr>
            <a:spLocks noGrp="1"/>
          </p:cNvSpPr>
          <p:nvPr>
            <p:ph sz="quarter" idx="22"/>
          </p:nvPr>
        </p:nvSpPr>
        <p:spPr>
          <a:xfrm>
            <a:off x="8257032"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89223278"/>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Four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74924541-1F26-5765-7BB0-61DBC3FA8377}"/>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0" name="Text Placeholder 29">
            <a:extLst>
              <a:ext uri="{FF2B5EF4-FFF2-40B4-BE49-F238E27FC236}">
                <a16:creationId xmlns:a16="http://schemas.microsoft.com/office/drawing/2014/main" id="{2E695CE5-E6EE-D658-7023-0D09649BD102}"/>
              </a:ext>
            </a:extLst>
          </p:cNvPr>
          <p:cNvSpPr>
            <a:spLocks noGrp="1"/>
          </p:cNvSpPr>
          <p:nvPr>
            <p:ph type="body" sz="quarter" idx="18" hasCustomPrompt="1"/>
          </p:nvPr>
        </p:nvSpPr>
        <p:spPr>
          <a:xfrm>
            <a:off x="996696" y="2109788"/>
            <a:ext cx="782638" cy="78105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4" name="Text Placeholder 33">
            <a:extLst>
              <a:ext uri="{FF2B5EF4-FFF2-40B4-BE49-F238E27FC236}">
                <a16:creationId xmlns:a16="http://schemas.microsoft.com/office/drawing/2014/main" id="{F444F38C-5AE1-E0D9-5ED6-130DC7942DF3}"/>
              </a:ext>
            </a:extLst>
          </p:cNvPr>
          <p:cNvSpPr>
            <a:spLocks noGrp="1"/>
          </p:cNvSpPr>
          <p:nvPr>
            <p:ph type="body" sz="quarter" idx="19" hasCustomPrompt="1"/>
          </p:nvPr>
        </p:nvSpPr>
        <p:spPr>
          <a:xfrm>
            <a:off x="3694176" y="2112963"/>
            <a:ext cx="782638" cy="786384"/>
          </a:xfrm>
          <a:solidFill>
            <a:schemeClr val="tx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5" name="Text Placeholder 33">
            <a:extLst>
              <a:ext uri="{FF2B5EF4-FFF2-40B4-BE49-F238E27FC236}">
                <a16:creationId xmlns:a16="http://schemas.microsoft.com/office/drawing/2014/main" id="{B902F693-4C99-132F-221F-AA15FF85CBF5}"/>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6" name="Text Placeholder 33">
            <a:extLst>
              <a:ext uri="{FF2B5EF4-FFF2-40B4-BE49-F238E27FC236}">
                <a16:creationId xmlns:a16="http://schemas.microsoft.com/office/drawing/2014/main" id="{7BFB5199-74B1-632A-03F1-B4E90075FF4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Content Placeholder 17">
            <a:extLst>
              <a:ext uri="{FF2B5EF4-FFF2-40B4-BE49-F238E27FC236}">
                <a16:creationId xmlns:a16="http://schemas.microsoft.com/office/drawing/2014/main" id="{DC71B040-FDDF-7FA3-18C6-3F41B67FC329}"/>
              </a:ext>
            </a:extLst>
          </p:cNvPr>
          <p:cNvSpPr>
            <a:spLocks noGrp="1"/>
          </p:cNvSpPr>
          <p:nvPr>
            <p:ph sz="quarter" idx="22"/>
          </p:nvPr>
        </p:nvSpPr>
        <p:spPr>
          <a:xfrm>
            <a:off x="99669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A7906F8-CD9F-CC32-EBD8-6B586993D425}"/>
              </a:ext>
            </a:extLst>
          </p:cNvPr>
          <p:cNvSpPr>
            <a:spLocks noGrp="1"/>
          </p:cNvSpPr>
          <p:nvPr>
            <p:ph sz="quarter" idx="23"/>
          </p:nvPr>
        </p:nvSpPr>
        <p:spPr>
          <a:xfrm>
            <a:off x="369417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D013BD34-3139-6621-2415-B725830EA9EC}"/>
              </a:ext>
            </a:extLst>
          </p:cNvPr>
          <p:cNvSpPr>
            <a:spLocks noGrp="1"/>
          </p:cNvSpPr>
          <p:nvPr>
            <p:ph sz="quarter" idx="24"/>
          </p:nvPr>
        </p:nvSpPr>
        <p:spPr>
          <a:xfrm>
            <a:off x="639165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C9CF1EB2-5F5E-6353-E227-AF8E97696C5C}"/>
              </a:ext>
            </a:extLst>
          </p:cNvPr>
          <p:cNvSpPr>
            <a:spLocks noGrp="1"/>
          </p:cNvSpPr>
          <p:nvPr>
            <p:ph sz="quarter" idx="25"/>
          </p:nvPr>
        </p:nvSpPr>
        <p:spPr>
          <a:xfrm>
            <a:off x="9098280"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1572307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Four point layout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grpSp>
        <p:nvGrpSpPr>
          <p:cNvPr id="4" name="Group 3">
            <a:extLst>
              <a:ext uri="{FF2B5EF4-FFF2-40B4-BE49-F238E27FC236}">
                <a16:creationId xmlns:a16="http://schemas.microsoft.com/office/drawing/2014/main" id="{EBF1A456-1439-4FB5-BB78-B79ADD19D336}"/>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4" name="Text Placeholder 33">
            <a:extLst>
              <a:ext uri="{FF2B5EF4-FFF2-40B4-BE49-F238E27FC236}">
                <a16:creationId xmlns:a16="http://schemas.microsoft.com/office/drawing/2014/main" id="{794529AB-56E3-F921-E788-9BE34EA4A256}"/>
              </a:ext>
            </a:extLst>
          </p:cNvPr>
          <p:cNvSpPr>
            <a:spLocks noGrp="1"/>
          </p:cNvSpPr>
          <p:nvPr>
            <p:ph type="body" sz="quarter" idx="18" hasCustomPrompt="1"/>
          </p:nvPr>
        </p:nvSpPr>
        <p:spPr>
          <a:xfrm>
            <a:off x="996696" y="2109788"/>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5" name="Text Placeholder 33">
            <a:extLst>
              <a:ext uri="{FF2B5EF4-FFF2-40B4-BE49-F238E27FC236}">
                <a16:creationId xmlns:a16="http://schemas.microsoft.com/office/drawing/2014/main" id="{F1C5F5BC-3FE0-BFD1-A477-F533FEA22779}"/>
              </a:ext>
            </a:extLst>
          </p:cNvPr>
          <p:cNvSpPr>
            <a:spLocks noGrp="1"/>
          </p:cNvSpPr>
          <p:nvPr>
            <p:ph type="body" sz="quarter" idx="19" hasCustomPrompt="1"/>
          </p:nvPr>
        </p:nvSpPr>
        <p:spPr>
          <a:xfrm>
            <a:off x="3694176" y="2112264"/>
            <a:ext cx="782638" cy="78638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6" name="Text Placeholder 33">
            <a:extLst>
              <a:ext uri="{FF2B5EF4-FFF2-40B4-BE49-F238E27FC236}">
                <a16:creationId xmlns:a16="http://schemas.microsoft.com/office/drawing/2014/main" id="{7BD6BDF9-E3B0-43EC-96F4-09938223C6E1}"/>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7" name="Text Placeholder 33">
            <a:extLst>
              <a:ext uri="{FF2B5EF4-FFF2-40B4-BE49-F238E27FC236}">
                <a16:creationId xmlns:a16="http://schemas.microsoft.com/office/drawing/2014/main" id="{7A607500-6628-89AA-DC09-275E677931C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Text Placeholder 5">
            <a:extLst>
              <a:ext uri="{FF2B5EF4-FFF2-40B4-BE49-F238E27FC236}">
                <a16:creationId xmlns:a16="http://schemas.microsoft.com/office/drawing/2014/main" id="{939FEAFF-2B05-15D5-F83D-AFB37993037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3" name="Content Placeholder 17">
            <a:extLst>
              <a:ext uri="{FF2B5EF4-FFF2-40B4-BE49-F238E27FC236}">
                <a16:creationId xmlns:a16="http://schemas.microsoft.com/office/drawing/2014/main" id="{99D7A353-2824-AD68-ABF9-A9B6647BC142}"/>
              </a:ext>
            </a:extLst>
          </p:cNvPr>
          <p:cNvSpPr>
            <a:spLocks noGrp="1"/>
          </p:cNvSpPr>
          <p:nvPr>
            <p:ph sz="quarter" idx="22"/>
          </p:nvPr>
        </p:nvSpPr>
        <p:spPr>
          <a:xfrm>
            <a:off x="99669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1BE278AE-5885-4329-9304-7E4B0E6E23AE}"/>
              </a:ext>
            </a:extLst>
          </p:cNvPr>
          <p:cNvSpPr>
            <a:spLocks noGrp="1"/>
          </p:cNvSpPr>
          <p:nvPr>
            <p:ph sz="quarter" idx="23"/>
          </p:nvPr>
        </p:nvSpPr>
        <p:spPr>
          <a:xfrm>
            <a:off x="369417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1C223556-1E41-659A-1704-6EC49BAAF059}"/>
              </a:ext>
            </a:extLst>
          </p:cNvPr>
          <p:cNvSpPr>
            <a:spLocks noGrp="1"/>
          </p:cNvSpPr>
          <p:nvPr>
            <p:ph sz="quarter" idx="24"/>
          </p:nvPr>
        </p:nvSpPr>
        <p:spPr>
          <a:xfrm>
            <a:off x="639165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48F10A1C-9114-5544-7240-C722E4EA96BC}"/>
              </a:ext>
            </a:extLst>
          </p:cNvPr>
          <p:cNvSpPr>
            <a:spLocks noGrp="1"/>
          </p:cNvSpPr>
          <p:nvPr>
            <p:ph sz="quarter" idx="25"/>
          </p:nvPr>
        </p:nvSpPr>
        <p:spPr>
          <a:xfrm>
            <a:off x="9098280"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2261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2143036414"/>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1_Five point layout 3">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6" name="Rectangle 25">
            <a:extLst>
              <a:ext uri="{FF2B5EF4-FFF2-40B4-BE49-F238E27FC236}">
                <a16:creationId xmlns:a16="http://schemas.microsoft.com/office/drawing/2014/main" id="{C7303873-522F-9510-3C03-12FB53DC434E}"/>
              </a:ext>
            </a:extLst>
          </p:cNvPr>
          <p:cNvSpPr/>
          <p:nvPr/>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726F2FA3-CF30-5ACA-8D01-170E03AC0205}"/>
              </a:ext>
            </a:extLst>
          </p:cNvPr>
          <p:cNvSpPr/>
          <p:nvPr/>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0" name="Rectangle 29">
            <a:extLst>
              <a:ext uri="{FF2B5EF4-FFF2-40B4-BE49-F238E27FC236}">
                <a16:creationId xmlns:a16="http://schemas.microsoft.com/office/drawing/2014/main" id="{B19CD226-8331-7490-8999-02DEC32221A5}"/>
              </a:ext>
            </a:extLst>
          </p:cNvPr>
          <p:cNvSpPr/>
          <p:nvPr/>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2" name="Rectangle 31">
            <a:extLst>
              <a:ext uri="{FF2B5EF4-FFF2-40B4-BE49-F238E27FC236}">
                <a16:creationId xmlns:a16="http://schemas.microsoft.com/office/drawing/2014/main" id="{A0D890D1-F42C-988F-84F3-9F7F4EEFC16D}"/>
              </a:ext>
            </a:extLst>
          </p:cNvPr>
          <p:cNvSpPr/>
          <p:nvPr/>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 name="Rectangle 2">
            <a:extLst>
              <a:ext uri="{FF2B5EF4-FFF2-40B4-BE49-F238E27FC236}">
                <a16:creationId xmlns:a16="http://schemas.microsoft.com/office/drawing/2014/main" id="{6CEA7CE0-6AF0-30FC-5354-C84DD26A1E43}"/>
              </a:ext>
            </a:extLst>
          </p:cNvPr>
          <p:cNvSpPr/>
          <p:nvPr/>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Text Placeholder 17">
            <a:extLst>
              <a:ext uri="{FF2B5EF4-FFF2-40B4-BE49-F238E27FC236}">
                <a16:creationId xmlns:a16="http://schemas.microsoft.com/office/drawing/2014/main" id="{552157F3-4757-5D33-BE17-8C94E96A4862}"/>
              </a:ext>
            </a:extLst>
          </p:cNvPr>
          <p:cNvSpPr>
            <a:spLocks noGrp="1"/>
          </p:cNvSpPr>
          <p:nvPr>
            <p:ph type="body" sz="quarter" idx="20" hasCustomPrompt="1"/>
          </p:nvPr>
        </p:nvSpPr>
        <p:spPr>
          <a:xfrm>
            <a:off x="4594225" y="9522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9" name="Text Placeholder 17">
            <a:extLst>
              <a:ext uri="{FF2B5EF4-FFF2-40B4-BE49-F238E27FC236}">
                <a16:creationId xmlns:a16="http://schemas.microsoft.com/office/drawing/2014/main" id="{A7E3F7D9-8193-5A11-1A4E-6EC7B9DDCA15}"/>
              </a:ext>
            </a:extLst>
          </p:cNvPr>
          <p:cNvSpPr>
            <a:spLocks noGrp="1"/>
          </p:cNvSpPr>
          <p:nvPr>
            <p:ph type="body" sz="quarter" idx="21" hasCustomPrompt="1"/>
          </p:nvPr>
        </p:nvSpPr>
        <p:spPr>
          <a:xfrm>
            <a:off x="4599432" y="39240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20" name="Text Placeholder 17">
            <a:extLst>
              <a:ext uri="{FF2B5EF4-FFF2-40B4-BE49-F238E27FC236}">
                <a16:creationId xmlns:a16="http://schemas.microsoft.com/office/drawing/2014/main" id="{6D7B440E-1826-AA3C-AE0C-153AECC30CBE}"/>
              </a:ext>
            </a:extLst>
          </p:cNvPr>
          <p:cNvSpPr>
            <a:spLocks noGrp="1"/>
          </p:cNvSpPr>
          <p:nvPr>
            <p:ph type="body" sz="quarter" idx="22" hasCustomPrompt="1"/>
          </p:nvPr>
        </p:nvSpPr>
        <p:spPr>
          <a:xfrm>
            <a:off x="4599432" y="19428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1" name="Text Placeholder 17">
            <a:extLst>
              <a:ext uri="{FF2B5EF4-FFF2-40B4-BE49-F238E27FC236}">
                <a16:creationId xmlns:a16="http://schemas.microsoft.com/office/drawing/2014/main" id="{DE85A369-97AF-8B0E-418D-9BA5273407FC}"/>
              </a:ext>
            </a:extLst>
          </p:cNvPr>
          <p:cNvSpPr>
            <a:spLocks noGrp="1"/>
          </p:cNvSpPr>
          <p:nvPr>
            <p:ph type="body" sz="quarter" idx="23" hasCustomPrompt="1"/>
          </p:nvPr>
        </p:nvSpPr>
        <p:spPr>
          <a:xfrm>
            <a:off x="4599432" y="49146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17">
            <a:extLst>
              <a:ext uri="{FF2B5EF4-FFF2-40B4-BE49-F238E27FC236}">
                <a16:creationId xmlns:a16="http://schemas.microsoft.com/office/drawing/2014/main" id="{6E51DDF7-09CC-E9F3-5E13-887846636959}"/>
              </a:ext>
            </a:extLst>
          </p:cNvPr>
          <p:cNvSpPr>
            <a:spLocks noGrp="1"/>
          </p:cNvSpPr>
          <p:nvPr>
            <p:ph type="body" sz="quarter" idx="24" hasCustomPrompt="1"/>
          </p:nvPr>
        </p:nvSpPr>
        <p:spPr>
          <a:xfrm>
            <a:off x="4599432" y="2933475"/>
            <a:ext cx="768096" cy="69494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7" name="Content Placeholder 17">
            <a:extLst>
              <a:ext uri="{FF2B5EF4-FFF2-40B4-BE49-F238E27FC236}">
                <a16:creationId xmlns:a16="http://schemas.microsoft.com/office/drawing/2014/main" id="{C9030E85-B7BF-F051-CBF2-4E9130632033}"/>
              </a:ext>
            </a:extLst>
          </p:cNvPr>
          <p:cNvSpPr>
            <a:spLocks noGrp="1"/>
          </p:cNvSpPr>
          <p:nvPr>
            <p:ph sz="quarter" idx="26"/>
          </p:nvPr>
        </p:nvSpPr>
        <p:spPr>
          <a:xfrm>
            <a:off x="5638800" y="9477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B9A39866-1BF8-6E69-7577-26A7459C2805}"/>
              </a:ext>
            </a:extLst>
          </p:cNvPr>
          <p:cNvSpPr>
            <a:spLocks noGrp="1"/>
          </p:cNvSpPr>
          <p:nvPr>
            <p:ph sz="quarter" idx="27"/>
          </p:nvPr>
        </p:nvSpPr>
        <p:spPr>
          <a:xfrm>
            <a:off x="5638800" y="19383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3" name="Content Placeholder 17">
            <a:extLst>
              <a:ext uri="{FF2B5EF4-FFF2-40B4-BE49-F238E27FC236}">
                <a16:creationId xmlns:a16="http://schemas.microsoft.com/office/drawing/2014/main" id="{836B8BFB-AB56-1859-2B52-558D9A723ED0}"/>
              </a:ext>
            </a:extLst>
          </p:cNvPr>
          <p:cNvSpPr>
            <a:spLocks noGrp="1"/>
          </p:cNvSpPr>
          <p:nvPr>
            <p:ph sz="quarter" idx="28" hasCustomPrompt="1"/>
          </p:nvPr>
        </p:nvSpPr>
        <p:spPr>
          <a:xfrm>
            <a:off x="5638800" y="29289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a:t>
            </a:r>
            <a:r>
              <a:rPr lang="en-US" err="1"/>
              <a:t>stylesFourth</a:t>
            </a:r>
            <a:r>
              <a:rPr lang="en-US"/>
              <a:t> level</a:t>
            </a:r>
          </a:p>
        </p:txBody>
      </p:sp>
      <p:sp>
        <p:nvSpPr>
          <p:cNvPr id="24" name="Content Placeholder 17">
            <a:extLst>
              <a:ext uri="{FF2B5EF4-FFF2-40B4-BE49-F238E27FC236}">
                <a16:creationId xmlns:a16="http://schemas.microsoft.com/office/drawing/2014/main" id="{2AF180FA-369B-BE97-8766-AD281839F45D}"/>
              </a:ext>
            </a:extLst>
          </p:cNvPr>
          <p:cNvSpPr>
            <a:spLocks noGrp="1"/>
          </p:cNvSpPr>
          <p:nvPr>
            <p:ph sz="quarter" idx="29"/>
          </p:nvPr>
        </p:nvSpPr>
        <p:spPr>
          <a:xfrm>
            <a:off x="5638800" y="49101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5" name="Content Placeholder 17">
            <a:extLst>
              <a:ext uri="{FF2B5EF4-FFF2-40B4-BE49-F238E27FC236}">
                <a16:creationId xmlns:a16="http://schemas.microsoft.com/office/drawing/2014/main" id="{549397A2-0AB0-F824-0155-D6710460520D}"/>
              </a:ext>
            </a:extLst>
          </p:cNvPr>
          <p:cNvSpPr>
            <a:spLocks noGrp="1"/>
          </p:cNvSpPr>
          <p:nvPr>
            <p:ph sz="quarter" idx="30"/>
          </p:nvPr>
        </p:nvSpPr>
        <p:spPr>
          <a:xfrm>
            <a:off x="5638800" y="39195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6867531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1_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p:nvSpPr>
        <p:spPr>
          <a:xfrm>
            <a:off x="806289"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F5FFE906-4F19-DDCB-02D2-8D5F4368166D}"/>
              </a:ext>
            </a:extLst>
          </p:cNvPr>
          <p:cNvSpPr/>
          <p:nvPr/>
        </p:nvSpPr>
        <p:spPr>
          <a:xfrm>
            <a:off x="806288"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3" name="Rectangle 22">
            <a:extLst>
              <a:ext uri="{FF2B5EF4-FFF2-40B4-BE49-F238E27FC236}">
                <a16:creationId xmlns:a16="http://schemas.microsoft.com/office/drawing/2014/main" id="{360B642B-C832-01F1-B2C5-C0FA060F9BBA}"/>
              </a:ext>
            </a:extLst>
          </p:cNvPr>
          <p:cNvSpPr/>
          <p:nvPr/>
        </p:nvSpPr>
        <p:spPr>
          <a:xfrm>
            <a:off x="6223503"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p:nvSpPr>
        <p:spPr>
          <a:xfrm>
            <a:off x="6223503"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8D126E5A-C3FD-1E81-E69E-1DC585D3A13B}"/>
              </a:ext>
            </a:extLst>
          </p:cNvPr>
          <p:cNvSpPr/>
          <p:nvPr/>
        </p:nvSpPr>
        <p:spPr>
          <a:xfrm>
            <a:off x="6223502"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Eight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4" name="Rectangle 3">
            <a:extLst>
              <a:ext uri="{FF2B5EF4-FFF2-40B4-BE49-F238E27FC236}">
                <a16:creationId xmlns:a16="http://schemas.microsoft.com/office/drawing/2014/main" id="{BD41C8D4-3DEF-AC4C-C9DF-6BC0ECE0A76F}"/>
              </a:ext>
            </a:extLst>
          </p:cNvPr>
          <p:cNvSpPr/>
          <p:nvPr/>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7" name="Rectangle 6">
            <a:extLst>
              <a:ext uri="{FF2B5EF4-FFF2-40B4-BE49-F238E27FC236}">
                <a16:creationId xmlns:a16="http://schemas.microsoft.com/office/drawing/2014/main" id="{ECB16B80-C336-C91C-9709-8FEA29DA0E7D}"/>
              </a:ext>
            </a:extLst>
          </p:cNvPr>
          <p:cNvSpPr/>
          <p:nvPr/>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grpSp>
        <p:nvGrpSpPr>
          <p:cNvPr id="12" name="Group 11">
            <a:extLst>
              <a:ext uri="{FF2B5EF4-FFF2-40B4-BE49-F238E27FC236}">
                <a16:creationId xmlns:a16="http://schemas.microsoft.com/office/drawing/2014/main" id="{681E2C51-5620-BA24-0CAD-2462496E7CD0}"/>
              </a:ext>
            </a:extLst>
          </p:cNvPr>
          <p:cNvGrpSpPr/>
          <p:nvPr/>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7" name="Content Placeholder 17">
            <a:extLst>
              <a:ext uri="{FF2B5EF4-FFF2-40B4-BE49-F238E27FC236}">
                <a16:creationId xmlns:a16="http://schemas.microsoft.com/office/drawing/2014/main" id="{0ABC318F-1300-9700-0954-8EA9EF1D2E1B}"/>
              </a:ext>
            </a:extLst>
          </p:cNvPr>
          <p:cNvSpPr>
            <a:spLocks noGrp="1"/>
          </p:cNvSpPr>
          <p:nvPr>
            <p:ph sz="quarter" idx="26"/>
          </p:nvPr>
        </p:nvSpPr>
        <p:spPr>
          <a:xfrm>
            <a:off x="16002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8" name="Content Placeholder 17">
            <a:extLst>
              <a:ext uri="{FF2B5EF4-FFF2-40B4-BE49-F238E27FC236}">
                <a16:creationId xmlns:a16="http://schemas.microsoft.com/office/drawing/2014/main" id="{048D2424-6F33-3A1D-0E03-A2052CAA7714}"/>
              </a:ext>
            </a:extLst>
          </p:cNvPr>
          <p:cNvSpPr>
            <a:spLocks noGrp="1"/>
          </p:cNvSpPr>
          <p:nvPr>
            <p:ph sz="quarter" idx="27"/>
          </p:nvPr>
        </p:nvSpPr>
        <p:spPr>
          <a:xfrm>
            <a:off x="16002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9" name="Content Placeholder 17">
            <a:extLst>
              <a:ext uri="{FF2B5EF4-FFF2-40B4-BE49-F238E27FC236}">
                <a16:creationId xmlns:a16="http://schemas.microsoft.com/office/drawing/2014/main" id="{7BDE6555-D111-E0C4-F6E1-53ADB973BD89}"/>
              </a:ext>
            </a:extLst>
          </p:cNvPr>
          <p:cNvSpPr>
            <a:spLocks noGrp="1"/>
          </p:cNvSpPr>
          <p:nvPr>
            <p:ph sz="quarter" idx="28"/>
          </p:nvPr>
        </p:nvSpPr>
        <p:spPr>
          <a:xfrm>
            <a:off x="16002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0" name="Content Placeholder 17">
            <a:extLst>
              <a:ext uri="{FF2B5EF4-FFF2-40B4-BE49-F238E27FC236}">
                <a16:creationId xmlns:a16="http://schemas.microsoft.com/office/drawing/2014/main" id="{C98DBD47-4156-6878-26EF-DC2A47F4910C}"/>
              </a:ext>
            </a:extLst>
          </p:cNvPr>
          <p:cNvSpPr>
            <a:spLocks noGrp="1"/>
          </p:cNvSpPr>
          <p:nvPr>
            <p:ph sz="quarter" idx="29"/>
          </p:nvPr>
        </p:nvSpPr>
        <p:spPr>
          <a:xfrm>
            <a:off x="16002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1" name="Content Placeholder 17">
            <a:extLst>
              <a:ext uri="{FF2B5EF4-FFF2-40B4-BE49-F238E27FC236}">
                <a16:creationId xmlns:a16="http://schemas.microsoft.com/office/drawing/2014/main" id="{EFD331E6-A71B-D3EF-C98A-D1F7100F82DA}"/>
              </a:ext>
            </a:extLst>
          </p:cNvPr>
          <p:cNvSpPr>
            <a:spLocks noGrp="1"/>
          </p:cNvSpPr>
          <p:nvPr>
            <p:ph sz="quarter" idx="30"/>
          </p:nvPr>
        </p:nvSpPr>
        <p:spPr>
          <a:xfrm>
            <a:off x="71628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2" name="Content Placeholder 17">
            <a:extLst>
              <a:ext uri="{FF2B5EF4-FFF2-40B4-BE49-F238E27FC236}">
                <a16:creationId xmlns:a16="http://schemas.microsoft.com/office/drawing/2014/main" id="{1C073818-6C6A-D24A-F3C1-73FC80CF8620}"/>
              </a:ext>
            </a:extLst>
          </p:cNvPr>
          <p:cNvSpPr>
            <a:spLocks noGrp="1"/>
          </p:cNvSpPr>
          <p:nvPr>
            <p:ph sz="quarter" idx="31"/>
          </p:nvPr>
        </p:nvSpPr>
        <p:spPr>
          <a:xfrm>
            <a:off x="71628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3" name="Content Placeholder 17">
            <a:extLst>
              <a:ext uri="{FF2B5EF4-FFF2-40B4-BE49-F238E27FC236}">
                <a16:creationId xmlns:a16="http://schemas.microsoft.com/office/drawing/2014/main" id="{4B5FF665-216A-73E8-7920-63BCEC7A21AE}"/>
              </a:ext>
            </a:extLst>
          </p:cNvPr>
          <p:cNvSpPr>
            <a:spLocks noGrp="1"/>
          </p:cNvSpPr>
          <p:nvPr>
            <p:ph sz="quarter" idx="32"/>
          </p:nvPr>
        </p:nvSpPr>
        <p:spPr>
          <a:xfrm>
            <a:off x="71628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4" name="Content Placeholder 17">
            <a:extLst>
              <a:ext uri="{FF2B5EF4-FFF2-40B4-BE49-F238E27FC236}">
                <a16:creationId xmlns:a16="http://schemas.microsoft.com/office/drawing/2014/main" id="{FEFB9B61-74DA-6DED-1F22-72BBA36D9305}"/>
              </a:ext>
            </a:extLst>
          </p:cNvPr>
          <p:cNvSpPr>
            <a:spLocks noGrp="1"/>
          </p:cNvSpPr>
          <p:nvPr>
            <p:ph sz="quarter" idx="33"/>
          </p:nvPr>
        </p:nvSpPr>
        <p:spPr>
          <a:xfrm>
            <a:off x="71628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6" name="Text Placeholder 29">
            <a:extLst>
              <a:ext uri="{FF2B5EF4-FFF2-40B4-BE49-F238E27FC236}">
                <a16:creationId xmlns:a16="http://schemas.microsoft.com/office/drawing/2014/main" id="{C29102B5-DBD3-3087-6871-2EBF11C1D972}"/>
              </a:ext>
            </a:extLst>
          </p:cNvPr>
          <p:cNvSpPr>
            <a:spLocks noGrp="1"/>
          </p:cNvSpPr>
          <p:nvPr>
            <p:ph type="body" sz="quarter" idx="20" hasCustomPrompt="1"/>
          </p:nvPr>
        </p:nvSpPr>
        <p:spPr>
          <a:xfrm>
            <a:off x="6858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1" name="Text Placeholder 29">
            <a:extLst>
              <a:ext uri="{FF2B5EF4-FFF2-40B4-BE49-F238E27FC236}">
                <a16:creationId xmlns:a16="http://schemas.microsoft.com/office/drawing/2014/main" id="{293A630C-818A-4448-D569-B51CB04221BB}"/>
              </a:ext>
            </a:extLst>
          </p:cNvPr>
          <p:cNvSpPr>
            <a:spLocks noGrp="1"/>
          </p:cNvSpPr>
          <p:nvPr>
            <p:ph type="body" sz="quarter" idx="21" hasCustomPrompt="1"/>
          </p:nvPr>
        </p:nvSpPr>
        <p:spPr>
          <a:xfrm>
            <a:off x="6858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15" name="Text Placeholder 29">
            <a:extLst>
              <a:ext uri="{FF2B5EF4-FFF2-40B4-BE49-F238E27FC236}">
                <a16:creationId xmlns:a16="http://schemas.microsoft.com/office/drawing/2014/main" id="{59406EA4-18A0-B235-5DA5-A5FA3D0CF6E8}"/>
              </a:ext>
            </a:extLst>
          </p:cNvPr>
          <p:cNvSpPr>
            <a:spLocks noGrp="1"/>
          </p:cNvSpPr>
          <p:nvPr>
            <p:ph type="body" sz="quarter" idx="22" hasCustomPrompt="1"/>
          </p:nvPr>
        </p:nvSpPr>
        <p:spPr>
          <a:xfrm>
            <a:off x="685800" y="3124708"/>
            <a:ext cx="762000" cy="62411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0" name="Text Placeholder 29">
            <a:extLst>
              <a:ext uri="{FF2B5EF4-FFF2-40B4-BE49-F238E27FC236}">
                <a16:creationId xmlns:a16="http://schemas.microsoft.com/office/drawing/2014/main" id="{0684EDDC-851D-C769-37DD-CA5A5DDFE3F6}"/>
              </a:ext>
            </a:extLst>
          </p:cNvPr>
          <p:cNvSpPr>
            <a:spLocks noGrp="1"/>
          </p:cNvSpPr>
          <p:nvPr>
            <p:ph type="body" sz="quarter" idx="23" hasCustomPrompt="1"/>
          </p:nvPr>
        </p:nvSpPr>
        <p:spPr>
          <a:xfrm>
            <a:off x="60960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29">
            <a:extLst>
              <a:ext uri="{FF2B5EF4-FFF2-40B4-BE49-F238E27FC236}">
                <a16:creationId xmlns:a16="http://schemas.microsoft.com/office/drawing/2014/main" id="{A2026319-6E90-B700-39BF-1B80C564A3B5}"/>
              </a:ext>
            </a:extLst>
          </p:cNvPr>
          <p:cNvSpPr>
            <a:spLocks noGrp="1"/>
          </p:cNvSpPr>
          <p:nvPr>
            <p:ph type="body" sz="quarter" idx="24" hasCustomPrompt="1"/>
          </p:nvPr>
        </p:nvSpPr>
        <p:spPr>
          <a:xfrm>
            <a:off x="685800" y="4125142"/>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29" name="Text Placeholder 29">
            <a:extLst>
              <a:ext uri="{FF2B5EF4-FFF2-40B4-BE49-F238E27FC236}">
                <a16:creationId xmlns:a16="http://schemas.microsoft.com/office/drawing/2014/main" id="{A425B4F1-9ABC-2362-3320-A71B25763EC1}"/>
              </a:ext>
            </a:extLst>
          </p:cNvPr>
          <p:cNvSpPr>
            <a:spLocks noGrp="1"/>
          </p:cNvSpPr>
          <p:nvPr>
            <p:ph type="body" sz="quarter" idx="25" hasCustomPrompt="1"/>
          </p:nvPr>
        </p:nvSpPr>
        <p:spPr>
          <a:xfrm>
            <a:off x="6096000" y="3124708"/>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6</a:t>
            </a:r>
          </a:p>
        </p:txBody>
      </p:sp>
      <p:sp>
        <p:nvSpPr>
          <p:cNvPr id="32" name="Text Placeholder 29">
            <a:extLst>
              <a:ext uri="{FF2B5EF4-FFF2-40B4-BE49-F238E27FC236}">
                <a16:creationId xmlns:a16="http://schemas.microsoft.com/office/drawing/2014/main" id="{5A5CDF2D-9B36-1492-9A22-6705F3D46E10}"/>
              </a:ext>
            </a:extLst>
          </p:cNvPr>
          <p:cNvSpPr>
            <a:spLocks noGrp="1"/>
          </p:cNvSpPr>
          <p:nvPr>
            <p:ph type="body" sz="quarter" idx="34" hasCustomPrompt="1"/>
          </p:nvPr>
        </p:nvSpPr>
        <p:spPr>
          <a:xfrm>
            <a:off x="6096000" y="4125142"/>
            <a:ext cx="762000" cy="624114"/>
          </a:xfrm>
          <a:solidFill>
            <a:schemeClr val="tx2"/>
          </a:solidFill>
        </p:spPr>
        <p:txBody>
          <a:bodyPr anchor="ctr" anchorCtr="0">
            <a:normAutofit/>
          </a:bodyPr>
          <a:lstStyle>
            <a:lvl1pPr marL="0" indent="0" algn="ctr">
              <a:buNone/>
              <a:defRPr sz="3600">
                <a:solidFill>
                  <a:schemeClr val="bg1"/>
                </a:solidFill>
              </a:defRPr>
            </a:lvl1pPr>
          </a:lstStyle>
          <a:p>
            <a:pPr lvl="0"/>
            <a:r>
              <a:rPr lang="en-US"/>
              <a:t>07</a:t>
            </a:r>
          </a:p>
        </p:txBody>
      </p:sp>
      <p:sp>
        <p:nvSpPr>
          <p:cNvPr id="45" name="Text Placeholder 29">
            <a:extLst>
              <a:ext uri="{FF2B5EF4-FFF2-40B4-BE49-F238E27FC236}">
                <a16:creationId xmlns:a16="http://schemas.microsoft.com/office/drawing/2014/main" id="{53ABA493-3207-93BC-2E4C-610216CB36DB}"/>
              </a:ext>
            </a:extLst>
          </p:cNvPr>
          <p:cNvSpPr>
            <a:spLocks noGrp="1"/>
          </p:cNvSpPr>
          <p:nvPr>
            <p:ph type="body" sz="quarter" idx="36" hasCustomPrompt="1"/>
          </p:nvPr>
        </p:nvSpPr>
        <p:spPr>
          <a:xfrm>
            <a:off x="60960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8</a:t>
            </a:r>
          </a:p>
        </p:txBody>
      </p:sp>
    </p:spTree>
    <p:extLst>
      <p:ext uri="{BB962C8B-B14F-4D97-AF65-F5344CB8AC3E}">
        <p14:creationId xmlns:p14="http://schemas.microsoft.com/office/powerpoint/2010/main" val="3775937492"/>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1_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solidFill>
                  <a:schemeClr val="bg1"/>
                </a:solidFill>
              </a:endParaRPr>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B72B5471-BD5B-6CE5-858A-0CDBF2C473E8}"/>
              </a:ext>
            </a:extLst>
          </p:cNvPr>
          <p:cNvSpPr>
            <a:spLocks noGrp="1"/>
          </p:cNvSpPr>
          <p:nvPr>
            <p:ph sz="quarter" idx="20"/>
          </p:nvPr>
        </p:nvSpPr>
        <p:spPr>
          <a:xfrm>
            <a:off x="106070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B04CAE37-30C7-F870-09F2-F7673710C74B}"/>
              </a:ext>
            </a:extLst>
          </p:cNvPr>
          <p:cNvSpPr>
            <a:spLocks noGrp="1"/>
          </p:cNvSpPr>
          <p:nvPr>
            <p:ph sz="quarter" idx="21"/>
          </p:nvPr>
        </p:nvSpPr>
        <p:spPr>
          <a:xfrm>
            <a:off x="645566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0461998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1_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Content Placeholder 17">
            <a:extLst>
              <a:ext uri="{FF2B5EF4-FFF2-40B4-BE49-F238E27FC236}">
                <a16:creationId xmlns:a16="http://schemas.microsoft.com/office/drawing/2014/main" id="{691641AC-20B3-7EFA-C0EB-5D52891E1E6C}"/>
              </a:ext>
            </a:extLst>
          </p:cNvPr>
          <p:cNvSpPr>
            <a:spLocks noGrp="1"/>
          </p:cNvSpPr>
          <p:nvPr>
            <p:ph sz="quarter" idx="20"/>
          </p:nvPr>
        </p:nvSpPr>
        <p:spPr>
          <a:xfrm>
            <a:off x="106070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2F04EE25-85CC-68C1-A421-157500D216EE}"/>
              </a:ext>
            </a:extLst>
          </p:cNvPr>
          <p:cNvSpPr>
            <a:spLocks noGrp="1"/>
          </p:cNvSpPr>
          <p:nvPr>
            <p:ph sz="quarter" idx="21"/>
          </p:nvPr>
        </p:nvSpPr>
        <p:spPr>
          <a:xfrm>
            <a:off x="645566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664036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16609657"/>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1_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normAutofit/>
          </a:bodyPr>
          <a:lstStyle>
            <a:lvl1pPr marL="0" indent="0">
              <a:buNone/>
              <a:defRPr sz="1200" b="1">
                <a:solidFill>
                  <a:schemeClr val="bg1"/>
                </a:solidFill>
              </a:defRPr>
            </a:lvl1p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Content Placeholder 17">
            <a:extLst>
              <a:ext uri="{FF2B5EF4-FFF2-40B4-BE49-F238E27FC236}">
                <a16:creationId xmlns:a16="http://schemas.microsoft.com/office/drawing/2014/main" id="{DC4D1A3F-81F5-BB1B-F47C-07713712F540}"/>
              </a:ext>
            </a:extLst>
          </p:cNvPr>
          <p:cNvSpPr>
            <a:spLocks noGrp="1"/>
          </p:cNvSpPr>
          <p:nvPr>
            <p:ph sz="quarter" idx="20"/>
          </p:nvPr>
        </p:nvSpPr>
        <p:spPr>
          <a:xfrm>
            <a:off x="1060704"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Content Placeholder 17">
            <a:extLst>
              <a:ext uri="{FF2B5EF4-FFF2-40B4-BE49-F238E27FC236}">
                <a16:creationId xmlns:a16="http://schemas.microsoft.com/office/drawing/2014/main" id="{259A02CD-D601-E8A9-FE91-EB7F5F470B5D}"/>
              </a:ext>
            </a:extLst>
          </p:cNvPr>
          <p:cNvSpPr>
            <a:spLocks noGrp="1"/>
          </p:cNvSpPr>
          <p:nvPr>
            <p:ph sz="quarter" idx="21"/>
          </p:nvPr>
        </p:nvSpPr>
        <p:spPr>
          <a:xfrm>
            <a:off x="4648200"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Content Placeholder 17">
            <a:extLst>
              <a:ext uri="{FF2B5EF4-FFF2-40B4-BE49-F238E27FC236}">
                <a16:creationId xmlns:a16="http://schemas.microsoft.com/office/drawing/2014/main" id="{88DF9C5A-F4A0-8BCB-2E61-5854FE61AF49}"/>
              </a:ext>
            </a:extLst>
          </p:cNvPr>
          <p:cNvSpPr>
            <a:spLocks noGrp="1"/>
          </p:cNvSpPr>
          <p:nvPr>
            <p:ph sz="quarter" idx="22"/>
          </p:nvPr>
        </p:nvSpPr>
        <p:spPr>
          <a:xfrm>
            <a:off x="8257032"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89357141"/>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18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norm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3" name="Content Placeholder 17">
            <a:extLst>
              <a:ext uri="{FF2B5EF4-FFF2-40B4-BE49-F238E27FC236}">
                <a16:creationId xmlns:a16="http://schemas.microsoft.com/office/drawing/2014/main" id="{5031F53F-D3EA-8985-E402-F7C2CDF7AA27}"/>
              </a:ext>
            </a:extLst>
          </p:cNvPr>
          <p:cNvSpPr>
            <a:spLocks noGrp="1"/>
          </p:cNvSpPr>
          <p:nvPr>
            <p:ph sz="quarter" idx="22"/>
          </p:nvPr>
        </p:nvSpPr>
        <p:spPr>
          <a:xfrm>
            <a:off x="99669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Content Placeholder 17">
            <a:extLst>
              <a:ext uri="{FF2B5EF4-FFF2-40B4-BE49-F238E27FC236}">
                <a16:creationId xmlns:a16="http://schemas.microsoft.com/office/drawing/2014/main" id="{753F2516-0890-B56D-1C13-9AFB7CF91D2A}"/>
              </a:ext>
            </a:extLst>
          </p:cNvPr>
          <p:cNvSpPr>
            <a:spLocks noGrp="1"/>
          </p:cNvSpPr>
          <p:nvPr>
            <p:ph sz="quarter" idx="23"/>
          </p:nvPr>
        </p:nvSpPr>
        <p:spPr>
          <a:xfrm>
            <a:off x="369417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Content Placeholder 17">
            <a:extLst>
              <a:ext uri="{FF2B5EF4-FFF2-40B4-BE49-F238E27FC236}">
                <a16:creationId xmlns:a16="http://schemas.microsoft.com/office/drawing/2014/main" id="{04470E80-3EAA-F5B8-97CB-1624AFB82ECA}"/>
              </a:ext>
            </a:extLst>
          </p:cNvPr>
          <p:cNvSpPr>
            <a:spLocks noGrp="1"/>
          </p:cNvSpPr>
          <p:nvPr>
            <p:ph sz="quarter" idx="24"/>
          </p:nvPr>
        </p:nvSpPr>
        <p:spPr>
          <a:xfrm>
            <a:off x="639165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Content Placeholder 17">
            <a:extLst>
              <a:ext uri="{FF2B5EF4-FFF2-40B4-BE49-F238E27FC236}">
                <a16:creationId xmlns:a16="http://schemas.microsoft.com/office/drawing/2014/main" id="{A6BB3462-521B-7D0A-E0AA-75D04A28758C}"/>
              </a:ext>
            </a:extLst>
          </p:cNvPr>
          <p:cNvSpPr>
            <a:spLocks noGrp="1"/>
          </p:cNvSpPr>
          <p:nvPr>
            <p:ph sz="quarter" idx="25"/>
          </p:nvPr>
        </p:nvSpPr>
        <p:spPr>
          <a:xfrm>
            <a:off x="9098280"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446721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Six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33" name="Rectangle 32">
            <a:extLst>
              <a:ext uri="{FF2B5EF4-FFF2-40B4-BE49-F238E27FC236}">
                <a16:creationId xmlns:a16="http://schemas.microsoft.com/office/drawing/2014/main" id="{FD9BCE3B-4762-C661-5C9C-B1DC7338A906}"/>
              </a:ext>
            </a:extLst>
          </p:cNvPr>
          <p:cNvSpPr/>
          <p:nvPr/>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B129E26F-9EAB-58D3-8BE0-92C03DF5A2B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E93EFC32-2E6A-B131-0C23-F0010AD9B58F}"/>
              </a:ext>
            </a:extLst>
          </p:cNvPr>
          <p:cNvSpPr>
            <a:spLocks noGrp="1"/>
          </p:cNvSpPr>
          <p:nvPr>
            <p:ph sz="quarter" idx="28"/>
          </p:nvPr>
        </p:nvSpPr>
        <p:spPr>
          <a:xfrm>
            <a:off x="1060797"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6" name="Content Placeholder 17">
            <a:extLst>
              <a:ext uri="{FF2B5EF4-FFF2-40B4-BE49-F238E27FC236}">
                <a16:creationId xmlns:a16="http://schemas.microsoft.com/office/drawing/2014/main" id="{52B3257F-6803-6233-9D64-82C0E49AC3A6}"/>
              </a:ext>
            </a:extLst>
          </p:cNvPr>
          <p:cNvSpPr>
            <a:spLocks noGrp="1"/>
          </p:cNvSpPr>
          <p:nvPr>
            <p:ph sz="quarter" idx="29"/>
          </p:nvPr>
        </p:nvSpPr>
        <p:spPr>
          <a:xfrm>
            <a:off x="4662268"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8" name="Content Placeholder 17">
            <a:extLst>
              <a:ext uri="{FF2B5EF4-FFF2-40B4-BE49-F238E27FC236}">
                <a16:creationId xmlns:a16="http://schemas.microsoft.com/office/drawing/2014/main" id="{FC75CEE2-25FD-4AF1-8299-4621D4406942}"/>
              </a:ext>
            </a:extLst>
          </p:cNvPr>
          <p:cNvSpPr>
            <a:spLocks noGrp="1"/>
          </p:cNvSpPr>
          <p:nvPr>
            <p:ph sz="quarter" idx="30"/>
          </p:nvPr>
        </p:nvSpPr>
        <p:spPr>
          <a:xfrm>
            <a:off x="8262206"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9" name="Content Placeholder 17">
            <a:extLst>
              <a:ext uri="{FF2B5EF4-FFF2-40B4-BE49-F238E27FC236}">
                <a16:creationId xmlns:a16="http://schemas.microsoft.com/office/drawing/2014/main" id="{BE84CC19-BF70-4442-4C61-1331DCCF9AC5}"/>
              </a:ext>
            </a:extLst>
          </p:cNvPr>
          <p:cNvSpPr>
            <a:spLocks noGrp="1"/>
          </p:cNvSpPr>
          <p:nvPr>
            <p:ph sz="quarter" idx="31"/>
          </p:nvPr>
        </p:nvSpPr>
        <p:spPr>
          <a:xfrm>
            <a:off x="1060797"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0" name="Content Placeholder 17">
            <a:extLst>
              <a:ext uri="{FF2B5EF4-FFF2-40B4-BE49-F238E27FC236}">
                <a16:creationId xmlns:a16="http://schemas.microsoft.com/office/drawing/2014/main" id="{20E7448F-6A72-5BAC-E0C9-4842AFBE53DC}"/>
              </a:ext>
            </a:extLst>
          </p:cNvPr>
          <p:cNvSpPr>
            <a:spLocks noGrp="1"/>
          </p:cNvSpPr>
          <p:nvPr>
            <p:ph sz="quarter" idx="32"/>
          </p:nvPr>
        </p:nvSpPr>
        <p:spPr>
          <a:xfrm>
            <a:off x="4662268"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1" name="Content Placeholder 17">
            <a:extLst>
              <a:ext uri="{FF2B5EF4-FFF2-40B4-BE49-F238E27FC236}">
                <a16:creationId xmlns:a16="http://schemas.microsoft.com/office/drawing/2014/main" id="{A99FE960-70D8-C68D-D85A-10054C69A0F2}"/>
              </a:ext>
            </a:extLst>
          </p:cNvPr>
          <p:cNvSpPr>
            <a:spLocks noGrp="1"/>
          </p:cNvSpPr>
          <p:nvPr>
            <p:ph sz="quarter" idx="33"/>
          </p:nvPr>
        </p:nvSpPr>
        <p:spPr>
          <a:xfrm>
            <a:off x="8262206"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083273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6424"/>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6764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630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701040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792071"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569137"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46203"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123269"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00335"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677400"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Content Placeholder 17">
            <a:extLst>
              <a:ext uri="{FF2B5EF4-FFF2-40B4-BE49-F238E27FC236}">
                <a16:creationId xmlns:a16="http://schemas.microsoft.com/office/drawing/2014/main" id="{13EA36FF-4BDF-0027-4049-9EBEB00FB103}"/>
              </a:ext>
            </a:extLst>
          </p:cNvPr>
          <p:cNvSpPr>
            <a:spLocks noGrp="1"/>
          </p:cNvSpPr>
          <p:nvPr>
            <p:ph sz="quarter" idx="64"/>
          </p:nvPr>
        </p:nvSpPr>
        <p:spPr>
          <a:xfrm>
            <a:off x="24384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6C708107-C0AF-48F8-4322-BA907E46DFD8}"/>
              </a:ext>
            </a:extLst>
          </p:cNvPr>
          <p:cNvSpPr>
            <a:spLocks noGrp="1"/>
          </p:cNvSpPr>
          <p:nvPr>
            <p:ph sz="quarter" idx="65"/>
          </p:nvPr>
        </p:nvSpPr>
        <p:spPr>
          <a:xfrm>
            <a:off x="60198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5" name="Content Placeholder 17">
            <a:extLst>
              <a:ext uri="{FF2B5EF4-FFF2-40B4-BE49-F238E27FC236}">
                <a16:creationId xmlns:a16="http://schemas.microsoft.com/office/drawing/2014/main" id="{7DD57526-A2B6-31EC-DD48-29E9ADDA1136}"/>
              </a:ext>
            </a:extLst>
          </p:cNvPr>
          <p:cNvSpPr>
            <a:spLocks noGrp="1"/>
          </p:cNvSpPr>
          <p:nvPr>
            <p:ph sz="quarter" idx="67"/>
          </p:nvPr>
        </p:nvSpPr>
        <p:spPr>
          <a:xfrm>
            <a:off x="95250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0663B468-A4AA-3272-832C-2797B3FE4AB8}"/>
              </a:ext>
            </a:extLst>
          </p:cNvPr>
          <p:cNvSpPr>
            <a:spLocks noGrp="1"/>
          </p:cNvSpPr>
          <p:nvPr>
            <p:ph sz="quarter" idx="68"/>
          </p:nvPr>
        </p:nvSpPr>
        <p:spPr>
          <a:xfrm>
            <a:off x="6858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81841119-AAED-BDED-1548-E8BB5D7CA59F}"/>
              </a:ext>
            </a:extLst>
          </p:cNvPr>
          <p:cNvSpPr>
            <a:spLocks noGrp="1"/>
          </p:cNvSpPr>
          <p:nvPr>
            <p:ph sz="quarter" idx="69"/>
          </p:nvPr>
        </p:nvSpPr>
        <p:spPr>
          <a:xfrm>
            <a:off x="42672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5DDAC065-2869-DD46-7AB8-57BD6F529C4C}"/>
              </a:ext>
            </a:extLst>
          </p:cNvPr>
          <p:cNvSpPr>
            <a:spLocks noGrp="1"/>
          </p:cNvSpPr>
          <p:nvPr>
            <p:ph sz="quarter" idx="70"/>
          </p:nvPr>
        </p:nvSpPr>
        <p:spPr>
          <a:xfrm>
            <a:off x="77724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55190443"/>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p:nvCxnSpPr>
        <p:spPr>
          <a:xfrm flipV="1">
            <a:off x="104058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9696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846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6716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9835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6AF6021-6E42-EF2D-2A51-2E5A22F1746B}"/>
              </a:ext>
            </a:extLst>
          </p:cNvPr>
          <p:cNvSpPr/>
          <p:nvPr/>
        </p:nvSpPr>
        <p:spPr>
          <a:xfrm>
            <a:off x="9669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7" name="Rectangle 6">
            <a:extLst>
              <a:ext uri="{FF2B5EF4-FFF2-40B4-BE49-F238E27FC236}">
                <a16:creationId xmlns:a16="http://schemas.microsoft.com/office/drawing/2014/main" id="{01E92454-01BE-85A8-6230-5E1ED9A5D8B5}"/>
              </a:ext>
            </a:extLst>
          </p:cNvPr>
          <p:cNvSpPr/>
          <p:nvPr/>
        </p:nvSpPr>
        <p:spPr>
          <a:xfrm>
            <a:off x="2681751" y="3356328"/>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8" name="Rectangle 7">
            <a:extLst>
              <a:ext uri="{FF2B5EF4-FFF2-40B4-BE49-F238E27FC236}">
                <a16:creationId xmlns:a16="http://schemas.microsoft.com/office/drawing/2014/main" id="{C47FAF06-6923-423A-4B04-3E2975B0A4A7}"/>
              </a:ext>
            </a:extLst>
          </p:cNvPr>
          <p:cNvSpPr/>
          <p:nvPr/>
        </p:nvSpPr>
        <p:spPr>
          <a:xfrm>
            <a:off x="43871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9" name="Rectangle 8">
            <a:extLst>
              <a:ext uri="{FF2B5EF4-FFF2-40B4-BE49-F238E27FC236}">
                <a16:creationId xmlns:a16="http://schemas.microsoft.com/office/drawing/2014/main" id="{3518A56B-86F2-7D58-8DEA-768A25A5C39A}"/>
              </a:ext>
            </a:extLst>
          </p:cNvPr>
          <p:cNvSpPr/>
          <p:nvPr/>
        </p:nvSpPr>
        <p:spPr>
          <a:xfrm>
            <a:off x="60983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0" name="Rectangle 9">
            <a:extLst>
              <a:ext uri="{FF2B5EF4-FFF2-40B4-BE49-F238E27FC236}">
                <a16:creationId xmlns:a16="http://schemas.microsoft.com/office/drawing/2014/main" id="{319F290D-C8DF-C88B-EF14-AE1A74E01D73}"/>
              </a:ext>
            </a:extLst>
          </p:cNvPr>
          <p:cNvSpPr/>
          <p:nvPr/>
        </p:nvSpPr>
        <p:spPr>
          <a:xfrm>
            <a:off x="7813742" y="3729585"/>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5211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1081677" y="377979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796469" y="3426988"/>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501868" y="3795824"/>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13107" y="3431409"/>
            <a:ext cx="1486313" cy="218674"/>
          </a:xfrm>
        </p:spPr>
        <p:txBody>
          <a:bodyP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928460" y="379390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p:nvSpPr>
        <p:spPr>
          <a:xfrm>
            <a:off x="917981" y="4149717"/>
            <a:ext cx="1750641"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5" name="TextBox 4">
            <a:extLst>
              <a:ext uri="{FF2B5EF4-FFF2-40B4-BE49-F238E27FC236}">
                <a16:creationId xmlns:a16="http://schemas.microsoft.com/office/drawing/2014/main" id="{A49878B0-CF0A-802D-531E-1FCD7080CC56}"/>
              </a:ext>
            </a:extLst>
          </p:cNvPr>
          <p:cNvSpPr txBox="1"/>
          <p:nvPr/>
        </p:nvSpPr>
        <p:spPr>
          <a:xfrm>
            <a:off x="6089340" y="2972163"/>
            <a:ext cx="1724798"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19" name="Rectangle 18">
            <a:extLst>
              <a:ext uri="{FF2B5EF4-FFF2-40B4-BE49-F238E27FC236}">
                <a16:creationId xmlns:a16="http://schemas.microsoft.com/office/drawing/2014/main" id="{622F5348-07E7-C888-D291-A0D3B05C7F4F}"/>
              </a:ext>
            </a:extLst>
          </p:cNvPr>
          <p:cNvSpPr/>
          <p:nvPr/>
        </p:nvSpPr>
        <p:spPr>
          <a:xfrm>
            <a:off x="95290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643811" y="3438636"/>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11" name="Group 10">
            <a:extLst>
              <a:ext uri="{FF2B5EF4-FFF2-40B4-BE49-F238E27FC236}">
                <a16:creationId xmlns:a16="http://schemas.microsoft.com/office/drawing/2014/main" id="{F194D94E-5449-DF2C-2F5D-D841479A4552}"/>
              </a:ext>
            </a:extLst>
          </p:cNvPr>
          <p:cNvGrpSpPr/>
          <p:nvPr/>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4" name="Content Placeholder 17">
            <a:extLst>
              <a:ext uri="{FF2B5EF4-FFF2-40B4-BE49-F238E27FC236}">
                <a16:creationId xmlns:a16="http://schemas.microsoft.com/office/drawing/2014/main" id="{C04E7B68-FD06-FE47-C0CA-09997FF2A094}"/>
              </a:ext>
            </a:extLst>
          </p:cNvPr>
          <p:cNvSpPr>
            <a:spLocks noGrp="1"/>
          </p:cNvSpPr>
          <p:nvPr>
            <p:ph sz="quarter" idx="64"/>
          </p:nvPr>
        </p:nvSpPr>
        <p:spPr>
          <a:xfrm>
            <a:off x="25146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5" name="Content Placeholder 17">
            <a:extLst>
              <a:ext uri="{FF2B5EF4-FFF2-40B4-BE49-F238E27FC236}">
                <a16:creationId xmlns:a16="http://schemas.microsoft.com/office/drawing/2014/main" id="{0E50B341-584B-5AEC-A79D-ADD8CF05F8FC}"/>
              </a:ext>
            </a:extLst>
          </p:cNvPr>
          <p:cNvSpPr>
            <a:spLocks noGrp="1"/>
          </p:cNvSpPr>
          <p:nvPr>
            <p:ph sz="quarter" idx="65"/>
          </p:nvPr>
        </p:nvSpPr>
        <p:spPr>
          <a:xfrm>
            <a:off x="6019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0AE223FE-03F1-1BE1-0D01-AF3D511DF195}"/>
              </a:ext>
            </a:extLst>
          </p:cNvPr>
          <p:cNvSpPr>
            <a:spLocks noGrp="1"/>
          </p:cNvSpPr>
          <p:nvPr>
            <p:ph sz="quarter" idx="67"/>
          </p:nvPr>
        </p:nvSpPr>
        <p:spPr>
          <a:xfrm>
            <a:off x="9448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7" name="Content Placeholder 17">
            <a:extLst>
              <a:ext uri="{FF2B5EF4-FFF2-40B4-BE49-F238E27FC236}">
                <a16:creationId xmlns:a16="http://schemas.microsoft.com/office/drawing/2014/main" id="{3979C53E-CE70-6ED5-B667-9C2275B8AF3A}"/>
              </a:ext>
            </a:extLst>
          </p:cNvPr>
          <p:cNvSpPr>
            <a:spLocks noGrp="1"/>
          </p:cNvSpPr>
          <p:nvPr>
            <p:ph sz="quarter" idx="68"/>
          </p:nvPr>
        </p:nvSpPr>
        <p:spPr>
          <a:xfrm>
            <a:off x="9906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8" name="Content Placeholder 17">
            <a:extLst>
              <a:ext uri="{FF2B5EF4-FFF2-40B4-BE49-F238E27FC236}">
                <a16:creationId xmlns:a16="http://schemas.microsoft.com/office/drawing/2014/main" id="{4E918C0F-FF63-F25D-A047-72148F59D010}"/>
              </a:ext>
            </a:extLst>
          </p:cNvPr>
          <p:cNvSpPr>
            <a:spLocks noGrp="1"/>
          </p:cNvSpPr>
          <p:nvPr>
            <p:ph sz="quarter" idx="69"/>
          </p:nvPr>
        </p:nvSpPr>
        <p:spPr>
          <a:xfrm>
            <a:off x="4267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9" name="Content Placeholder 17">
            <a:extLst>
              <a:ext uri="{FF2B5EF4-FFF2-40B4-BE49-F238E27FC236}">
                <a16:creationId xmlns:a16="http://schemas.microsoft.com/office/drawing/2014/main" id="{6C2406E8-B9A7-737B-D983-E39068B37BDB}"/>
              </a:ext>
            </a:extLst>
          </p:cNvPr>
          <p:cNvSpPr>
            <a:spLocks noGrp="1"/>
          </p:cNvSpPr>
          <p:nvPr>
            <p:ph sz="quarter" idx="70"/>
          </p:nvPr>
        </p:nvSpPr>
        <p:spPr>
          <a:xfrm>
            <a:off x="7696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480412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98463054"/>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Wingdings" pitchFamily="2" charset="2"/>
              <a:buNone/>
              <a:tabLst/>
              <a:defRPr/>
            </a:pPr>
            <a:r>
              <a:rPr lang="en-US"/>
              <a:t>Click to add subheading</a:t>
            </a:r>
            <a:endParaRPr lang="en-GB"/>
          </a:p>
        </p:txBody>
      </p:sp>
      <p:sp>
        <p:nvSpPr>
          <p:cNvPr id="18" name="Rectangle 17">
            <a:extLst>
              <a:ext uri="{FF2B5EF4-FFF2-40B4-BE49-F238E27FC236}">
                <a16:creationId xmlns:a16="http://schemas.microsoft.com/office/drawing/2014/main" id="{9C162B7E-6DD2-0BDC-A754-B14190695F9D}"/>
              </a:ext>
            </a:extLst>
          </p:cNvPr>
          <p:cNvSpPr/>
          <p:nvPr/>
        </p:nvSpPr>
        <p:spPr>
          <a:xfrm>
            <a:off x="797913" y="3733800"/>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1" name="Rectangle 20">
            <a:extLst>
              <a:ext uri="{FF2B5EF4-FFF2-40B4-BE49-F238E27FC236}">
                <a16:creationId xmlns:a16="http://schemas.microsoft.com/office/drawing/2014/main" id="{501CD494-4588-D746-4872-F8ECD0F5AA38}"/>
              </a:ext>
            </a:extLst>
          </p:cNvPr>
          <p:cNvSpPr/>
          <p:nvPr/>
        </p:nvSpPr>
        <p:spPr>
          <a:xfrm>
            <a:off x="2980944" y="3352800"/>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4" name="Rectangle 23">
            <a:extLst>
              <a:ext uri="{FF2B5EF4-FFF2-40B4-BE49-F238E27FC236}">
                <a16:creationId xmlns:a16="http://schemas.microsoft.com/office/drawing/2014/main" id="{54D080DA-7928-FAB5-1EC5-E057D616B939}"/>
              </a:ext>
            </a:extLst>
          </p:cNvPr>
          <p:cNvSpPr/>
          <p:nvPr/>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5" name="Rectangle 24">
            <a:extLst>
              <a:ext uri="{FF2B5EF4-FFF2-40B4-BE49-F238E27FC236}">
                <a16:creationId xmlns:a16="http://schemas.microsoft.com/office/drawing/2014/main" id="{000A0001-BCDB-B25A-6F7C-E3402F3D8D7E}"/>
              </a:ext>
            </a:extLst>
          </p:cNvPr>
          <p:cNvSpPr/>
          <p:nvPr/>
        </p:nvSpPr>
        <p:spPr>
          <a:xfrm>
            <a:off x="7351113" y="3355848"/>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4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108960" y="3417167"/>
            <a:ext cx="1920240" cy="231260"/>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92203" y="3801331"/>
            <a:ext cx="1920240" cy="207661"/>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79129" y="3422906"/>
            <a:ext cx="1920240" cy="226839"/>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p:nvCxnSpPr>
        <p:spPr>
          <a:xfrm>
            <a:off x="800552" y="3733800"/>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p:nvCxnSpPr>
        <p:spPr>
          <a:xfrm>
            <a:off x="2991493" y="1808522"/>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p:nvCxnSpPr>
        <p:spPr>
          <a:xfrm>
            <a:off x="7360920" y="1965960"/>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CBEB14D-5BA5-643D-3888-51C635CEC8B1}"/>
              </a:ext>
            </a:extLst>
          </p:cNvPr>
          <p:cNvSpPr/>
          <p:nvPr/>
        </p:nvSpPr>
        <p:spPr>
          <a:xfrm>
            <a:off x="9560913" y="3733800"/>
            <a:ext cx="2173887" cy="35999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87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p:nvCxnSpPr>
        <p:spPr>
          <a:xfrm>
            <a:off x="9557123" y="3733800"/>
            <a:ext cx="0" cy="161767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2" name="Content Placeholder 17">
            <a:extLst>
              <a:ext uri="{FF2B5EF4-FFF2-40B4-BE49-F238E27FC236}">
                <a16:creationId xmlns:a16="http://schemas.microsoft.com/office/drawing/2014/main" id="{223BAD68-DF8E-2DE9-AF59-8BA2768DA520}"/>
              </a:ext>
            </a:extLst>
          </p:cNvPr>
          <p:cNvSpPr>
            <a:spLocks noGrp="1"/>
          </p:cNvSpPr>
          <p:nvPr>
            <p:ph sz="quarter" idx="63"/>
          </p:nvPr>
        </p:nvSpPr>
        <p:spPr>
          <a:xfrm>
            <a:off x="311831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9ED7E7CF-8C4F-4727-B19C-9AB2CAE7CB0A}"/>
              </a:ext>
            </a:extLst>
          </p:cNvPr>
          <p:cNvSpPr>
            <a:spLocks noGrp="1"/>
          </p:cNvSpPr>
          <p:nvPr>
            <p:ph sz="quarter" idx="64"/>
          </p:nvPr>
        </p:nvSpPr>
        <p:spPr>
          <a:xfrm>
            <a:off x="9319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E1B18EFE-C94D-D0D2-A1E7-03C6B88087B9}"/>
              </a:ext>
            </a:extLst>
          </p:cNvPr>
          <p:cNvSpPr>
            <a:spLocks noGrp="1"/>
          </p:cNvSpPr>
          <p:nvPr>
            <p:ph sz="quarter" idx="65"/>
          </p:nvPr>
        </p:nvSpPr>
        <p:spPr>
          <a:xfrm>
            <a:off x="5292203"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2" name="Content Placeholder 17">
            <a:extLst>
              <a:ext uri="{FF2B5EF4-FFF2-40B4-BE49-F238E27FC236}">
                <a16:creationId xmlns:a16="http://schemas.microsoft.com/office/drawing/2014/main" id="{873156A0-6700-E73F-30C9-08C6B9E15EFA}"/>
              </a:ext>
            </a:extLst>
          </p:cNvPr>
          <p:cNvSpPr>
            <a:spLocks noGrp="1"/>
          </p:cNvSpPr>
          <p:nvPr>
            <p:ph sz="quarter" idx="66"/>
          </p:nvPr>
        </p:nvSpPr>
        <p:spPr>
          <a:xfrm>
            <a:off x="748576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3" name="Content Placeholder 17">
            <a:extLst>
              <a:ext uri="{FF2B5EF4-FFF2-40B4-BE49-F238E27FC236}">
                <a16:creationId xmlns:a16="http://schemas.microsoft.com/office/drawing/2014/main" id="{207428A8-B813-0023-E63D-8D42D0AEA86C}"/>
              </a:ext>
            </a:extLst>
          </p:cNvPr>
          <p:cNvSpPr>
            <a:spLocks noGrp="1"/>
          </p:cNvSpPr>
          <p:nvPr>
            <p:ph sz="quarter" idx="67"/>
          </p:nvPr>
        </p:nvSpPr>
        <p:spPr>
          <a:xfrm>
            <a:off x="96681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4587909"/>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1_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3E43F683-1C6F-A88B-EFFC-61BC47677550}"/>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Text Placeholder 12">
            <a:extLst>
              <a:ext uri="{FF2B5EF4-FFF2-40B4-BE49-F238E27FC236}">
                <a16:creationId xmlns:a16="http://schemas.microsoft.com/office/drawing/2014/main" id="{F208C0BF-2ED7-5DE5-CB73-756018FFEAE7}"/>
              </a:ext>
            </a:extLst>
          </p:cNvPr>
          <p:cNvSpPr>
            <a:spLocks noGrp="1"/>
          </p:cNvSpPr>
          <p:nvPr>
            <p:ph type="body" sz="quarter" idx="23" hasCustomPrompt="1"/>
          </p:nvPr>
        </p:nvSpPr>
        <p:spPr>
          <a:xfrm>
            <a:off x="1645920"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1</a:t>
            </a:r>
          </a:p>
        </p:txBody>
      </p:sp>
      <p:sp>
        <p:nvSpPr>
          <p:cNvPr id="14" name="Text Placeholder 12">
            <a:extLst>
              <a:ext uri="{FF2B5EF4-FFF2-40B4-BE49-F238E27FC236}">
                <a16:creationId xmlns:a16="http://schemas.microsoft.com/office/drawing/2014/main" id="{E51AF760-8DBB-8A14-4B06-2189A23ED6F1}"/>
              </a:ext>
            </a:extLst>
          </p:cNvPr>
          <p:cNvSpPr>
            <a:spLocks noGrp="1"/>
          </p:cNvSpPr>
          <p:nvPr>
            <p:ph type="body" sz="quarter" idx="24" hasCustomPrompt="1"/>
          </p:nvPr>
        </p:nvSpPr>
        <p:spPr>
          <a:xfrm>
            <a:off x="3739896" y="461772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2</a:t>
            </a:r>
          </a:p>
        </p:txBody>
      </p:sp>
      <p:sp>
        <p:nvSpPr>
          <p:cNvPr id="15" name="Text Placeholder 12">
            <a:extLst>
              <a:ext uri="{FF2B5EF4-FFF2-40B4-BE49-F238E27FC236}">
                <a16:creationId xmlns:a16="http://schemas.microsoft.com/office/drawing/2014/main" id="{C7CE9357-05A9-DF7C-6E17-997138D12646}"/>
              </a:ext>
            </a:extLst>
          </p:cNvPr>
          <p:cNvSpPr>
            <a:spLocks noGrp="1"/>
          </p:cNvSpPr>
          <p:nvPr>
            <p:ph type="body" sz="quarter" idx="25" hasCustomPrompt="1"/>
          </p:nvPr>
        </p:nvSpPr>
        <p:spPr>
          <a:xfrm>
            <a:off x="5833872"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3</a:t>
            </a:r>
          </a:p>
        </p:txBody>
      </p:sp>
      <p:sp>
        <p:nvSpPr>
          <p:cNvPr id="17" name="Text Placeholder 12">
            <a:extLst>
              <a:ext uri="{FF2B5EF4-FFF2-40B4-BE49-F238E27FC236}">
                <a16:creationId xmlns:a16="http://schemas.microsoft.com/office/drawing/2014/main" id="{F62B2FDD-AA89-1B9A-1908-3ED3739E9105}"/>
              </a:ext>
            </a:extLst>
          </p:cNvPr>
          <p:cNvSpPr>
            <a:spLocks noGrp="1"/>
          </p:cNvSpPr>
          <p:nvPr>
            <p:ph type="body" sz="quarter" idx="26" hasCustomPrompt="1"/>
          </p:nvPr>
        </p:nvSpPr>
        <p:spPr>
          <a:xfrm>
            <a:off x="7927848" y="4608576"/>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4</a:t>
            </a:r>
          </a:p>
        </p:txBody>
      </p:sp>
      <p:sp>
        <p:nvSpPr>
          <p:cNvPr id="18" name="Text Placeholder 12">
            <a:extLst>
              <a:ext uri="{FF2B5EF4-FFF2-40B4-BE49-F238E27FC236}">
                <a16:creationId xmlns:a16="http://schemas.microsoft.com/office/drawing/2014/main" id="{0226740B-BD49-795F-0512-EEBF68A82A61}"/>
              </a:ext>
            </a:extLst>
          </p:cNvPr>
          <p:cNvSpPr>
            <a:spLocks noGrp="1"/>
          </p:cNvSpPr>
          <p:nvPr>
            <p:ph type="body" sz="quarter" idx="27" hasCustomPrompt="1"/>
          </p:nvPr>
        </p:nvSpPr>
        <p:spPr>
          <a:xfrm>
            <a:off x="9985248"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5</a:t>
            </a:r>
          </a:p>
        </p:txBody>
      </p:sp>
      <p:sp>
        <p:nvSpPr>
          <p:cNvPr id="12" name="Content Placeholder 17">
            <a:extLst>
              <a:ext uri="{FF2B5EF4-FFF2-40B4-BE49-F238E27FC236}">
                <a16:creationId xmlns:a16="http://schemas.microsoft.com/office/drawing/2014/main" id="{EA0B72CB-9D39-945E-6291-73282C8FD615}"/>
              </a:ext>
            </a:extLst>
          </p:cNvPr>
          <p:cNvSpPr>
            <a:spLocks noGrp="1"/>
          </p:cNvSpPr>
          <p:nvPr>
            <p:ph sz="quarter" idx="68"/>
          </p:nvPr>
        </p:nvSpPr>
        <p:spPr>
          <a:xfrm>
            <a:off x="1188720"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094F4753-05D7-30D6-0BDE-B2DBEF84E89D}"/>
              </a:ext>
            </a:extLst>
          </p:cNvPr>
          <p:cNvSpPr>
            <a:spLocks noGrp="1"/>
          </p:cNvSpPr>
          <p:nvPr>
            <p:ph sz="quarter" idx="69"/>
          </p:nvPr>
        </p:nvSpPr>
        <p:spPr>
          <a:xfrm>
            <a:off x="3275838"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0" name="Content Placeholder 17">
            <a:extLst>
              <a:ext uri="{FF2B5EF4-FFF2-40B4-BE49-F238E27FC236}">
                <a16:creationId xmlns:a16="http://schemas.microsoft.com/office/drawing/2014/main" id="{BB6371A6-E92F-2799-FD25-17375D6357CF}"/>
              </a:ext>
            </a:extLst>
          </p:cNvPr>
          <p:cNvSpPr>
            <a:spLocks noGrp="1"/>
          </p:cNvSpPr>
          <p:nvPr>
            <p:ph sz="quarter" idx="70"/>
          </p:nvPr>
        </p:nvSpPr>
        <p:spPr>
          <a:xfrm>
            <a:off x="5362956"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1" name="Content Placeholder 17">
            <a:extLst>
              <a:ext uri="{FF2B5EF4-FFF2-40B4-BE49-F238E27FC236}">
                <a16:creationId xmlns:a16="http://schemas.microsoft.com/office/drawing/2014/main" id="{FFED207C-D633-84E1-66FD-32200E0D22CD}"/>
              </a:ext>
            </a:extLst>
          </p:cNvPr>
          <p:cNvSpPr>
            <a:spLocks noGrp="1"/>
          </p:cNvSpPr>
          <p:nvPr>
            <p:ph sz="quarter" idx="71"/>
          </p:nvPr>
        </p:nvSpPr>
        <p:spPr>
          <a:xfrm>
            <a:off x="7450074"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9F1DF0FB-708D-5ED4-EB4B-06A44AFEE637}"/>
              </a:ext>
            </a:extLst>
          </p:cNvPr>
          <p:cNvSpPr>
            <a:spLocks noGrp="1"/>
          </p:cNvSpPr>
          <p:nvPr>
            <p:ph sz="quarter" idx="72"/>
          </p:nvPr>
        </p:nvSpPr>
        <p:spPr>
          <a:xfrm>
            <a:off x="9537192"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652974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305558946"/>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_Two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marL="0" indent="0" algn="l">
              <a:buNone/>
              <a:defRPr sz="1400" b="1">
                <a:solidFill>
                  <a:schemeClr val="tx1"/>
                </a:solidFill>
              </a:defRPr>
            </a:lvl1pPr>
          </a:lstStyle>
          <a:p>
            <a:pPr lvl="0"/>
            <a:r>
              <a:rPr lang="en-US"/>
              <a:t>Lorem ipsum dolor</a:t>
            </a:r>
          </a:p>
        </p:txBody>
      </p:sp>
      <p:grpSp>
        <p:nvGrpSpPr>
          <p:cNvPr id="3" name="Group 2">
            <a:extLst>
              <a:ext uri="{FF2B5EF4-FFF2-40B4-BE49-F238E27FC236}">
                <a16:creationId xmlns:a16="http://schemas.microsoft.com/office/drawing/2014/main" id="{1FE31BF3-CCB3-0476-E671-E61F6C4B8D39}"/>
              </a:ext>
            </a:extLst>
          </p:cNvPr>
          <p:cNvGrpSpPr/>
          <p:nvPr>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477000" y="3023170"/>
            <a:ext cx="4828032"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7" name="Content Placeholder 17">
            <a:extLst>
              <a:ext uri="{FF2B5EF4-FFF2-40B4-BE49-F238E27FC236}">
                <a16:creationId xmlns:a16="http://schemas.microsoft.com/office/drawing/2014/main" id="{B4B6A7E2-FF9D-DB99-AB38-64CBF6F89522}"/>
              </a:ext>
            </a:extLst>
          </p:cNvPr>
          <p:cNvSpPr>
            <a:spLocks noGrp="1"/>
          </p:cNvSpPr>
          <p:nvPr>
            <p:ph sz="quarter" idx="61"/>
          </p:nvPr>
        </p:nvSpPr>
        <p:spPr>
          <a:xfrm>
            <a:off x="950976" y="3447288"/>
            <a:ext cx="484632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2B1A665A-89B8-6B47-D2C0-CD4BAD6CF9BE}"/>
              </a:ext>
            </a:extLst>
          </p:cNvPr>
          <p:cNvSpPr>
            <a:spLocks noGrp="1"/>
          </p:cNvSpPr>
          <p:nvPr>
            <p:ph sz="quarter" idx="21"/>
          </p:nvPr>
        </p:nvSpPr>
        <p:spPr>
          <a:xfrm>
            <a:off x="6483096" y="3447288"/>
            <a:ext cx="4818888"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7046972"/>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Three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hree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grpSp>
        <p:nvGrpSpPr>
          <p:cNvPr id="9" name="Group 8">
            <a:extLst>
              <a:ext uri="{FF2B5EF4-FFF2-40B4-BE49-F238E27FC236}">
                <a16:creationId xmlns:a16="http://schemas.microsoft.com/office/drawing/2014/main" id="{EDAC905F-2EB9-6216-DBB3-EF1D5ECD0722}"/>
              </a:ext>
            </a:extLst>
          </p:cNvPr>
          <p:cNvGrpSpPr/>
          <p:nvPr/>
        </p:nvGrpSpPr>
        <p:grpSpPr>
          <a:xfrm>
            <a:off x="815975" y="1749278"/>
            <a:ext cx="3409075" cy="4499121"/>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21625" y="1749278"/>
            <a:ext cx="3409075" cy="4499121"/>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27275" y="1749278"/>
            <a:ext cx="3409075" cy="4499121"/>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38816"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5963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70415"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67437" y="3023170"/>
            <a:ext cx="31473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572000" y="3026312"/>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53400" y="3048000"/>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19" name="Content Placeholder 17">
            <a:extLst>
              <a:ext uri="{FF2B5EF4-FFF2-40B4-BE49-F238E27FC236}">
                <a16:creationId xmlns:a16="http://schemas.microsoft.com/office/drawing/2014/main" id="{3A99F7A3-BB49-1D75-CC25-EE0F00637033}"/>
              </a:ext>
            </a:extLst>
          </p:cNvPr>
          <p:cNvSpPr>
            <a:spLocks noGrp="1"/>
          </p:cNvSpPr>
          <p:nvPr>
            <p:ph sz="quarter" idx="61"/>
          </p:nvPr>
        </p:nvSpPr>
        <p:spPr>
          <a:xfrm>
            <a:off x="960120"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C21A6BA5-2528-BEA0-FA31-FAD1CC7EE487}"/>
              </a:ext>
            </a:extLst>
          </p:cNvPr>
          <p:cNvSpPr>
            <a:spLocks noGrp="1"/>
          </p:cNvSpPr>
          <p:nvPr>
            <p:ph sz="quarter" idx="62"/>
          </p:nvPr>
        </p:nvSpPr>
        <p:spPr>
          <a:xfrm>
            <a:off x="4547616"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9EC4B23C-4B65-300D-2E3C-DBCD4DF38CB6}"/>
              </a:ext>
            </a:extLst>
          </p:cNvPr>
          <p:cNvSpPr>
            <a:spLocks noGrp="1"/>
          </p:cNvSpPr>
          <p:nvPr>
            <p:ph sz="quarter" idx="22"/>
          </p:nvPr>
        </p:nvSpPr>
        <p:spPr>
          <a:xfrm>
            <a:off x="8156448"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6296900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1_4 point pyrami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15E31BEC-29E9-D24F-89BE-FE088165AB75}"/>
              </a:ext>
            </a:extLst>
          </p:cNvPr>
          <p:cNvCxnSpPr>
            <a:cxnSpLocks/>
          </p:cNvCxnSpPr>
          <p:nvPr/>
        </p:nvCxnSpPr>
        <p:spPr>
          <a:xfrm>
            <a:off x="7461250" y="5058073"/>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9">
            <a:extLst>
              <a:ext uri="{FF2B5EF4-FFF2-40B4-BE49-F238E27FC236}">
                <a16:creationId xmlns:a16="http://schemas.microsoft.com/office/drawing/2014/main" id="{BA146893-AAEE-E56B-7DC2-BCCA3DDF82D2}"/>
              </a:ext>
            </a:extLst>
          </p:cNvPr>
          <p:cNvSpPr>
            <a:spLocks noGrp="1"/>
          </p:cNvSpPr>
          <p:nvPr>
            <p:ph type="body" sz="quarter" idx="23" hasCustomPrompt="1"/>
          </p:nvPr>
        </p:nvSpPr>
        <p:spPr>
          <a:xfrm>
            <a:off x="8686800" y="4751934"/>
            <a:ext cx="2557302" cy="324044"/>
          </a:xfrm>
        </p:spPr>
        <p:txBody>
          <a:bodyPr>
            <a:normAutofit/>
          </a:bodyPr>
          <a:lstStyle>
            <a:lvl1pPr marL="0" indent="0">
              <a:buNone/>
              <a:defRPr sz="1600" b="1">
                <a:solidFill>
                  <a:schemeClr val="bg2"/>
                </a:solidFill>
              </a:defRPr>
            </a:lvl1pPr>
          </a:lstStyle>
          <a:p>
            <a:pPr lvl="0"/>
            <a:r>
              <a:rPr lang="en-US"/>
              <a:t>Lorem ipsum dolor</a:t>
            </a:r>
          </a:p>
        </p:txBody>
      </p:sp>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our point</a:t>
            </a:r>
            <a:br>
              <a:rPr lang="en-US"/>
            </a:br>
            <a:r>
              <a:rPr lang="en-US"/>
              <a:t>pyramid</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51" name="Text Placeholder 49">
            <a:extLst>
              <a:ext uri="{FF2B5EF4-FFF2-40B4-BE49-F238E27FC236}">
                <a16:creationId xmlns:a16="http://schemas.microsoft.com/office/drawing/2014/main" id="{3730989F-3C5B-0D21-C96E-ECBB026FAC97}"/>
              </a:ext>
            </a:extLst>
          </p:cNvPr>
          <p:cNvSpPr>
            <a:spLocks noGrp="1"/>
          </p:cNvSpPr>
          <p:nvPr>
            <p:ph type="body" sz="quarter" idx="17" hasCustomPrompt="1"/>
          </p:nvPr>
        </p:nvSpPr>
        <p:spPr>
          <a:xfrm>
            <a:off x="8686800" y="798554"/>
            <a:ext cx="2557302" cy="324044"/>
          </a:xfrm>
        </p:spPr>
        <p:txBody>
          <a:bodyPr>
            <a:normAutofit/>
          </a:bodyPr>
          <a:lstStyle>
            <a:lvl1pPr marL="0" indent="0">
              <a:buNone/>
              <a:defRPr sz="1600" b="1">
                <a:solidFill>
                  <a:schemeClr val="accent1"/>
                </a:solidFill>
              </a:defRPr>
            </a:lvl1pPr>
          </a:lstStyle>
          <a:p>
            <a:pPr lvl="0"/>
            <a:r>
              <a:rPr lang="en-US"/>
              <a:t>Lorem ipsum dolor</a:t>
            </a:r>
          </a:p>
        </p:txBody>
      </p:sp>
      <p:cxnSp>
        <p:nvCxnSpPr>
          <p:cNvPr id="52" name="Straight Connector 51">
            <a:extLst>
              <a:ext uri="{FF2B5EF4-FFF2-40B4-BE49-F238E27FC236}">
                <a16:creationId xmlns:a16="http://schemas.microsoft.com/office/drawing/2014/main" id="{D93B5DE0-2778-55D8-5B63-06B3ED9A875C}"/>
              </a:ext>
            </a:extLst>
          </p:cNvPr>
          <p:cNvCxnSpPr>
            <a:cxnSpLocks/>
          </p:cNvCxnSpPr>
          <p:nvPr/>
        </p:nvCxnSpPr>
        <p:spPr>
          <a:xfrm>
            <a:off x="6035783" y="1102648"/>
            <a:ext cx="5400566" cy="1328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93BBF5-7965-705C-7066-2A8B368C2ADE}"/>
              </a:ext>
            </a:extLst>
          </p:cNvPr>
          <p:cNvCxnSpPr>
            <a:cxnSpLocks/>
          </p:cNvCxnSpPr>
          <p:nvPr/>
        </p:nvCxnSpPr>
        <p:spPr>
          <a:xfrm flipV="1">
            <a:off x="6751426" y="2599659"/>
            <a:ext cx="4684924" cy="121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962CBE-CFB2-AA4F-3522-C00036B7F114}"/>
              </a:ext>
            </a:extLst>
          </p:cNvPr>
          <p:cNvCxnSpPr>
            <a:cxnSpLocks/>
          </p:cNvCxnSpPr>
          <p:nvPr/>
        </p:nvCxnSpPr>
        <p:spPr>
          <a:xfrm>
            <a:off x="7461250" y="3811339"/>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 Placeholder 49">
            <a:extLst>
              <a:ext uri="{FF2B5EF4-FFF2-40B4-BE49-F238E27FC236}">
                <a16:creationId xmlns:a16="http://schemas.microsoft.com/office/drawing/2014/main" id="{FABE6391-6130-80DD-2E80-D09786D417D0}"/>
              </a:ext>
            </a:extLst>
          </p:cNvPr>
          <p:cNvSpPr>
            <a:spLocks noGrp="1"/>
          </p:cNvSpPr>
          <p:nvPr>
            <p:ph type="body" sz="quarter" idx="19" hasCustomPrompt="1"/>
          </p:nvPr>
        </p:nvSpPr>
        <p:spPr>
          <a:xfrm>
            <a:off x="8686800" y="2286000"/>
            <a:ext cx="2557302" cy="324044"/>
          </a:xfrm>
        </p:spPr>
        <p:txBody>
          <a:bodyPr>
            <a:normAutofit/>
          </a:bodyPr>
          <a:lstStyle>
            <a:lvl1pPr marL="0" indent="0">
              <a:buNone/>
              <a:defRPr sz="1600" b="1">
                <a:solidFill>
                  <a:schemeClr val="tx2"/>
                </a:solidFill>
              </a:defRPr>
            </a:lvl1pPr>
          </a:lstStyle>
          <a:p>
            <a:pPr lvl="0"/>
            <a:r>
              <a:rPr lang="en-US"/>
              <a:t>Lorem ipsum dolor</a:t>
            </a:r>
          </a:p>
        </p:txBody>
      </p:sp>
      <p:sp>
        <p:nvSpPr>
          <p:cNvPr id="58" name="Text Placeholder 49">
            <a:extLst>
              <a:ext uri="{FF2B5EF4-FFF2-40B4-BE49-F238E27FC236}">
                <a16:creationId xmlns:a16="http://schemas.microsoft.com/office/drawing/2014/main" id="{AEA0D083-188D-275C-19A3-2B08840ED843}"/>
              </a:ext>
            </a:extLst>
          </p:cNvPr>
          <p:cNvSpPr>
            <a:spLocks noGrp="1"/>
          </p:cNvSpPr>
          <p:nvPr>
            <p:ph type="body" sz="quarter" idx="21" hasCustomPrompt="1"/>
          </p:nvPr>
        </p:nvSpPr>
        <p:spPr>
          <a:xfrm>
            <a:off x="8686800" y="3505200"/>
            <a:ext cx="2557302" cy="324044"/>
          </a:xfrm>
        </p:spPr>
        <p:txBody>
          <a:bodyPr>
            <a:normAutofit/>
          </a:bodyPr>
          <a:lstStyle>
            <a:lvl1pPr marL="0" indent="0">
              <a:buNone/>
              <a:defRPr sz="1600" b="1">
                <a:solidFill>
                  <a:schemeClr val="tx1"/>
                </a:solidFill>
              </a:defRPr>
            </a:lvl1pPr>
          </a:lstStyle>
          <a:p>
            <a:pPr lvl="0"/>
            <a:r>
              <a:rPr lang="en-US"/>
              <a:t>Lorem ipsum dolor</a:t>
            </a:r>
          </a:p>
        </p:txBody>
      </p:sp>
      <p:sp>
        <p:nvSpPr>
          <p:cNvPr id="38" name="Rectangle 37">
            <a:extLst>
              <a:ext uri="{FF2B5EF4-FFF2-40B4-BE49-F238E27FC236}">
                <a16:creationId xmlns:a16="http://schemas.microsoft.com/office/drawing/2014/main" id="{93E24841-D5DA-308D-C4FA-1230C1250DB6}"/>
              </a:ext>
            </a:extLst>
          </p:cNvPr>
          <p:cNvSpPr/>
          <p:nvPr/>
        </p:nvSpPr>
        <p:spPr>
          <a:xfrm>
            <a:off x="5652965" y="173410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39" name="Rectangle 38">
            <a:extLst>
              <a:ext uri="{FF2B5EF4-FFF2-40B4-BE49-F238E27FC236}">
                <a16:creationId xmlns:a16="http://schemas.microsoft.com/office/drawing/2014/main" id="{623B7E06-AEC1-1A82-D474-25CB9E798690}"/>
              </a:ext>
            </a:extLst>
          </p:cNvPr>
          <p:cNvSpPr/>
          <p:nvPr/>
        </p:nvSpPr>
        <p:spPr>
          <a:xfrm>
            <a:off x="5652965" y="32528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40" name="Rectangle 39">
            <a:extLst>
              <a:ext uri="{FF2B5EF4-FFF2-40B4-BE49-F238E27FC236}">
                <a16:creationId xmlns:a16="http://schemas.microsoft.com/office/drawing/2014/main" id="{68B39BD1-DFBA-C742-6146-CEE943A2FB82}"/>
              </a:ext>
            </a:extLst>
          </p:cNvPr>
          <p:cNvSpPr/>
          <p:nvPr/>
        </p:nvSpPr>
        <p:spPr>
          <a:xfrm>
            <a:off x="5652964" y="4878023"/>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grpSp>
        <p:nvGrpSpPr>
          <p:cNvPr id="3" name="Group 2">
            <a:extLst>
              <a:ext uri="{FF2B5EF4-FFF2-40B4-BE49-F238E27FC236}">
                <a16:creationId xmlns:a16="http://schemas.microsoft.com/office/drawing/2014/main" id="{12BD220D-68E4-AA53-DDAD-EF80DFB2208E}"/>
              </a:ext>
            </a:extLst>
          </p:cNvPr>
          <p:cNvGrpSpPr/>
          <p:nvPr/>
        </p:nvGrpSpPr>
        <p:grpSpPr>
          <a:xfrm>
            <a:off x="3547308" y="848082"/>
            <a:ext cx="4976734" cy="5161839"/>
            <a:chOff x="3547308" y="848082"/>
            <a:chExt cx="4976734" cy="5161839"/>
          </a:xfrm>
        </p:grpSpPr>
        <p:grpSp>
          <p:nvGrpSpPr>
            <p:cNvPr id="7" name="Group 6">
              <a:extLst>
                <a:ext uri="{FF2B5EF4-FFF2-40B4-BE49-F238E27FC236}">
                  <a16:creationId xmlns:a16="http://schemas.microsoft.com/office/drawing/2014/main" id="{A574C05B-E903-DC0A-55E6-6E5E5DEB84FA}"/>
                </a:ext>
              </a:extLst>
            </p:cNvPr>
            <p:cNvGrpSpPr/>
            <p:nvPr/>
          </p:nvGrpSpPr>
          <p:grpSpPr>
            <a:xfrm>
              <a:off x="3547308" y="848082"/>
              <a:ext cx="4976734" cy="5161839"/>
              <a:chOff x="4659207" y="480648"/>
              <a:chExt cx="3999564" cy="4587037"/>
            </a:xfrm>
          </p:grpSpPr>
          <p:sp>
            <p:nvSpPr>
              <p:cNvPr id="19" name="Freeform 18">
                <a:extLst>
                  <a:ext uri="{FF2B5EF4-FFF2-40B4-BE49-F238E27FC236}">
                    <a16:creationId xmlns:a16="http://schemas.microsoft.com/office/drawing/2014/main" id="{4C0F3549-F56E-A8AC-5437-475CE3DE30BE}"/>
                  </a:ext>
                </a:extLst>
              </p:cNvPr>
              <p:cNvSpPr/>
              <p:nvPr/>
            </p:nvSpPr>
            <p:spPr>
              <a:xfrm>
                <a:off x="6083773" y="480648"/>
                <a:ext cx="1150431" cy="1319488"/>
              </a:xfrm>
              <a:custGeom>
                <a:avLst/>
                <a:gdLst>
                  <a:gd name="connsiteX0" fmla="*/ 575216 w 1150431"/>
                  <a:gd name="connsiteY0" fmla="*/ 0 h 1319488"/>
                  <a:gd name="connsiteX1" fmla="*/ 0 w 1150431"/>
                  <a:gd name="connsiteY1" fmla="*/ 1319488 h 1319488"/>
                  <a:gd name="connsiteX2" fmla="*/ 1150431 w 1150431"/>
                  <a:gd name="connsiteY2" fmla="*/ 1319488 h 1319488"/>
                  <a:gd name="connsiteX3" fmla="*/ 575216 w 1150431"/>
                  <a:gd name="connsiteY3" fmla="*/ 0 h 1319488"/>
                </a:gdLst>
                <a:ahLst/>
                <a:cxnLst>
                  <a:cxn ang="0">
                    <a:pos x="connsiteX0" y="connsiteY0"/>
                  </a:cxn>
                  <a:cxn ang="0">
                    <a:pos x="connsiteX1" y="connsiteY1"/>
                  </a:cxn>
                  <a:cxn ang="0">
                    <a:pos x="connsiteX2" y="connsiteY2"/>
                  </a:cxn>
                  <a:cxn ang="0">
                    <a:pos x="connsiteX3" y="connsiteY3"/>
                  </a:cxn>
                </a:cxnLst>
                <a:rect l="l" t="t" r="r" b="b"/>
                <a:pathLst>
                  <a:path w="1150431" h="1319488">
                    <a:moveTo>
                      <a:pt x="575216" y="0"/>
                    </a:moveTo>
                    <a:lnTo>
                      <a:pt x="0" y="1319488"/>
                    </a:lnTo>
                    <a:lnTo>
                      <a:pt x="1150431" y="1319488"/>
                    </a:lnTo>
                    <a:lnTo>
                      <a:pt x="575216" y="0"/>
                    </a:lnTo>
                    <a:close/>
                  </a:path>
                </a:pathLst>
              </a:custGeom>
              <a:solidFill>
                <a:schemeClr val="accent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0" name="Freeform 19">
                <a:extLst>
                  <a:ext uri="{FF2B5EF4-FFF2-40B4-BE49-F238E27FC236}">
                    <a16:creationId xmlns:a16="http://schemas.microsoft.com/office/drawing/2014/main" id="{2DD6789B-4DEF-9653-C5F8-87CFD02F83EF}"/>
                  </a:ext>
                </a:extLst>
              </p:cNvPr>
              <p:cNvSpPr/>
              <p:nvPr/>
            </p:nvSpPr>
            <p:spPr>
              <a:xfrm>
                <a:off x="4659207" y="4109983"/>
                <a:ext cx="3999564" cy="957702"/>
              </a:xfrm>
              <a:custGeom>
                <a:avLst/>
                <a:gdLst>
                  <a:gd name="connsiteX0" fmla="*/ 0 w 3999564"/>
                  <a:gd name="connsiteY0" fmla="*/ 957703 h 957702"/>
                  <a:gd name="connsiteX1" fmla="*/ 3999564 w 3999564"/>
                  <a:gd name="connsiteY1" fmla="*/ 957703 h 957702"/>
                  <a:gd name="connsiteX2" fmla="*/ 3581909 w 3999564"/>
                  <a:gd name="connsiteY2" fmla="*/ 0 h 957702"/>
                  <a:gd name="connsiteX3" fmla="*/ 417514 w 3999564"/>
                  <a:gd name="connsiteY3" fmla="*/ 0 h 957702"/>
                  <a:gd name="connsiteX4" fmla="*/ 0 w 3999564"/>
                  <a:gd name="connsiteY4" fmla="*/ 957703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9564" h="957702">
                    <a:moveTo>
                      <a:pt x="0" y="957703"/>
                    </a:moveTo>
                    <a:lnTo>
                      <a:pt x="3999564" y="957703"/>
                    </a:lnTo>
                    <a:lnTo>
                      <a:pt x="3581909" y="0"/>
                    </a:lnTo>
                    <a:lnTo>
                      <a:pt x="417514" y="0"/>
                    </a:lnTo>
                    <a:lnTo>
                      <a:pt x="0" y="957703"/>
                    </a:lnTo>
                    <a:close/>
                  </a:path>
                </a:pathLst>
              </a:custGeom>
              <a:solidFill>
                <a:schemeClr val="bg2"/>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7BA0E879-50A0-B572-F4B3-01B022112F50}"/>
                  </a:ext>
                </a:extLst>
              </p:cNvPr>
              <p:cNvSpPr/>
              <p:nvPr/>
            </p:nvSpPr>
            <p:spPr>
              <a:xfrm>
                <a:off x="5134015" y="3020668"/>
                <a:ext cx="3049805" cy="957900"/>
              </a:xfrm>
              <a:custGeom>
                <a:avLst/>
                <a:gdLst>
                  <a:gd name="connsiteX0" fmla="*/ 283495 w 3049805"/>
                  <a:gd name="connsiteY0" fmla="*/ 307558 h 957900"/>
                  <a:gd name="connsiteX1" fmla="*/ 0 w 3049805"/>
                  <a:gd name="connsiteY1" fmla="*/ 957901 h 957900"/>
                  <a:gd name="connsiteX2" fmla="*/ 3049806 w 3049805"/>
                  <a:gd name="connsiteY2" fmla="*/ 957901 h 957900"/>
                  <a:gd name="connsiteX3" fmla="*/ 2766311 w 3049805"/>
                  <a:gd name="connsiteY3" fmla="*/ 307558 h 957900"/>
                  <a:gd name="connsiteX4" fmla="*/ 2632293 w 3049805"/>
                  <a:gd name="connsiteY4" fmla="*/ 0 h 957900"/>
                  <a:gd name="connsiteX5" fmla="*/ 417513 w 3049805"/>
                  <a:gd name="connsiteY5" fmla="*/ 0 h 957900"/>
                  <a:gd name="connsiteX6" fmla="*/ 283495 w 3049805"/>
                  <a:gd name="connsiteY6" fmla="*/ 307558 h 9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9805" h="957900">
                    <a:moveTo>
                      <a:pt x="283495" y="307558"/>
                    </a:moveTo>
                    <a:lnTo>
                      <a:pt x="0" y="957901"/>
                    </a:lnTo>
                    <a:lnTo>
                      <a:pt x="3049806" y="957901"/>
                    </a:lnTo>
                    <a:lnTo>
                      <a:pt x="2766311" y="307558"/>
                    </a:lnTo>
                    <a:lnTo>
                      <a:pt x="2632293" y="0"/>
                    </a:lnTo>
                    <a:lnTo>
                      <a:pt x="417513" y="0"/>
                    </a:lnTo>
                    <a:lnTo>
                      <a:pt x="283495" y="307558"/>
                    </a:lnTo>
                    <a:close/>
                  </a:path>
                </a:pathLst>
              </a:custGeom>
              <a:solidFill>
                <a:schemeClr val="tx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52EA3AAD-9D5C-8E2C-5D6A-B30BD2630BD6}"/>
                  </a:ext>
                </a:extLst>
              </p:cNvPr>
              <p:cNvSpPr/>
              <p:nvPr/>
            </p:nvSpPr>
            <p:spPr>
              <a:xfrm>
                <a:off x="5608823" y="1931550"/>
                <a:ext cx="2100189" cy="957702"/>
              </a:xfrm>
              <a:custGeom>
                <a:avLst/>
                <a:gdLst>
                  <a:gd name="connsiteX0" fmla="*/ 417655 w 2100189"/>
                  <a:gd name="connsiteY0" fmla="*/ 0 h 957702"/>
                  <a:gd name="connsiteX1" fmla="*/ 0 w 2100189"/>
                  <a:gd name="connsiteY1" fmla="*/ 957703 h 957702"/>
                  <a:gd name="connsiteX2" fmla="*/ 2100190 w 2100189"/>
                  <a:gd name="connsiteY2" fmla="*/ 957703 h 957702"/>
                  <a:gd name="connsiteX3" fmla="*/ 1682676 w 2100189"/>
                  <a:gd name="connsiteY3" fmla="*/ 0 h 957702"/>
                  <a:gd name="connsiteX4" fmla="*/ 417655 w 2100189"/>
                  <a:gd name="connsiteY4" fmla="*/ 0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189" h="957702">
                    <a:moveTo>
                      <a:pt x="417655" y="0"/>
                    </a:moveTo>
                    <a:lnTo>
                      <a:pt x="0" y="957703"/>
                    </a:lnTo>
                    <a:lnTo>
                      <a:pt x="2100190" y="957703"/>
                    </a:lnTo>
                    <a:lnTo>
                      <a:pt x="1682676" y="0"/>
                    </a:lnTo>
                    <a:lnTo>
                      <a:pt x="417655" y="0"/>
                    </a:lnTo>
                    <a:close/>
                  </a:path>
                </a:pathLst>
              </a:custGeom>
              <a:solidFill>
                <a:schemeClr val="tx2"/>
              </a:solidFill>
              <a:ln w="14179" cap="flat">
                <a:noFill/>
                <a:prstDash val="solid"/>
                <a:miter/>
              </a:ln>
            </p:spPr>
            <p:txBody>
              <a:bodyPr rtlCol="0" anchor="ctr"/>
              <a:lstStyle/>
              <a:p>
                <a:pPr marL="0" indent="0">
                  <a:buFont typeface="Arial" panose="020B0604020202020204" pitchFamily="34" charset="0"/>
                  <a:buNone/>
                </a:pPr>
                <a:endParaRPr lang="en-US"/>
              </a:p>
            </p:txBody>
          </p:sp>
        </p:grpSp>
        <p:sp>
          <p:nvSpPr>
            <p:cNvPr id="8" name="Rectangle 7">
              <a:extLst>
                <a:ext uri="{FF2B5EF4-FFF2-40B4-BE49-F238E27FC236}">
                  <a16:creationId xmlns:a16="http://schemas.microsoft.com/office/drawing/2014/main" id="{05E23146-ED2B-3363-297C-CBF51BF37A10}"/>
                </a:ext>
              </a:extLst>
            </p:cNvPr>
            <p:cNvSpPr/>
            <p:nvPr/>
          </p:nvSpPr>
          <p:spPr>
            <a:xfrm>
              <a:off x="5647273" y="153245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16" name="Rectangle 15">
              <a:extLst>
                <a:ext uri="{FF2B5EF4-FFF2-40B4-BE49-F238E27FC236}">
                  <a16:creationId xmlns:a16="http://schemas.microsoft.com/office/drawing/2014/main" id="{B35AE6B4-ED04-F413-6D20-239C0B84CECE}"/>
                </a:ext>
              </a:extLst>
            </p:cNvPr>
            <p:cNvSpPr/>
            <p:nvPr/>
          </p:nvSpPr>
          <p:spPr>
            <a:xfrm>
              <a:off x="5647272" y="2658654"/>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17" name="Rectangle 16">
              <a:extLst>
                <a:ext uri="{FF2B5EF4-FFF2-40B4-BE49-F238E27FC236}">
                  <a16:creationId xmlns:a16="http://schemas.microsoft.com/office/drawing/2014/main" id="{09BCA15F-EBA9-4AE6-FD3F-7B6734D3FE1D}"/>
                </a:ext>
              </a:extLst>
            </p:cNvPr>
            <p:cNvSpPr/>
            <p:nvPr/>
          </p:nvSpPr>
          <p:spPr>
            <a:xfrm>
              <a:off x="5647272" y="385108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sp>
          <p:nvSpPr>
            <p:cNvPr id="18" name="Rectangle 17">
              <a:extLst>
                <a:ext uri="{FF2B5EF4-FFF2-40B4-BE49-F238E27FC236}">
                  <a16:creationId xmlns:a16="http://schemas.microsoft.com/office/drawing/2014/main" id="{67BFA213-2980-7828-FB9F-942DEC0DF5F7}"/>
                </a:ext>
              </a:extLst>
            </p:cNvPr>
            <p:cNvSpPr/>
            <p:nvPr/>
          </p:nvSpPr>
          <p:spPr>
            <a:xfrm>
              <a:off x="5647272" y="5128070"/>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4</a:t>
              </a:r>
            </a:p>
          </p:txBody>
        </p:sp>
      </p:grpSp>
      <p:sp>
        <p:nvSpPr>
          <p:cNvPr id="21" name="Content Placeholder 17">
            <a:extLst>
              <a:ext uri="{FF2B5EF4-FFF2-40B4-BE49-F238E27FC236}">
                <a16:creationId xmlns:a16="http://schemas.microsoft.com/office/drawing/2014/main" id="{E17DCA2C-A564-6100-C9C1-9BF4585B0127}"/>
              </a:ext>
            </a:extLst>
          </p:cNvPr>
          <p:cNvSpPr>
            <a:spLocks noGrp="1"/>
          </p:cNvSpPr>
          <p:nvPr>
            <p:ph sz="quarter" idx="63"/>
          </p:nvPr>
        </p:nvSpPr>
        <p:spPr>
          <a:xfrm>
            <a:off x="8686800" y="1143000"/>
            <a:ext cx="256032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AA39802B-57F7-9529-1C26-704A15A4EBD6}"/>
              </a:ext>
            </a:extLst>
          </p:cNvPr>
          <p:cNvSpPr>
            <a:spLocks noGrp="1"/>
          </p:cNvSpPr>
          <p:nvPr>
            <p:ph sz="quarter" idx="64"/>
          </p:nvPr>
        </p:nvSpPr>
        <p:spPr>
          <a:xfrm>
            <a:off x="8686800" y="26670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E0A9520F-B9D2-F947-0ACA-D3B300D51399}"/>
              </a:ext>
            </a:extLst>
          </p:cNvPr>
          <p:cNvSpPr>
            <a:spLocks noGrp="1"/>
          </p:cNvSpPr>
          <p:nvPr>
            <p:ph sz="quarter" idx="65"/>
          </p:nvPr>
        </p:nvSpPr>
        <p:spPr>
          <a:xfrm>
            <a:off x="8686800" y="38862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4" name="Content Placeholder 17">
            <a:extLst>
              <a:ext uri="{FF2B5EF4-FFF2-40B4-BE49-F238E27FC236}">
                <a16:creationId xmlns:a16="http://schemas.microsoft.com/office/drawing/2014/main" id="{4E016D0E-59CF-9EB5-1571-E71C2248A7AD}"/>
              </a:ext>
            </a:extLst>
          </p:cNvPr>
          <p:cNvSpPr>
            <a:spLocks noGrp="1"/>
          </p:cNvSpPr>
          <p:nvPr>
            <p:ph sz="quarter" idx="66"/>
          </p:nvPr>
        </p:nvSpPr>
        <p:spPr>
          <a:xfrm>
            <a:off x="8686800" y="5181600"/>
            <a:ext cx="2590800" cy="9144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1153840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Three point triangl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4A4E4F81-F86D-CD02-2171-579792C7EC2B}"/>
              </a:ext>
            </a:extLst>
          </p:cNvPr>
          <p:cNvGrpSpPr/>
          <p:nvPr/>
        </p:nvGrpSpPr>
        <p:grpSpPr>
          <a:xfrm>
            <a:off x="785813"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696200" y="2831683"/>
            <a:ext cx="3721608"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0600" y="2831683"/>
            <a:ext cx="3721010" cy="324044"/>
          </a:xfrm>
        </p:spPr>
        <p:txBody>
          <a:bodyPr>
            <a:normAutofit/>
          </a:bodyPr>
          <a:lstStyle>
            <a:lvl1pPr marL="0" indent="0">
              <a:buNone/>
              <a:defRPr sz="1600" b="1">
                <a:solidFill>
                  <a:schemeClr val="accent4"/>
                </a:solidFill>
              </a:defRPr>
            </a:lvl1pPr>
          </a:lstStyle>
          <a:p>
            <a:pPr lvl="0"/>
            <a:r>
              <a:rPr lang="en-US"/>
              <a:t>Lorem ipsum dolor</a:t>
            </a:r>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235196" y="5638800"/>
            <a:ext cx="3721608"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19" name="Content Placeholder 17">
            <a:extLst>
              <a:ext uri="{FF2B5EF4-FFF2-40B4-BE49-F238E27FC236}">
                <a16:creationId xmlns:a16="http://schemas.microsoft.com/office/drawing/2014/main" id="{0E05ABD5-3E68-13F8-6615-F4A985568F09}"/>
              </a:ext>
            </a:extLst>
          </p:cNvPr>
          <p:cNvSpPr>
            <a:spLocks noGrp="1"/>
          </p:cNvSpPr>
          <p:nvPr>
            <p:ph sz="quarter" idx="63"/>
          </p:nvPr>
        </p:nvSpPr>
        <p:spPr>
          <a:xfrm>
            <a:off x="9906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BB81BFD-C974-DBEE-379F-86E4A0E36B5F}"/>
              </a:ext>
            </a:extLst>
          </p:cNvPr>
          <p:cNvSpPr>
            <a:spLocks noGrp="1"/>
          </p:cNvSpPr>
          <p:nvPr>
            <p:ph sz="quarter" idx="64"/>
          </p:nvPr>
        </p:nvSpPr>
        <p:spPr>
          <a:xfrm>
            <a:off x="4235196" y="6022554"/>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52657600-CDED-1015-206E-5278110EF3C3}"/>
              </a:ext>
            </a:extLst>
          </p:cNvPr>
          <p:cNvSpPr>
            <a:spLocks noGrp="1"/>
          </p:cNvSpPr>
          <p:nvPr>
            <p:ph sz="quarter" idx="65"/>
          </p:nvPr>
        </p:nvSpPr>
        <p:spPr>
          <a:xfrm>
            <a:off x="76962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405584638"/>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Four points squar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our points - squar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1AE2DD51-A795-973A-AC7F-EFCDC6608A8C}"/>
              </a:ext>
            </a:extLst>
          </p:cNvPr>
          <p:cNvGrpSpPr/>
          <p:nvPr/>
        </p:nvGrpSpPr>
        <p:grpSpPr>
          <a:xfrm>
            <a:off x="815975" y="2384989"/>
            <a:ext cx="10620375" cy="3398382"/>
            <a:chOff x="815975" y="2044994"/>
            <a:chExt cx="10620375" cy="3398382"/>
          </a:xfrm>
        </p:grpSpPr>
        <p:cxnSp>
          <p:nvCxnSpPr>
            <p:cNvPr id="10" name="Straight Connector 9">
              <a:extLst>
                <a:ext uri="{FF2B5EF4-FFF2-40B4-BE49-F238E27FC236}">
                  <a16:creationId xmlns:a16="http://schemas.microsoft.com/office/drawing/2014/main" id="{73FD4D2A-B2BE-E573-5D74-450967EE75CE}"/>
                </a:ext>
              </a:extLst>
            </p:cNvPr>
            <p:cNvCxnSpPr>
              <a:cxnSpLocks/>
            </p:cNvCxnSpPr>
            <p:nvPr/>
          </p:nvCxnSpPr>
          <p:spPr>
            <a:xfrm flipV="1">
              <a:off x="6095937" y="2044994"/>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E2F8C8-88CC-93E9-FEBB-841E9B1C6BCD}"/>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3F0EBC-04C1-043C-B60C-82D736C9CA1E}"/>
                </a:ext>
              </a:extLst>
            </p:cNvPr>
            <p:cNvCxnSpPr>
              <a:cxnSpLocks/>
            </p:cNvCxnSpPr>
            <p:nvPr/>
          </p:nvCxnSpPr>
          <p:spPr>
            <a:xfrm>
              <a:off x="6995461" y="380301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42A6F1-B12E-643E-7565-62DA0A2CCEC9}"/>
                </a:ext>
              </a:extLst>
            </p:cNvPr>
            <p:cNvCxnSpPr>
              <a:cxnSpLocks/>
            </p:cNvCxnSpPr>
            <p:nvPr/>
          </p:nvCxnSpPr>
          <p:spPr>
            <a:xfrm flipH="1">
              <a:off x="815975" y="378898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DD80B86D-F9FB-2AAA-765A-707D0E81AA1B}"/>
                </a:ext>
              </a:extLst>
            </p:cNvPr>
            <p:cNvGrpSpPr/>
            <p:nvPr/>
          </p:nvGrpSpPr>
          <p:grpSpPr>
            <a:xfrm>
              <a:off x="4812056" y="2468666"/>
              <a:ext cx="2567888" cy="2569042"/>
              <a:chOff x="7186795" y="1963701"/>
              <a:chExt cx="2567888" cy="2569042"/>
            </a:xfrm>
          </p:grpSpPr>
          <p:sp>
            <p:nvSpPr>
              <p:cNvPr id="28" name="Freeform 27">
                <a:extLst>
                  <a:ext uri="{FF2B5EF4-FFF2-40B4-BE49-F238E27FC236}">
                    <a16:creationId xmlns:a16="http://schemas.microsoft.com/office/drawing/2014/main" id="{4C45A49E-636D-A11A-0CFD-6978BC61945E}"/>
                  </a:ext>
                </a:extLst>
              </p:cNvPr>
              <p:cNvSpPr/>
              <p:nvPr/>
            </p:nvSpPr>
            <p:spPr>
              <a:xfrm>
                <a:off x="7245251" y="3658036"/>
                <a:ext cx="2450851" cy="874707"/>
              </a:xfrm>
              <a:custGeom>
                <a:avLst/>
                <a:gdLst>
                  <a:gd name="connsiteX0" fmla="*/ 558968 w 1566883"/>
                  <a:gd name="connsiteY0" fmla="*/ 0 h 559219"/>
                  <a:gd name="connsiteX1" fmla="*/ 0 w 1566883"/>
                  <a:gd name="connsiteY1" fmla="*/ 559219 h 559219"/>
                  <a:gd name="connsiteX2" fmla="*/ 1566884 w 1566883"/>
                  <a:gd name="connsiteY2" fmla="*/ 559219 h 559219"/>
                  <a:gd name="connsiteX3" fmla="*/ 1007915 w 1566883"/>
                  <a:gd name="connsiteY3" fmla="*/ 0 h 559219"/>
                  <a:gd name="connsiteX4" fmla="*/ 558968 w 1566883"/>
                  <a:gd name="connsiteY4" fmla="*/ 0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558968" y="0"/>
                    </a:moveTo>
                    <a:lnTo>
                      <a:pt x="0" y="559219"/>
                    </a:lnTo>
                    <a:lnTo>
                      <a:pt x="1566884" y="559219"/>
                    </a:lnTo>
                    <a:lnTo>
                      <a:pt x="1007915" y="0"/>
                    </a:lnTo>
                    <a:lnTo>
                      <a:pt x="558968"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9" name="Freeform 28">
                <a:extLst>
                  <a:ext uri="{FF2B5EF4-FFF2-40B4-BE49-F238E27FC236}">
                    <a16:creationId xmlns:a16="http://schemas.microsoft.com/office/drawing/2014/main" id="{8CB1C88E-7F79-91C0-9147-6115692495B9}"/>
                  </a:ext>
                </a:extLst>
              </p:cNvPr>
              <p:cNvSpPr/>
              <p:nvPr/>
            </p:nvSpPr>
            <p:spPr>
              <a:xfrm>
                <a:off x="7186795" y="2022182"/>
                <a:ext cx="874314" cy="2451952"/>
              </a:xfrm>
              <a:custGeom>
                <a:avLst/>
                <a:gdLst>
                  <a:gd name="connsiteX0" fmla="*/ 558968 w 558968"/>
                  <a:gd name="connsiteY0" fmla="*/ 1008368 h 1567586"/>
                  <a:gd name="connsiteX1" fmla="*/ 558968 w 558968"/>
                  <a:gd name="connsiteY1" fmla="*/ 559219 h 1567586"/>
                  <a:gd name="connsiteX2" fmla="*/ 0 w 558968"/>
                  <a:gd name="connsiteY2" fmla="*/ 0 h 1567586"/>
                  <a:gd name="connsiteX3" fmla="*/ 0 w 558968"/>
                  <a:gd name="connsiteY3" fmla="*/ 1567587 h 1567586"/>
                  <a:gd name="connsiteX4" fmla="*/ 558968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558968" y="1008368"/>
                    </a:moveTo>
                    <a:lnTo>
                      <a:pt x="558968" y="559219"/>
                    </a:lnTo>
                    <a:lnTo>
                      <a:pt x="0" y="0"/>
                    </a:lnTo>
                    <a:lnTo>
                      <a:pt x="0" y="1567587"/>
                    </a:lnTo>
                    <a:lnTo>
                      <a:pt x="558968" y="1008368"/>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0" name="Freeform 29">
                <a:extLst>
                  <a:ext uri="{FF2B5EF4-FFF2-40B4-BE49-F238E27FC236}">
                    <a16:creationId xmlns:a16="http://schemas.microsoft.com/office/drawing/2014/main" id="{34030CDF-7DE0-DCEB-41F3-41FCD1AC95FC}"/>
                  </a:ext>
                </a:extLst>
              </p:cNvPr>
              <p:cNvSpPr/>
              <p:nvPr/>
            </p:nvSpPr>
            <p:spPr>
              <a:xfrm>
                <a:off x="7245251" y="1963701"/>
                <a:ext cx="2450851" cy="874707"/>
              </a:xfrm>
              <a:custGeom>
                <a:avLst/>
                <a:gdLst>
                  <a:gd name="connsiteX0" fmla="*/ 1007915 w 1566883"/>
                  <a:gd name="connsiteY0" fmla="*/ 559219 h 559219"/>
                  <a:gd name="connsiteX1" fmla="*/ 1566884 w 1566883"/>
                  <a:gd name="connsiteY1" fmla="*/ 0 h 559219"/>
                  <a:gd name="connsiteX2" fmla="*/ 0 w 1566883"/>
                  <a:gd name="connsiteY2" fmla="*/ 0 h 559219"/>
                  <a:gd name="connsiteX3" fmla="*/ 558968 w 1566883"/>
                  <a:gd name="connsiteY3" fmla="*/ 559219 h 559219"/>
                  <a:gd name="connsiteX4" fmla="*/ 1007915 w 1566883"/>
                  <a:gd name="connsiteY4" fmla="*/ 559219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1007915" y="559219"/>
                    </a:moveTo>
                    <a:lnTo>
                      <a:pt x="1566884" y="0"/>
                    </a:lnTo>
                    <a:lnTo>
                      <a:pt x="0" y="0"/>
                    </a:lnTo>
                    <a:lnTo>
                      <a:pt x="558968" y="559219"/>
                    </a:lnTo>
                    <a:lnTo>
                      <a:pt x="1007915" y="559219"/>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1" name="Freeform 30">
                <a:extLst>
                  <a:ext uri="{FF2B5EF4-FFF2-40B4-BE49-F238E27FC236}">
                    <a16:creationId xmlns:a16="http://schemas.microsoft.com/office/drawing/2014/main" id="{FE216904-5909-65B5-5D6B-E957BE0D5D2A}"/>
                  </a:ext>
                </a:extLst>
              </p:cNvPr>
              <p:cNvSpPr/>
              <p:nvPr/>
            </p:nvSpPr>
            <p:spPr>
              <a:xfrm>
                <a:off x="8880369" y="2022182"/>
                <a:ext cx="874314" cy="2451952"/>
              </a:xfrm>
              <a:custGeom>
                <a:avLst/>
                <a:gdLst>
                  <a:gd name="connsiteX0" fmla="*/ 0 w 558968"/>
                  <a:gd name="connsiteY0" fmla="*/ 1008368 h 1567586"/>
                  <a:gd name="connsiteX1" fmla="*/ 558969 w 558968"/>
                  <a:gd name="connsiteY1" fmla="*/ 1567587 h 1567586"/>
                  <a:gd name="connsiteX2" fmla="*/ 558969 w 558968"/>
                  <a:gd name="connsiteY2" fmla="*/ 0 h 1567586"/>
                  <a:gd name="connsiteX3" fmla="*/ 0 w 558968"/>
                  <a:gd name="connsiteY3" fmla="*/ 559219 h 1567586"/>
                  <a:gd name="connsiteX4" fmla="*/ 0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0" y="1008368"/>
                    </a:moveTo>
                    <a:lnTo>
                      <a:pt x="558969" y="1567587"/>
                    </a:lnTo>
                    <a:lnTo>
                      <a:pt x="558969" y="0"/>
                    </a:lnTo>
                    <a:lnTo>
                      <a:pt x="0" y="559219"/>
                    </a:lnTo>
                    <a:lnTo>
                      <a:pt x="0" y="1008368"/>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33" name="Text Placeholder 49">
            <a:extLst>
              <a:ext uri="{FF2B5EF4-FFF2-40B4-BE49-F238E27FC236}">
                <a16:creationId xmlns:a16="http://schemas.microsoft.com/office/drawing/2014/main" id="{E9AA7340-326B-6B94-E564-05A964387A56}"/>
              </a:ext>
            </a:extLst>
          </p:cNvPr>
          <p:cNvSpPr>
            <a:spLocks noGrp="1"/>
          </p:cNvSpPr>
          <p:nvPr>
            <p:ph type="body" sz="quarter" idx="17" hasCustomPrompt="1"/>
          </p:nvPr>
        </p:nvSpPr>
        <p:spPr>
          <a:xfrm>
            <a:off x="990600" y="3783111"/>
            <a:ext cx="3644073" cy="324044"/>
          </a:xfrm>
        </p:spPr>
        <p:txBody>
          <a:bodyPr>
            <a:normAutofit/>
          </a:bodyPr>
          <a:lstStyle>
            <a:lvl1pPr marL="0" indent="0">
              <a:buNone/>
              <a:defRPr sz="1600" b="1">
                <a:solidFill>
                  <a:schemeClr val="tx1"/>
                </a:solidFill>
              </a:defRPr>
            </a:lvl1pPr>
          </a:lstStyle>
          <a:p>
            <a:pPr lvl="0"/>
            <a:r>
              <a:rPr lang="en-US"/>
              <a:t>Lorem ipsum dolor</a:t>
            </a:r>
          </a:p>
        </p:txBody>
      </p:sp>
      <p:sp>
        <p:nvSpPr>
          <p:cNvPr id="35" name="Text Placeholder 49">
            <a:extLst>
              <a:ext uri="{FF2B5EF4-FFF2-40B4-BE49-F238E27FC236}">
                <a16:creationId xmlns:a16="http://schemas.microsoft.com/office/drawing/2014/main" id="{D2D16238-D684-8118-8DE7-9487FF7DF51E}"/>
              </a:ext>
            </a:extLst>
          </p:cNvPr>
          <p:cNvSpPr>
            <a:spLocks noGrp="1"/>
          </p:cNvSpPr>
          <p:nvPr>
            <p:ph type="body" sz="quarter" idx="19" hasCustomPrompt="1"/>
          </p:nvPr>
        </p:nvSpPr>
        <p:spPr>
          <a:xfrm>
            <a:off x="7467600" y="3794575"/>
            <a:ext cx="3657600"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9" name="Text Placeholder 49">
            <a:extLst>
              <a:ext uri="{FF2B5EF4-FFF2-40B4-BE49-F238E27FC236}">
                <a16:creationId xmlns:a16="http://schemas.microsoft.com/office/drawing/2014/main" id="{BF2493E3-929C-6D12-3DF5-7682E1F6E8B3}"/>
              </a:ext>
            </a:extLst>
          </p:cNvPr>
          <p:cNvSpPr>
            <a:spLocks noGrp="1"/>
          </p:cNvSpPr>
          <p:nvPr>
            <p:ph type="body" sz="quarter" idx="23" hasCustomPrompt="1"/>
          </p:nvPr>
        </p:nvSpPr>
        <p:spPr>
          <a:xfrm>
            <a:off x="4191000" y="5865556"/>
            <a:ext cx="3657600"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41" name="Text Placeholder 49">
            <a:extLst>
              <a:ext uri="{FF2B5EF4-FFF2-40B4-BE49-F238E27FC236}">
                <a16:creationId xmlns:a16="http://schemas.microsoft.com/office/drawing/2014/main" id="{37C6D4AD-FD10-95BE-45B3-6599962FE91C}"/>
              </a:ext>
            </a:extLst>
          </p:cNvPr>
          <p:cNvSpPr>
            <a:spLocks noGrp="1"/>
          </p:cNvSpPr>
          <p:nvPr>
            <p:ph type="body" sz="quarter" idx="25" hasCustomPrompt="1"/>
          </p:nvPr>
        </p:nvSpPr>
        <p:spPr>
          <a:xfrm>
            <a:off x="4191000" y="1676400"/>
            <a:ext cx="3657600" cy="324044"/>
          </a:xfrm>
        </p:spPr>
        <p:txBody>
          <a:bodyPr>
            <a:normAutofit/>
          </a:bodyPr>
          <a:lstStyle>
            <a:lvl1pPr marL="0" indent="0" algn="ctr">
              <a:buNone/>
              <a:defRPr sz="1600" b="1">
                <a:solidFill>
                  <a:schemeClr val="accent4"/>
                </a:solidFill>
              </a:defRPr>
            </a:lvl1pPr>
          </a:lstStyle>
          <a:p>
            <a:pPr lvl="0"/>
            <a:r>
              <a:rPr lang="en-US"/>
              <a:t>Lorem ipsum dolor</a:t>
            </a:r>
          </a:p>
        </p:txBody>
      </p:sp>
      <p:sp>
        <p:nvSpPr>
          <p:cNvPr id="19" name="Content Placeholder 17">
            <a:extLst>
              <a:ext uri="{FF2B5EF4-FFF2-40B4-BE49-F238E27FC236}">
                <a16:creationId xmlns:a16="http://schemas.microsoft.com/office/drawing/2014/main" id="{3030C0CE-889F-CC8A-4303-92370353D2E2}"/>
              </a:ext>
            </a:extLst>
          </p:cNvPr>
          <p:cNvSpPr>
            <a:spLocks noGrp="1"/>
          </p:cNvSpPr>
          <p:nvPr>
            <p:ph sz="quarter" idx="63"/>
          </p:nvPr>
        </p:nvSpPr>
        <p:spPr>
          <a:xfrm>
            <a:off x="990600" y="41910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44A0222-CD13-C8B4-DD0E-7E60F0116F06}"/>
              </a:ext>
            </a:extLst>
          </p:cNvPr>
          <p:cNvSpPr>
            <a:spLocks noGrp="1"/>
          </p:cNvSpPr>
          <p:nvPr>
            <p:ph sz="quarter" idx="64"/>
          </p:nvPr>
        </p:nvSpPr>
        <p:spPr>
          <a:xfrm>
            <a:off x="7467600" y="41910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79D3ED51-FC75-AC56-B538-71AE2ADC73ED}"/>
              </a:ext>
            </a:extLst>
          </p:cNvPr>
          <p:cNvSpPr>
            <a:spLocks noGrp="1"/>
          </p:cNvSpPr>
          <p:nvPr>
            <p:ph sz="quarter" idx="65"/>
          </p:nvPr>
        </p:nvSpPr>
        <p:spPr>
          <a:xfrm>
            <a:off x="4191000" y="2073089"/>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2" name="Content Placeholder 17">
            <a:extLst>
              <a:ext uri="{FF2B5EF4-FFF2-40B4-BE49-F238E27FC236}">
                <a16:creationId xmlns:a16="http://schemas.microsoft.com/office/drawing/2014/main" id="{0C8BEEDD-4B08-6A7C-D12B-67E9DC2DCBDC}"/>
              </a:ext>
            </a:extLst>
          </p:cNvPr>
          <p:cNvSpPr>
            <a:spLocks noGrp="1"/>
          </p:cNvSpPr>
          <p:nvPr>
            <p:ph sz="quarter" idx="66"/>
          </p:nvPr>
        </p:nvSpPr>
        <p:spPr>
          <a:xfrm>
            <a:off x="4191000" y="62484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881183784"/>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Five point pent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ive points - pentagon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9982F7E7-70CA-4BF5-148B-AFC9AE54CA0D}"/>
              </a:ext>
            </a:extLst>
          </p:cNvPr>
          <p:cNvGrpSpPr/>
          <p:nvPr/>
        </p:nvGrpSpPr>
        <p:grpSpPr>
          <a:xfrm>
            <a:off x="785813" y="2306464"/>
            <a:ext cx="10620375" cy="3136912"/>
            <a:chOff x="815975" y="2306464"/>
            <a:chExt cx="10620375" cy="3136912"/>
          </a:xfrm>
        </p:grpSpPr>
        <p:cxnSp>
          <p:nvCxnSpPr>
            <p:cNvPr id="33" name="Straight Connector 32">
              <a:extLst>
                <a:ext uri="{FF2B5EF4-FFF2-40B4-BE49-F238E27FC236}">
                  <a16:creationId xmlns:a16="http://schemas.microsoft.com/office/drawing/2014/main" id="{CEC0FAF6-8996-AF17-DE35-194CE9BD3395}"/>
                </a:ext>
              </a:extLst>
            </p:cNvPr>
            <p:cNvCxnSpPr>
              <a:cxnSpLocks/>
            </p:cNvCxnSpPr>
            <p:nvPr/>
          </p:nvCxnSpPr>
          <p:spPr>
            <a:xfrm>
              <a:off x="6995461" y="289191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2578AF-22FA-35F4-DB50-C2C5088D773F}"/>
                </a:ext>
              </a:extLst>
            </p:cNvPr>
            <p:cNvCxnSpPr>
              <a:cxnSpLocks/>
            </p:cNvCxnSpPr>
            <p:nvPr/>
          </p:nvCxnSpPr>
          <p:spPr>
            <a:xfrm flipH="1">
              <a:off x="815975" y="287787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C762C67-68F4-BDBE-9041-B29FC4FE8F5B}"/>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7C7533-9416-681F-0A73-06EBD12DD423}"/>
                </a:ext>
              </a:extLst>
            </p:cNvPr>
            <p:cNvCxnSpPr>
              <a:cxnSpLocks/>
            </p:cNvCxnSpPr>
            <p:nvPr/>
          </p:nvCxnSpPr>
          <p:spPr>
            <a:xfrm>
              <a:off x="6995461" y="432400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E8AFED-0EB7-4B6B-2164-5EAFDA4DC125}"/>
                </a:ext>
              </a:extLst>
            </p:cNvPr>
            <p:cNvCxnSpPr>
              <a:cxnSpLocks/>
            </p:cNvCxnSpPr>
            <p:nvPr/>
          </p:nvCxnSpPr>
          <p:spPr>
            <a:xfrm flipH="1">
              <a:off x="815975" y="430997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C3D9470-B9CD-DD51-F5FC-41D3670B2F63}"/>
                </a:ext>
              </a:extLst>
            </p:cNvPr>
            <p:cNvGrpSpPr/>
            <p:nvPr/>
          </p:nvGrpSpPr>
          <p:grpSpPr>
            <a:xfrm>
              <a:off x="4764868" y="2306464"/>
              <a:ext cx="2761819" cy="2629523"/>
              <a:chOff x="5517924" y="749427"/>
              <a:chExt cx="1691564" cy="1610535"/>
            </a:xfrm>
          </p:grpSpPr>
          <p:sp>
            <p:nvSpPr>
              <p:cNvPr id="49" name="Freeform 48">
                <a:extLst>
                  <a:ext uri="{FF2B5EF4-FFF2-40B4-BE49-F238E27FC236}">
                    <a16:creationId xmlns:a16="http://schemas.microsoft.com/office/drawing/2014/main" id="{F7600F85-5768-EC3B-83A4-2273DAE3E1A2}"/>
                  </a:ext>
                </a:extLst>
              </p:cNvPr>
              <p:cNvSpPr/>
              <p:nvPr/>
            </p:nvSpPr>
            <p:spPr>
              <a:xfrm>
                <a:off x="5868045" y="1869155"/>
                <a:ext cx="991322" cy="490807"/>
              </a:xfrm>
              <a:custGeom>
                <a:avLst/>
                <a:gdLst>
                  <a:gd name="connsiteX0" fmla="*/ 356403 w 991322"/>
                  <a:gd name="connsiteY0" fmla="*/ 0 h 490807"/>
                  <a:gd name="connsiteX1" fmla="*/ 0 w 991322"/>
                  <a:gd name="connsiteY1" fmla="*/ 490808 h 490807"/>
                  <a:gd name="connsiteX2" fmla="*/ 991323 w 991322"/>
                  <a:gd name="connsiteY2" fmla="*/ 490808 h 490807"/>
                  <a:gd name="connsiteX3" fmla="*/ 634920 w 991322"/>
                  <a:gd name="connsiteY3" fmla="*/ 0 h 490807"/>
                  <a:gd name="connsiteX4" fmla="*/ 356403 w 991322"/>
                  <a:gd name="connsiteY4" fmla="*/ 0 h 49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22" h="490807">
                    <a:moveTo>
                      <a:pt x="356403" y="0"/>
                    </a:moveTo>
                    <a:lnTo>
                      <a:pt x="0" y="490808"/>
                    </a:lnTo>
                    <a:lnTo>
                      <a:pt x="991323" y="490808"/>
                    </a:lnTo>
                    <a:lnTo>
                      <a:pt x="634920" y="0"/>
                    </a:lnTo>
                    <a:lnTo>
                      <a:pt x="356403"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0" name="Freeform 49">
                <a:extLst>
                  <a:ext uri="{FF2B5EF4-FFF2-40B4-BE49-F238E27FC236}">
                    <a16:creationId xmlns:a16="http://schemas.microsoft.com/office/drawing/2014/main" id="{CB3B4565-756A-94F4-6C47-8BD1BB42EB11}"/>
                  </a:ext>
                </a:extLst>
              </p:cNvPr>
              <p:cNvSpPr/>
              <p:nvPr/>
            </p:nvSpPr>
            <p:spPr>
              <a:xfrm>
                <a:off x="6546378" y="1385358"/>
                <a:ext cx="663110" cy="944387"/>
              </a:xfrm>
              <a:custGeom>
                <a:avLst/>
                <a:gdLst>
                  <a:gd name="connsiteX0" fmla="*/ 0 w 663110"/>
                  <a:gd name="connsiteY0" fmla="*/ 453661 h 944387"/>
                  <a:gd name="connsiteX1" fmla="*/ 356403 w 663110"/>
                  <a:gd name="connsiteY1" fmla="*/ 944388 h 944387"/>
                  <a:gd name="connsiteX2" fmla="*/ 663111 w 663110"/>
                  <a:gd name="connsiteY2" fmla="*/ 0 h 944387"/>
                  <a:gd name="connsiteX3" fmla="*/ 86503 w 663110"/>
                  <a:gd name="connsiteY3" fmla="*/ 187427 h 944387"/>
                  <a:gd name="connsiteX4" fmla="*/ 0 w 663110"/>
                  <a:gd name="connsiteY4" fmla="*/ 453661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0" y="453661"/>
                    </a:moveTo>
                    <a:lnTo>
                      <a:pt x="356403" y="944388"/>
                    </a:lnTo>
                    <a:lnTo>
                      <a:pt x="663111" y="0"/>
                    </a:lnTo>
                    <a:lnTo>
                      <a:pt x="86503" y="187427"/>
                    </a:lnTo>
                    <a:lnTo>
                      <a:pt x="0" y="453661"/>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B3F177A6-0E01-9C20-FBFC-9378F8DAC283}"/>
                  </a:ext>
                </a:extLst>
              </p:cNvPr>
              <p:cNvSpPr/>
              <p:nvPr/>
            </p:nvSpPr>
            <p:spPr>
              <a:xfrm>
                <a:off x="6390125" y="749427"/>
                <a:ext cx="804785" cy="772431"/>
              </a:xfrm>
              <a:custGeom>
                <a:avLst/>
                <a:gdLst>
                  <a:gd name="connsiteX0" fmla="*/ 228178 w 804785"/>
                  <a:gd name="connsiteY0" fmla="*/ 772432 h 772431"/>
                  <a:gd name="connsiteX1" fmla="*/ 804786 w 804785"/>
                  <a:gd name="connsiteY1" fmla="*/ 585005 h 772431"/>
                  <a:gd name="connsiteX2" fmla="*/ 0 w 804785"/>
                  <a:gd name="connsiteY2" fmla="*/ 0 h 772431"/>
                  <a:gd name="connsiteX3" fmla="*/ 0 w 804785"/>
                  <a:gd name="connsiteY3" fmla="*/ 606600 h 772431"/>
                  <a:gd name="connsiteX4" fmla="*/ 228178 w 804785"/>
                  <a:gd name="connsiteY4" fmla="*/ 772432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228178" y="772432"/>
                    </a:moveTo>
                    <a:lnTo>
                      <a:pt x="804786" y="585005"/>
                    </a:lnTo>
                    <a:lnTo>
                      <a:pt x="0" y="0"/>
                    </a:lnTo>
                    <a:lnTo>
                      <a:pt x="0" y="606600"/>
                    </a:lnTo>
                    <a:lnTo>
                      <a:pt x="228178" y="772432"/>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3063D270-6D87-F088-7B87-6968CCCB83D6}"/>
                  </a:ext>
                </a:extLst>
              </p:cNvPr>
              <p:cNvSpPr/>
              <p:nvPr/>
            </p:nvSpPr>
            <p:spPr>
              <a:xfrm>
                <a:off x="5517924" y="1385358"/>
                <a:ext cx="663110" cy="944387"/>
              </a:xfrm>
              <a:custGeom>
                <a:avLst/>
                <a:gdLst>
                  <a:gd name="connsiteX0" fmla="*/ 576608 w 663110"/>
                  <a:gd name="connsiteY0" fmla="*/ 187427 h 944387"/>
                  <a:gd name="connsiteX1" fmla="*/ 0 w 663110"/>
                  <a:gd name="connsiteY1" fmla="*/ 0 h 944387"/>
                  <a:gd name="connsiteX2" fmla="*/ 306708 w 663110"/>
                  <a:gd name="connsiteY2" fmla="*/ 944388 h 944387"/>
                  <a:gd name="connsiteX3" fmla="*/ 663111 w 663110"/>
                  <a:gd name="connsiteY3" fmla="*/ 453661 h 944387"/>
                  <a:gd name="connsiteX4" fmla="*/ 576608 w 663110"/>
                  <a:gd name="connsiteY4" fmla="*/ 187427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576608" y="187427"/>
                    </a:moveTo>
                    <a:lnTo>
                      <a:pt x="0" y="0"/>
                    </a:lnTo>
                    <a:lnTo>
                      <a:pt x="306708" y="944388"/>
                    </a:lnTo>
                    <a:lnTo>
                      <a:pt x="663111" y="453661"/>
                    </a:lnTo>
                    <a:lnTo>
                      <a:pt x="576608" y="18742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90D87BBE-299A-DB19-240B-B8DE5E20D388}"/>
                  </a:ext>
                </a:extLst>
              </p:cNvPr>
              <p:cNvSpPr/>
              <p:nvPr/>
            </p:nvSpPr>
            <p:spPr>
              <a:xfrm>
                <a:off x="5532502" y="749427"/>
                <a:ext cx="804785" cy="772431"/>
              </a:xfrm>
              <a:custGeom>
                <a:avLst/>
                <a:gdLst>
                  <a:gd name="connsiteX0" fmla="*/ 804786 w 804785"/>
                  <a:gd name="connsiteY0" fmla="*/ 606600 h 772431"/>
                  <a:gd name="connsiteX1" fmla="*/ 804786 w 804785"/>
                  <a:gd name="connsiteY1" fmla="*/ 0 h 772431"/>
                  <a:gd name="connsiteX2" fmla="*/ 0 w 804785"/>
                  <a:gd name="connsiteY2" fmla="*/ 585005 h 772431"/>
                  <a:gd name="connsiteX3" fmla="*/ 576608 w 804785"/>
                  <a:gd name="connsiteY3" fmla="*/ 772432 h 772431"/>
                  <a:gd name="connsiteX4" fmla="*/ 804786 w 804785"/>
                  <a:gd name="connsiteY4" fmla="*/ 606600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804786" y="606600"/>
                    </a:moveTo>
                    <a:lnTo>
                      <a:pt x="804786" y="0"/>
                    </a:lnTo>
                    <a:lnTo>
                      <a:pt x="0" y="585005"/>
                    </a:lnTo>
                    <a:lnTo>
                      <a:pt x="576608" y="772432"/>
                    </a:lnTo>
                    <a:lnTo>
                      <a:pt x="804786" y="60660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55" name="Text Placeholder 49">
            <a:extLst>
              <a:ext uri="{FF2B5EF4-FFF2-40B4-BE49-F238E27FC236}">
                <a16:creationId xmlns:a16="http://schemas.microsoft.com/office/drawing/2014/main" id="{065EAEF4-DD08-DC06-4CC6-70E3A855AF9E}"/>
              </a:ext>
            </a:extLst>
          </p:cNvPr>
          <p:cNvSpPr>
            <a:spLocks noGrp="1"/>
          </p:cNvSpPr>
          <p:nvPr>
            <p:ph type="body" sz="quarter" idx="23" hasCustomPrompt="1"/>
          </p:nvPr>
        </p:nvSpPr>
        <p:spPr>
          <a:xfrm>
            <a:off x="4267200" y="5524543"/>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57" name="Text Placeholder 49">
            <a:extLst>
              <a:ext uri="{FF2B5EF4-FFF2-40B4-BE49-F238E27FC236}">
                <a16:creationId xmlns:a16="http://schemas.microsoft.com/office/drawing/2014/main" id="{D7B2150D-3C24-DF90-F494-72C8594F2027}"/>
              </a:ext>
            </a:extLst>
          </p:cNvPr>
          <p:cNvSpPr>
            <a:spLocks noGrp="1"/>
          </p:cNvSpPr>
          <p:nvPr>
            <p:ph type="body" sz="quarter" idx="25" hasCustomPrompt="1"/>
          </p:nvPr>
        </p:nvSpPr>
        <p:spPr>
          <a:xfrm>
            <a:off x="914400" y="2595382"/>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59" name="Text Placeholder 49">
            <a:extLst>
              <a:ext uri="{FF2B5EF4-FFF2-40B4-BE49-F238E27FC236}">
                <a16:creationId xmlns:a16="http://schemas.microsoft.com/office/drawing/2014/main" id="{E0192D6A-04A8-297B-1B08-F66247B573CD}"/>
              </a:ext>
            </a:extLst>
          </p:cNvPr>
          <p:cNvSpPr>
            <a:spLocks noGrp="1"/>
          </p:cNvSpPr>
          <p:nvPr>
            <p:ph type="body" sz="quarter" idx="27" hasCustomPrompt="1"/>
          </p:nvPr>
        </p:nvSpPr>
        <p:spPr>
          <a:xfrm>
            <a:off x="914400" y="4051738"/>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1" name="Text Placeholder 49">
            <a:extLst>
              <a:ext uri="{FF2B5EF4-FFF2-40B4-BE49-F238E27FC236}">
                <a16:creationId xmlns:a16="http://schemas.microsoft.com/office/drawing/2014/main" id="{4EC3D775-4734-E994-CAEC-41BE91C51517}"/>
              </a:ext>
            </a:extLst>
          </p:cNvPr>
          <p:cNvSpPr>
            <a:spLocks noGrp="1"/>
          </p:cNvSpPr>
          <p:nvPr>
            <p:ph type="body" sz="quarter" idx="29" hasCustomPrompt="1"/>
          </p:nvPr>
        </p:nvSpPr>
        <p:spPr>
          <a:xfrm>
            <a:off x="7696200" y="2595382"/>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3" name="Text Placeholder 49">
            <a:extLst>
              <a:ext uri="{FF2B5EF4-FFF2-40B4-BE49-F238E27FC236}">
                <a16:creationId xmlns:a16="http://schemas.microsoft.com/office/drawing/2014/main" id="{D2168063-C5AE-D59C-DE7C-17B224056CDD}"/>
              </a:ext>
            </a:extLst>
          </p:cNvPr>
          <p:cNvSpPr>
            <a:spLocks noGrp="1"/>
          </p:cNvSpPr>
          <p:nvPr>
            <p:ph type="body" sz="quarter" idx="31" hasCustomPrompt="1"/>
          </p:nvPr>
        </p:nvSpPr>
        <p:spPr>
          <a:xfrm>
            <a:off x="7696200" y="4051738"/>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3" name="Content Placeholder 17">
            <a:extLst>
              <a:ext uri="{FF2B5EF4-FFF2-40B4-BE49-F238E27FC236}">
                <a16:creationId xmlns:a16="http://schemas.microsoft.com/office/drawing/2014/main" id="{0F3C5750-999E-8492-E767-548AC74AC1C4}"/>
              </a:ext>
            </a:extLst>
          </p:cNvPr>
          <p:cNvSpPr>
            <a:spLocks noGrp="1"/>
          </p:cNvSpPr>
          <p:nvPr>
            <p:ph sz="quarter" idx="63"/>
          </p:nvPr>
        </p:nvSpPr>
        <p:spPr>
          <a:xfrm>
            <a:off x="9144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075E05A-D203-024D-A2A2-A35D946715BA}"/>
              </a:ext>
            </a:extLst>
          </p:cNvPr>
          <p:cNvSpPr>
            <a:spLocks noGrp="1"/>
          </p:cNvSpPr>
          <p:nvPr>
            <p:ph sz="quarter" idx="65"/>
          </p:nvPr>
        </p:nvSpPr>
        <p:spPr>
          <a:xfrm>
            <a:off x="76962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0AAA2600-1C1B-C69E-B3BA-B89A0ADAEBE4}"/>
              </a:ext>
            </a:extLst>
          </p:cNvPr>
          <p:cNvSpPr>
            <a:spLocks noGrp="1"/>
          </p:cNvSpPr>
          <p:nvPr>
            <p:ph sz="quarter" idx="66"/>
          </p:nvPr>
        </p:nvSpPr>
        <p:spPr>
          <a:xfrm>
            <a:off x="9144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F00730-FCDD-B79A-94E7-BD4AFBDB145F}"/>
              </a:ext>
            </a:extLst>
          </p:cNvPr>
          <p:cNvSpPr>
            <a:spLocks noGrp="1"/>
          </p:cNvSpPr>
          <p:nvPr>
            <p:ph sz="quarter" idx="67"/>
          </p:nvPr>
        </p:nvSpPr>
        <p:spPr>
          <a:xfrm>
            <a:off x="76962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946AC224-FDB3-4048-3D0F-EB1A4A4DF9DC}"/>
              </a:ext>
            </a:extLst>
          </p:cNvPr>
          <p:cNvSpPr>
            <a:spLocks noGrp="1"/>
          </p:cNvSpPr>
          <p:nvPr>
            <p:ph sz="quarter" idx="68"/>
          </p:nvPr>
        </p:nvSpPr>
        <p:spPr>
          <a:xfrm>
            <a:off x="4267200" y="58674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676832895"/>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Six point hex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Six points - hex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529A6C24-BAAB-0684-EBE2-6759201829BB}"/>
              </a:ext>
            </a:extLst>
          </p:cNvPr>
          <p:cNvGrpSpPr/>
          <p:nvPr/>
        </p:nvGrpSpPr>
        <p:grpSpPr>
          <a:xfrm>
            <a:off x="815975" y="2337351"/>
            <a:ext cx="10620375" cy="3331825"/>
            <a:chOff x="815975" y="2032551"/>
            <a:chExt cx="10620375" cy="3331825"/>
          </a:xfrm>
        </p:grpSpPr>
        <p:cxnSp>
          <p:nvCxnSpPr>
            <p:cNvPr id="56" name="Straight Connector 55">
              <a:extLst>
                <a:ext uri="{FF2B5EF4-FFF2-40B4-BE49-F238E27FC236}">
                  <a16:creationId xmlns:a16="http://schemas.microsoft.com/office/drawing/2014/main" id="{84549077-8C63-7ADD-8836-74348AB7C9B1}"/>
                </a:ext>
              </a:extLst>
            </p:cNvPr>
            <p:cNvCxnSpPr>
              <a:cxnSpLocks/>
            </p:cNvCxnSpPr>
            <p:nvPr/>
          </p:nvCxnSpPr>
          <p:spPr>
            <a:xfrm flipV="1">
              <a:off x="6125454" y="2032551"/>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0B41AAA-CBBE-6DFA-984F-71E63893EFC9}"/>
                </a:ext>
              </a:extLst>
            </p:cNvPr>
            <p:cNvCxnSpPr>
              <a:cxnSpLocks/>
            </p:cNvCxnSpPr>
            <p:nvPr/>
          </p:nvCxnSpPr>
          <p:spPr>
            <a:xfrm>
              <a:off x="6995461" y="297749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A28389-8E31-2964-B966-7D40D456A575}"/>
                </a:ext>
              </a:extLst>
            </p:cNvPr>
            <p:cNvCxnSpPr>
              <a:cxnSpLocks/>
            </p:cNvCxnSpPr>
            <p:nvPr/>
          </p:nvCxnSpPr>
          <p:spPr>
            <a:xfrm flipH="1">
              <a:off x="815975" y="296346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CA30902-AB6E-3782-F9D4-4F41087E663B}"/>
                </a:ext>
              </a:extLst>
            </p:cNvPr>
            <p:cNvCxnSpPr>
              <a:cxnSpLocks/>
            </p:cNvCxnSpPr>
            <p:nvPr/>
          </p:nvCxnSpPr>
          <p:spPr>
            <a:xfrm>
              <a:off x="6145778" y="4268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6C31BE-013C-8689-C9DB-6BDA3EE6E339}"/>
                </a:ext>
              </a:extLst>
            </p:cNvPr>
            <p:cNvCxnSpPr>
              <a:cxnSpLocks/>
            </p:cNvCxnSpPr>
            <p:nvPr/>
          </p:nvCxnSpPr>
          <p:spPr>
            <a:xfrm>
              <a:off x="6995461" y="44095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BB17F0-0023-5B1E-E111-1BD43FF4F82A}"/>
                </a:ext>
              </a:extLst>
            </p:cNvPr>
            <p:cNvCxnSpPr>
              <a:cxnSpLocks/>
            </p:cNvCxnSpPr>
            <p:nvPr/>
          </p:nvCxnSpPr>
          <p:spPr>
            <a:xfrm flipH="1">
              <a:off x="815975" y="43955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5C5DA5BD-5C15-9FA7-6A21-DE4BCDEEBCC7}"/>
                </a:ext>
              </a:extLst>
            </p:cNvPr>
            <p:cNvGrpSpPr/>
            <p:nvPr/>
          </p:nvGrpSpPr>
          <p:grpSpPr>
            <a:xfrm>
              <a:off x="4561708" y="2277806"/>
              <a:ext cx="3168140" cy="2782036"/>
              <a:chOff x="7397879" y="730250"/>
              <a:chExt cx="1866261" cy="1638818"/>
            </a:xfrm>
          </p:grpSpPr>
          <p:sp>
            <p:nvSpPr>
              <p:cNvPr id="50" name="Freeform 49">
                <a:extLst>
                  <a:ext uri="{FF2B5EF4-FFF2-40B4-BE49-F238E27FC236}">
                    <a16:creationId xmlns:a16="http://schemas.microsoft.com/office/drawing/2014/main" id="{BF7E2AB7-E273-7D11-FF1E-686D88BB8DA2}"/>
                  </a:ext>
                </a:extLst>
              </p:cNvPr>
              <p:cNvSpPr/>
              <p:nvPr/>
            </p:nvSpPr>
            <p:spPr>
              <a:xfrm>
                <a:off x="8502365" y="752167"/>
                <a:ext cx="753882" cy="765743"/>
              </a:xfrm>
              <a:custGeom>
                <a:avLst/>
                <a:gdLst>
                  <a:gd name="connsiteX0" fmla="*/ 127258 w 753882"/>
                  <a:gd name="connsiteY0" fmla="*/ 765744 h 765743"/>
                  <a:gd name="connsiteX1" fmla="*/ 753882 w 753882"/>
                  <a:gd name="connsiteY1" fmla="*/ 764213 h 765743"/>
                  <a:gd name="connsiteX2" fmla="*/ 312909 w 753882"/>
                  <a:gd name="connsiteY2" fmla="*/ 0 h 765743"/>
                  <a:gd name="connsiteX3" fmla="*/ 0 w 753882"/>
                  <a:gd name="connsiteY3" fmla="*/ 545199 h 765743"/>
                  <a:gd name="connsiteX4" fmla="*/ 127258 w 753882"/>
                  <a:gd name="connsiteY4" fmla="*/ 765744 h 76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882" h="765743">
                    <a:moveTo>
                      <a:pt x="127258" y="765744"/>
                    </a:moveTo>
                    <a:lnTo>
                      <a:pt x="753882" y="764213"/>
                    </a:lnTo>
                    <a:lnTo>
                      <a:pt x="312909" y="0"/>
                    </a:lnTo>
                    <a:lnTo>
                      <a:pt x="0" y="545199"/>
                    </a:lnTo>
                    <a:lnTo>
                      <a:pt x="127258" y="765744"/>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DB611C49-D140-F25F-F43F-56E0012052A1}"/>
                  </a:ext>
                </a:extLst>
              </p:cNvPr>
              <p:cNvSpPr/>
              <p:nvPr/>
            </p:nvSpPr>
            <p:spPr>
              <a:xfrm>
                <a:off x="7400617" y="756679"/>
                <a:ext cx="755573" cy="764212"/>
              </a:xfrm>
              <a:custGeom>
                <a:avLst/>
                <a:gdLst>
                  <a:gd name="connsiteX0" fmla="*/ 755574 w 755573"/>
                  <a:gd name="connsiteY0" fmla="*/ 542137 h 764212"/>
                  <a:gd name="connsiteX1" fmla="*/ 440973 w 755573"/>
                  <a:gd name="connsiteY1" fmla="*/ 0 h 764212"/>
                  <a:gd name="connsiteX2" fmla="*/ 0 w 755573"/>
                  <a:gd name="connsiteY2" fmla="*/ 764213 h 764212"/>
                  <a:gd name="connsiteX3" fmla="*/ 628316 w 755573"/>
                  <a:gd name="connsiteY3" fmla="*/ 762682 h 764212"/>
                  <a:gd name="connsiteX4" fmla="*/ 755574 w 755573"/>
                  <a:gd name="connsiteY4" fmla="*/ 542137 h 764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573" h="764212">
                    <a:moveTo>
                      <a:pt x="755574" y="542137"/>
                    </a:moveTo>
                    <a:lnTo>
                      <a:pt x="440973" y="0"/>
                    </a:lnTo>
                    <a:lnTo>
                      <a:pt x="0" y="764213"/>
                    </a:lnTo>
                    <a:lnTo>
                      <a:pt x="628316" y="762682"/>
                    </a:lnTo>
                    <a:lnTo>
                      <a:pt x="755574" y="54213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9A3FD2F2-AC0C-F3EA-5956-6E969BC4963B}"/>
                  </a:ext>
                </a:extLst>
              </p:cNvPr>
              <p:cNvSpPr/>
              <p:nvPr/>
            </p:nvSpPr>
            <p:spPr>
              <a:xfrm>
                <a:off x="7887338" y="1825401"/>
                <a:ext cx="890000" cy="543667"/>
              </a:xfrm>
              <a:custGeom>
                <a:avLst/>
                <a:gdLst>
                  <a:gd name="connsiteX0" fmla="*/ 312024 w 890000"/>
                  <a:gd name="connsiteY0" fmla="*/ 0 h 543667"/>
                  <a:gd name="connsiteX1" fmla="*/ 0 w 890000"/>
                  <a:gd name="connsiteY1" fmla="*/ 543668 h 543667"/>
                  <a:gd name="connsiteX2" fmla="*/ 890000 w 890000"/>
                  <a:gd name="connsiteY2" fmla="*/ 543668 h 543667"/>
                  <a:gd name="connsiteX3" fmla="*/ 574513 w 890000"/>
                  <a:gd name="connsiteY3" fmla="*/ 0 h 543667"/>
                  <a:gd name="connsiteX4" fmla="*/ 312024 w 890000"/>
                  <a:gd name="connsiteY4" fmla="*/ 0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00" h="543667">
                    <a:moveTo>
                      <a:pt x="312024" y="0"/>
                    </a:moveTo>
                    <a:lnTo>
                      <a:pt x="0" y="543668"/>
                    </a:lnTo>
                    <a:lnTo>
                      <a:pt x="890000" y="543668"/>
                    </a:lnTo>
                    <a:lnTo>
                      <a:pt x="574513" y="0"/>
                    </a:lnTo>
                    <a:lnTo>
                      <a:pt x="312024" y="0"/>
                    </a:lnTo>
                    <a:close/>
                  </a:path>
                </a:pathLst>
              </a:custGeom>
              <a:solidFill>
                <a:schemeClr val="accent5"/>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71D90DE7-F2BF-D3B6-8ABA-753BB64C7217}"/>
                  </a:ext>
                </a:extLst>
              </p:cNvPr>
              <p:cNvSpPr/>
              <p:nvPr/>
            </p:nvSpPr>
            <p:spPr>
              <a:xfrm>
                <a:off x="7887419" y="730250"/>
                <a:ext cx="879449" cy="543667"/>
              </a:xfrm>
              <a:custGeom>
                <a:avLst/>
                <a:gdLst>
                  <a:gd name="connsiteX0" fmla="*/ 567426 w 879449"/>
                  <a:gd name="connsiteY0" fmla="*/ 543668 h 543667"/>
                  <a:gd name="connsiteX1" fmla="*/ 879449 w 879449"/>
                  <a:gd name="connsiteY1" fmla="*/ 0 h 543667"/>
                  <a:gd name="connsiteX2" fmla="*/ 0 w 879449"/>
                  <a:gd name="connsiteY2" fmla="*/ 0 h 543667"/>
                  <a:gd name="connsiteX3" fmla="*/ 315487 w 879449"/>
                  <a:gd name="connsiteY3" fmla="*/ 543668 h 543667"/>
                  <a:gd name="connsiteX4" fmla="*/ 567426 w 879449"/>
                  <a:gd name="connsiteY4" fmla="*/ 543668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449" h="543667">
                    <a:moveTo>
                      <a:pt x="567426" y="543668"/>
                    </a:moveTo>
                    <a:lnTo>
                      <a:pt x="879449" y="0"/>
                    </a:lnTo>
                    <a:lnTo>
                      <a:pt x="0" y="0"/>
                    </a:lnTo>
                    <a:lnTo>
                      <a:pt x="315487" y="543668"/>
                    </a:lnTo>
                    <a:lnTo>
                      <a:pt x="567426" y="543668"/>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4" name="Freeform 53">
                <a:extLst>
                  <a:ext uri="{FF2B5EF4-FFF2-40B4-BE49-F238E27FC236}">
                    <a16:creationId xmlns:a16="http://schemas.microsoft.com/office/drawing/2014/main" id="{5416BCBB-81E0-E746-F180-1105A68A77D8}"/>
                  </a:ext>
                </a:extLst>
              </p:cNvPr>
              <p:cNvSpPr/>
              <p:nvPr/>
            </p:nvSpPr>
            <p:spPr>
              <a:xfrm>
                <a:off x="7397879" y="1572302"/>
                <a:ext cx="756540" cy="770256"/>
              </a:xfrm>
              <a:custGeom>
                <a:avLst/>
                <a:gdLst>
                  <a:gd name="connsiteX0" fmla="*/ 626625 w 756540"/>
                  <a:gd name="connsiteY0" fmla="*/ 0 h 770256"/>
                  <a:gd name="connsiteX1" fmla="*/ 0 w 756540"/>
                  <a:gd name="connsiteY1" fmla="*/ 1531 h 770256"/>
                  <a:gd name="connsiteX2" fmla="*/ 443711 w 756540"/>
                  <a:gd name="connsiteY2" fmla="*/ 770256 h 770256"/>
                  <a:gd name="connsiteX3" fmla="*/ 756540 w 756540"/>
                  <a:gd name="connsiteY3" fmla="*/ 225138 h 770256"/>
                  <a:gd name="connsiteX4" fmla="*/ 626625 w 756540"/>
                  <a:gd name="connsiteY4" fmla="*/ 0 h 77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540" h="770256">
                    <a:moveTo>
                      <a:pt x="626625" y="0"/>
                    </a:moveTo>
                    <a:lnTo>
                      <a:pt x="0" y="1531"/>
                    </a:lnTo>
                    <a:lnTo>
                      <a:pt x="443711" y="770256"/>
                    </a:lnTo>
                    <a:lnTo>
                      <a:pt x="756540" y="225138"/>
                    </a:lnTo>
                    <a:lnTo>
                      <a:pt x="626625" y="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5" name="Freeform 54">
                <a:extLst>
                  <a:ext uri="{FF2B5EF4-FFF2-40B4-BE49-F238E27FC236}">
                    <a16:creationId xmlns:a16="http://schemas.microsoft.com/office/drawing/2014/main" id="{EF22FEBA-171F-5F35-FF8B-AEA93595A3A0}"/>
                  </a:ext>
                </a:extLst>
              </p:cNvPr>
              <p:cNvSpPr/>
              <p:nvPr/>
            </p:nvSpPr>
            <p:spPr>
              <a:xfrm>
                <a:off x="8505828" y="1569240"/>
                <a:ext cx="758312" cy="768805"/>
              </a:xfrm>
              <a:custGeom>
                <a:avLst/>
                <a:gdLst>
                  <a:gd name="connsiteX0" fmla="*/ 0 w 758312"/>
                  <a:gd name="connsiteY0" fmla="*/ 226669 h 768805"/>
                  <a:gd name="connsiteX1" fmla="*/ 314682 w 758312"/>
                  <a:gd name="connsiteY1" fmla="*/ 768806 h 768805"/>
                  <a:gd name="connsiteX2" fmla="*/ 758312 w 758312"/>
                  <a:gd name="connsiteY2" fmla="*/ 0 h 768805"/>
                  <a:gd name="connsiteX3" fmla="*/ 129916 w 758312"/>
                  <a:gd name="connsiteY3" fmla="*/ 1531 h 768805"/>
                  <a:gd name="connsiteX4" fmla="*/ 0 w 758312"/>
                  <a:gd name="connsiteY4" fmla="*/ 226669 h 768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12" h="768805">
                    <a:moveTo>
                      <a:pt x="0" y="226669"/>
                    </a:moveTo>
                    <a:lnTo>
                      <a:pt x="314682" y="768806"/>
                    </a:lnTo>
                    <a:lnTo>
                      <a:pt x="758312" y="0"/>
                    </a:lnTo>
                    <a:lnTo>
                      <a:pt x="129916" y="1531"/>
                    </a:lnTo>
                    <a:lnTo>
                      <a:pt x="0" y="226669"/>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60" name="Text Placeholder 49">
            <a:extLst>
              <a:ext uri="{FF2B5EF4-FFF2-40B4-BE49-F238E27FC236}">
                <a16:creationId xmlns:a16="http://schemas.microsoft.com/office/drawing/2014/main" id="{1A3EB3BA-2E32-CE01-73B6-7B1747104B14}"/>
              </a:ext>
            </a:extLst>
          </p:cNvPr>
          <p:cNvSpPr>
            <a:spLocks noGrp="1"/>
          </p:cNvSpPr>
          <p:nvPr>
            <p:ph type="body" sz="quarter" idx="25" hasCustomPrompt="1"/>
          </p:nvPr>
        </p:nvSpPr>
        <p:spPr>
          <a:xfrm>
            <a:off x="914400" y="2992363"/>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2" name="Text Placeholder 49">
            <a:extLst>
              <a:ext uri="{FF2B5EF4-FFF2-40B4-BE49-F238E27FC236}">
                <a16:creationId xmlns:a16="http://schemas.microsoft.com/office/drawing/2014/main" id="{A67F4953-ED25-FC75-A20A-7F3BC4396EF0}"/>
              </a:ext>
            </a:extLst>
          </p:cNvPr>
          <p:cNvSpPr>
            <a:spLocks noGrp="1"/>
          </p:cNvSpPr>
          <p:nvPr>
            <p:ph type="body" sz="quarter" idx="27" hasCustomPrompt="1"/>
          </p:nvPr>
        </p:nvSpPr>
        <p:spPr>
          <a:xfrm>
            <a:off x="914400" y="4448719"/>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64" name="Text Placeholder 49">
            <a:extLst>
              <a:ext uri="{FF2B5EF4-FFF2-40B4-BE49-F238E27FC236}">
                <a16:creationId xmlns:a16="http://schemas.microsoft.com/office/drawing/2014/main" id="{00C17830-FBA9-2FD8-515E-EEAB08573018}"/>
              </a:ext>
            </a:extLst>
          </p:cNvPr>
          <p:cNvSpPr>
            <a:spLocks noGrp="1"/>
          </p:cNvSpPr>
          <p:nvPr>
            <p:ph type="body" sz="quarter" idx="29" hasCustomPrompt="1"/>
          </p:nvPr>
        </p:nvSpPr>
        <p:spPr>
          <a:xfrm>
            <a:off x="7696200" y="2992363"/>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6" name="Text Placeholder 49">
            <a:extLst>
              <a:ext uri="{FF2B5EF4-FFF2-40B4-BE49-F238E27FC236}">
                <a16:creationId xmlns:a16="http://schemas.microsoft.com/office/drawing/2014/main" id="{C224497E-4393-BB1D-F792-E204F622C57B}"/>
              </a:ext>
            </a:extLst>
          </p:cNvPr>
          <p:cNvSpPr>
            <a:spLocks noGrp="1"/>
          </p:cNvSpPr>
          <p:nvPr>
            <p:ph type="body" sz="quarter" idx="31" hasCustomPrompt="1"/>
          </p:nvPr>
        </p:nvSpPr>
        <p:spPr>
          <a:xfrm>
            <a:off x="7696200" y="4448719"/>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68" name="Text Placeholder 49">
            <a:extLst>
              <a:ext uri="{FF2B5EF4-FFF2-40B4-BE49-F238E27FC236}">
                <a16:creationId xmlns:a16="http://schemas.microsoft.com/office/drawing/2014/main" id="{53EE0B44-7239-F56A-C82D-9B26C7A3DD48}"/>
              </a:ext>
            </a:extLst>
          </p:cNvPr>
          <p:cNvSpPr>
            <a:spLocks noGrp="1"/>
          </p:cNvSpPr>
          <p:nvPr>
            <p:ph type="body" sz="quarter" idx="33" hasCustomPrompt="1"/>
          </p:nvPr>
        </p:nvSpPr>
        <p:spPr>
          <a:xfrm>
            <a:off x="4297362" y="5773793"/>
            <a:ext cx="3657600" cy="282497"/>
          </a:xfrm>
        </p:spPr>
        <p:txBody>
          <a:bodyPr>
            <a:normAutofit/>
          </a:bodyPr>
          <a:lstStyle>
            <a:lvl1pPr marL="0" indent="0" algn="ctr">
              <a:buNone/>
              <a:defRPr sz="1400" b="1">
                <a:solidFill>
                  <a:schemeClr val="accent4">
                    <a:lumMod val="40000"/>
                    <a:lumOff val="60000"/>
                  </a:schemeClr>
                </a:solidFill>
              </a:defRPr>
            </a:lvl1pPr>
          </a:lstStyle>
          <a:p>
            <a:pPr lvl="0"/>
            <a:r>
              <a:rPr lang="en-US"/>
              <a:t>Lorem ipsum dolor</a:t>
            </a:r>
          </a:p>
        </p:txBody>
      </p:sp>
      <p:sp>
        <p:nvSpPr>
          <p:cNvPr id="70" name="Text Placeholder 49">
            <a:extLst>
              <a:ext uri="{FF2B5EF4-FFF2-40B4-BE49-F238E27FC236}">
                <a16:creationId xmlns:a16="http://schemas.microsoft.com/office/drawing/2014/main" id="{65E30090-D797-F8A4-3DAA-BF62BEC39ECA}"/>
              </a:ext>
            </a:extLst>
          </p:cNvPr>
          <p:cNvSpPr>
            <a:spLocks noGrp="1"/>
          </p:cNvSpPr>
          <p:nvPr>
            <p:ph type="body" sz="quarter" idx="35" hasCustomPrompt="1"/>
          </p:nvPr>
        </p:nvSpPr>
        <p:spPr>
          <a:xfrm>
            <a:off x="4297362" y="1676400"/>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3" name="Content Placeholder 17">
            <a:extLst>
              <a:ext uri="{FF2B5EF4-FFF2-40B4-BE49-F238E27FC236}">
                <a16:creationId xmlns:a16="http://schemas.microsoft.com/office/drawing/2014/main" id="{8018D6FB-84B8-6656-1958-EC93B6BB6A81}"/>
              </a:ext>
            </a:extLst>
          </p:cNvPr>
          <p:cNvSpPr>
            <a:spLocks noGrp="1"/>
          </p:cNvSpPr>
          <p:nvPr>
            <p:ph sz="quarter" idx="63"/>
          </p:nvPr>
        </p:nvSpPr>
        <p:spPr>
          <a:xfrm>
            <a:off x="9144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39F294F-4697-EA60-326C-0313625DD9E4}"/>
              </a:ext>
            </a:extLst>
          </p:cNvPr>
          <p:cNvSpPr>
            <a:spLocks noGrp="1"/>
          </p:cNvSpPr>
          <p:nvPr>
            <p:ph sz="quarter" idx="65"/>
          </p:nvPr>
        </p:nvSpPr>
        <p:spPr>
          <a:xfrm>
            <a:off x="76962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E4EF4A07-04A9-4C41-85C0-9AAEA2AA9F79}"/>
              </a:ext>
            </a:extLst>
          </p:cNvPr>
          <p:cNvSpPr>
            <a:spLocks noGrp="1"/>
          </p:cNvSpPr>
          <p:nvPr>
            <p:ph sz="quarter" idx="66"/>
          </p:nvPr>
        </p:nvSpPr>
        <p:spPr>
          <a:xfrm>
            <a:off x="9144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8C45EF-EC43-18A8-EFCC-A3D16F4BD3BC}"/>
              </a:ext>
            </a:extLst>
          </p:cNvPr>
          <p:cNvSpPr>
            <a:spLocks noGrp="1"/>
          </p:cNvSpPr>
          <p:nvPr>
            <p:ph sz="quarter" idx="67"/>
          </p:nvPr>
        </p:nvSpPr>
        <p:spPr>
          <a:xfrm>
            <a:off x="76962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BE020CF3-9BAB-B221-CD07-5F51CBC44D0D}"/>
              </a:ext>
            </a:extLst>
          </p:cNvPr>
          <p:cNvSpPr>
            <a:spLocks noGrp="1"/>
          </p:cNvSpPr>
          <p:nvPr>
            <p:ph sz="quarter" idx="68"/>
          </p:nvPr>
        </p:nvSpPr>
        <p:spPr>
          <a:xfrm>
            <a:off x="4297362" y="19812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9" name="Content Placeholder 17">
            <a:extLst>
              <a:ext uri="{FF2B5EF4-FFF2-40B4-BE49-F238E27FC236}">
                <a16:creationId xmlns:a16="http://schemas.microsoft.com/office/drawing/2014/main" id="{65A92143-8E2C-FEB0-63C4-184A9BF6D99D}"/>
              </a:ext>
            </a:extLst>
          </p:cNvPr>
          <p:cNvSpPr>
            <a:spLocks noGrp="1"/>
          </p:cNvSpPr>
          <p:nvPr>
            <p:ph sz="quarter" idx="69"/>
          </p:nvPr>
        </p:nvSpPr>
        <p:spPr>
          <a:xfrm>
            <a:off x="4297362" y="60960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3970066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2" name="Text Placeholder 5">
            <a:extLst>
              <a:ext uri="{FF2B5EF4-FFF2-40B4-BE49-F238E27FC236}">
                <a16:creationId xmlns:a16="http://schemas.microsoft.com/office/drawing/2014/main" id="{15476F96-96A3-F297-64CD-A68870CAC866}"/>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3" name="Rectangle 2">
            <a:extLst>
              <a:ext uri="{FF2B5EF4-FFF2-40B4-BE49-F238E27FC236}">
                <a16:creationId xmlns:a16="http://schemas.microsoft.com/office/drawing/2014/main" id="{C9F37950-57D5-285F-ED6F-B80D85ADAC01}"/>
              </a:ext>
            </a:extLst>
          </p:cNvPr>
          <p:cNvSpPr/>
          <p:nvPr userDrawn="1"/>
        </p:nvSpPr>
        <p:spPr>
          <a:xfrm>
            <a:off x="8075966" y="-950927"/>
            <a:ext cx="4116033" cy="7799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Mix and match color only divider slides</a:t>
            </a: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187131" y="687949"/>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69166504"/>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1_Thank you layout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839025" y="1391950"/>
            <a:ext cx="10393300" cy="1015663"/>
          </a:xfrm>
          <a:prstGeom prst="rect">
            <a:avLst/>
          </a:prstGeom>
        </p:spPr>
        <p:txBody>
          <a:bodyPr wrap="square" anchor="ctr">
            <a:spAutoFit/>
          </a:bodyPr>
          <a:lstStyle>
            <a:lvl1pPr marL="0" indent="0">
              <a:buNone/>
              <a:defRPr sz="6600" b="0" cap="none" baseline="0">
                <a:solidFill>
                  <a:schemeClr val="tx2"/>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68442" y="650876"/>
            <a:ext cx="1232678" cy="518322"/>
          </a:xfrm>
          <a:prstGeom prst="rect">
            <a:avLst/>
          </a:prstGeom>
        </p:spPr>
      </p:pic>
      <p:sp>
        <p:nvSpPr>
          <p:cNvPr id="5" name="Text Placeholder 4">
            <a:extLst>
              <a:ext uri="{FF2B5EF4-FFF2-40B4-BE49-F238E27FC236}">
                <a16:creationId xmlns:a16="http://schemas.microsoft.com/office/drawing/2014/main" id="{3EEB8C43-C848-DE90-1566-2D3E4C5123AB}"/>
              </a:ext>
            </a:extLst>
          </p:cNvPr>
          <p:cNvSpPr>
            <a:spLocks noGrp="1"/>
          </p:cNvSpPr>
          <p:nvPr>
            <p:ph type="body" sz="quarter" idx="11" hasCustomPrompt="1"/>
          </p:nvPr>
        </p:nvSpPr>
        <p:spPr>
          <a:xfrm>
            <a:off x="932797" y="2842932"/>
            <a:ext cx="8065706" cy="355854"/>
          </a:xfrm>
        </p:spPr>
        <p:txBody>
          <a:bodyPr anchor="ctr"/>
          <a:lstStyle>
            <a:lvl1pPr marL="0" indent="0">
              <a:buNone/>
              <a:defRPr b="1">
                <a:solidFill>
                  <a:schemeClr val="bg1"/>
                </a:solidFill>
              </a:defRPr>
            </a:lvl1pPr>
          </a:lstStyle>
          <a:p>
            <a:pPr lvl="0"/>
            <a:r>
              <a:rPr lang="en-US"/>
              <a:t>Name</a:t>
            </a:r>
          </a:p>
        </p:txBody>
      </p:sp>
      <p:sp>
        <p:nvSpPr>
          <p:cNvPr id="6" name="Text Placeholder 4">
            <a:extLst>
              <a:ext uri="{FF2B5EF4-FFF2-40B4-BE49-F238E27FC236}">
                <a16:creationId xmlns:a16="http://schemas.microsoft.com/office/drawing/2014/main" id="{8041476A-8FF9-4034-8FB0-F3D7A6A135EC}"/>
              </a:ext>
            </a:extLst>
          </p:cNvPr>
          <p:cNvSpPr>
            <a:spLocks noGrp="1"/>
          </p:cNvSpPr>
          <p:nvPr>
            <p:ph type="body" sz="quarter" idx="12" hasCustomPrompt="1"/>
          </p:nvPr>
        </p:nvSpPr>
        <p:spPr>
          <a:xfrm>
            <a:off x="920605" y="3315372"/>
            <a:ext cx="8065706" cy="355854"/>
          </a:xfrm>
        </p:spPr>
        <p:txBody>
          <a:bodyPr anchor="ctr"/>
          <a:lstStyle>
            <a:lvl1pPr marL="0" indent="0">
              <a:buNone/>
              <a:defRPr>
                <a:solidFill>
                  <a:schemeClr val="bg1"/>
                </a:solidFill>
              </a:defRPr>
            </a:lvl1pPr>
          </a:lstStyle>
          <a:p>
            <a:pPr lvl="0"/>
            <a:r>
              <a:rPr lang="en-US"/>
              <a:t>Title</a:t>
            </a:r>
          </a:p>
        </p:txBody>
      </p:sp>
      <p:sp>
        <p:nvSpPr>
          <p:cNvPr id="8" name="Text Placeholder 4">
            <a:extLst>
              <a:ext uri="{FF2B5EF4-FFF2-40B4-BE49-F238E27FC236}">
                <a16:creationId xmlns:a16="http://schemas.microsoft.com/office/drawing/2014/main" id="{C15B972D-114C-6199-6A8D-0BF0E48C2C11}"/>
              </a:ext>
            </a:extLst>
          </p:cNvPr>
          <p:cNvSpPr>
            <a:spLocks noGrp="1"/>
          </p:cNvSpPr>
          <p:nvPr>
            <p:ph type="body" sz="quarter" idx="13" hasCustomPrompt="1"/>
          </p:nvPr>
        </p:nvSpPr>
        <p:spPr>
          <a:xfrm>
            <a:off x="908413" y="3742092"/>
            <a:ext cx="8065706" cy="736854"/>
          </a:xfrm>
        </p:spPr>
        <p:txBody>
          <a:bodyPr anchor="ctr"/>
          <a:lstStyle>
            <a:lvl1pPr marL="0" indent="0">
              <a:buNone/>
              <a:defRPr>
                <a:solidFill>
                  <a:schemeClr val="bg1"/>
                </a:solidFill>
              </a:defRPr>
            </a:lvl1pPr>
          </a:lstStyle>
          <a:p>
            <a:pPr lvl="0"/>
            <a:r>
              <a:rPr lang="en-US"/>
              <a:t>Address Line 1</a:t>
            </a:r>
          </a:p>
          <a:p>
            <a:pPr lvl="0"/>
            <a:r>
              <a:rPr lang="en-US"/>
              <a:t>Address Line 2</a:t>
            </a:r>
          </a:p>
        </p:txBody>
      </p:sp>
      <p:sp>
        <p:nvSpPr>
          <p:cNvPr id="10" name="Text Placeholder 4">
            <a:extLst>
              <a:ext uri="{FF2B5EF4-FFF2-40B4-BE49-F238E27FC236}">
                <a16:creationId xmlns:a16="http://schemas.microsoft.com/office/drawing/2014/main" id="{4E3DDED4-B3C0-E201-4CAB-7178200F3015}"/>
              </a:ext>
            </a:extLst>
          </p:cNvPr>
          <p:cNvSpPr>
            <a:spLocks noGrp="1"/>
          </p:cNvSpPr>
          <p:nvPr>
            <p:ph type="body" sz="quarter" idx="14" hasCustomPrompt="1"/>
          </p:nvPr>
        </p:nvSpPr>
        <p:spPr>
          <a:xfrm>
            <a:off x="902317" y="4558956"/>
            <a:ext cx="8065706" cy="355854"/>
          </a:xfrm>
        </p:spPr>
        <p:txBody>
          <a:bodyPr anchor="ctr"/>
          <a:lstStyle>
            <a:lvl1pPr marL="0" indent="0">
              <a:buNone/>
              <a:defRPr>
                <a:solidFill>
                  <a:schemeClr val="bg1"/>
                </a:solidFill>
              </a:defRPr>
            </a:lvl1pPr>
          </a:lstStyle>
          <a:p>
            <a:pPr lvl="0"/>
            <a:r>
              <a:rPr lang="en-US"/>
              <a:t>Cell</a:t>
            </a:r>
          </a:p>
        </p:txBody>
      </p:sp>
      <p:sp>
        <p:nvSpPr>
          <p:cNvPr id="11" name="Text Placeholder 4">
            <a:extLst>
              <a:ext uri="{FF2B5EF4-FFF2-40B4-BE49-F238E27FC236}">
                <a16:creationId xmlns:a16="http://schemas.microsoft.com/office/drawing/2014/main" id="{A1A10785-2503-6F3A-998A-965A0E2EC2C4}"/>
              </a:ext>
            </a:extLst>
          </p:cNvPr>
          <p:cNvSpPr>
            <a:spLocks noGrp="1"/>
          </p:cNvSpPr>
          <p:nvPr>
            <p:ph type="body" sz="quarter" idx="15" hasCustomPrompt="1"/>
          </p:nvPr>
        </p:nvSpPr>
        <p:spPr>
          <a:xfrm>
            <a:off x="890125" y="5031396"/>
            <a:ext cx="8065706" cy="355854"/>
          </a:xfrm>
        </p:spPr>
        <p:txBody>
          <a:bodyPr anchor="ctr"/>
          <a:lstStyle>
            <a:lvl1pPr marL="0" indent="0">
              <a:buNone/>
              <a:defRPr>
                <a:solidFill>
                  <a:schemeClr val="bg1"/>
                </a:solidFill>
              </a:defRPr>
            </a:lvl1pPr>
          </a:lstStyle>
          <a:p>
            <a:pPr lvl="0"/>
            <a:r>
              <a:rPr lang="en-US"/>
              <a:t>Email</a:t>
            </a:r>
          </a:p>
        </p:txBody>
      </p:sp>
      <p:pic>
        <p:nvPicPr>
          <p:cNvPr id="9" name="Graphic 8">
            <a:extLst>
              <a:ext uri="{FF2B5EF4-FFF2-40B4-BE49-F238E27FC236}">
                <a16:creationId xmlns:a16="http://schemas.microsoft.com/office/drawing/2014/main" id="{4777379C-2BE8-9CB4-109E-C35E6670B9C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49" y="18981"/>
            <a:ext cx="12188351" cy="6839019"/>
          </a:xfrm>
          <a:prstGeom prst="rect">
            <a:avLst/>
          </a:prstGeom>
        </p:spPr>
      </p:pic>
    </p:spTree>
    <p:extLst>
      <p:ext uri="{BB962C8B-B14F-4D97-AF65-F5344CB8AC3E}">
        <p14:creationId xmlns:p14="http://schemas.microsoft.com/office/powerpoint/2010/main" val="3294161255"/>
      </p:ext>
    </p:extLst>
  </p:cSld>
  <p:clrMapOvr>
    <a:masterClrMapping/>
  </p:clrMapOvr>
  <p:extLst>
    <p:ext uri="{DCECCB84-F9BA-43D5-87BE-67443E8EF086}">
      <p15:sldGuideLst xmlns:p15="http://schemas.microsoft.com/office/powerpoint/2012/main"/>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p:cSld name="Thank you layout 2">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466729039"/>
      </p:ext>
    </p:extLst>
  </p:cSld>
  <p:clrMapOvr>
    <a:masterClrMapping/>
  </p:clrMapOvr>
  <p:extLst>
    <p:ext uri="{DCECCB84-F9BA-43D5-87BE-67443E8EF086}">
      <p15:sldGuideLst xmlns:p15="http://schemas.microsoft.com/office/powerpoint/2012/main"/>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p:cSld name="1_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a:t>
            </a:r>
            <a:r>
              <a:rPr lang="en-US" sz="800" err="1">
                <a:solidFill>
                  <a:schemeClr val="bg1"/>
                </a:solidFill>
                <a:latin typeface="Arial" panose="020B0604020202020204" pitchFamily="34" charset="0"/>
                <a:cs typeface="Arial" panose="020B0604020202020204" pitchFamily="34" charset="0"/>
              </a:rPr>
              <a:t>rsmus.com</a:t>
            </a:r>
            <a:r>
              <a:rPr lang="en-US" sz="800">
                <a:solidFill>
                  <a:schemeClr val="bg1"/>
                </a:solidFill>
                <a:latin typeface="Arial" panose="020B0604020202020204" pitchFamily="34" charset="0"/>
                <a:cs typeface="Arial" panose="020B0604020202020204" pitchFamily="34" charset="0"/>
              </a:rPr>
              <a:t>/</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4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4" name="Graphic 3">
            <a:extLst>
              <a:ext uri="{FF2B5EF4-FFF2-40B4-BE49-F238E27FC236}">
                <a16:creationId xmlns:a16="http://schemas.microsoft.com/office/drawing/2014/main" id="{CBA31D15-6615-B25D-66EC-476A1ED3F4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960" y="4343400"/>
            <a:ext cx="2264219" cy="273593"/>
          </a:xfrm>
          <a:prstGeom prst="rect">
            <a:avLst/>
          </a:prstGeom>
        </p:spPr>
      </p:pic>
    </p:spTree>
    <p:extLst>
      <p:ext uri="{BB962C8B-B14F-4D97-AF65-F5344CB8AC3E}">
        <p14:creationId xmlns:p14="http://schemas.microsoft.com/office/powerpoint/2010/main" val="2560422933"/>
      </p:ext>
    </p:extLst>
  </p:cSld>
  <p:clrMapOvr>
    <a:masterClrMapping/>
  </p:clrMapOvr>
  <p:extLst>
    <p:ext uri="{DCECCB84-F9BA-43D5-87BE-67443E8EF086}">
      <p15:sldGuideLst xmlns:p15="http://schemas.microsoft.com/office/powerpoint/2012/main"/>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matchingName="Agenda, 3 sections">
  <p:cSld name="Agenda, 3 sections">
    <p:spTree>
      <p:nvGrpSpPr>
        <p:cNvPr id="1" name="Shape 2343"/>
        <p:cNvGrpSpPr/>
        <p:nvPr/>
      </p:nvGrpSpPr>
      <p:grpSpPr>
        <a:xfrm>
          <a:off x="0" y="0"/>
          <a:ext cx="0" cy="0"/>
          <a:chOff x="0" y="0"/>
          <a:chExt cx="0" cy="0"/>
        </a:xfrm>
      </p:grpSpPr>
      <p:sp>
        <p:nvSpPr>
          <p:cNvPr id="2344" name="Google Shape;2344;p222"/>
          <p:cNvSpPr txBox="1">
            <a:spLocks noGrp="1"/>
          </p:cNvSpPr>
          <p:nvPr>
            <p:ph type="title"/>
          </p:nvPr>
        </p:nvSpPr>
        <p:spPr>
          <a:xfrm>
            <a:off x="677473" y="3260815"/>
            <a:ext cx="4550400" cy="5008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grpSp>
        <p:nvGrpSpPr>
          <p:cNvPr id="2345" name="Google Shape;2345;p222"/>
          <p:cNvGrpSpPr/>
          <p:nvPr/>
        </p:nvGrpSpPr>
        <p:grpSpPr>
          <a:xfrm>
            <a:off x="5426367" y="1994898"/>
            <a:ext cx="952499" cy="2863540"/>
            <a:chOff x="5426367" y="1960607"/>
            <a:chExt cx="952499" cy="2863540"/>
          </a:xfrm>
        </p:grpSpPr>
        <p:grpSp>
          <p:nvGrpSpPr>
            <p:cNvPr id="2346" name="Google Shape;2346;p222"/>
            <p:cNvGrpSpPr/>
            <p:nvPr/>
          </p:nvGrpSpPr>
          <p:grpSpPr>
            <a:xfrm>
              <a:off x="5434239" y="1960607"/>
              <a:ext cx="750192" cy="607594"/>
              <a:chOff x="5434239" y="1960607"/>
              <a:chExt cx="750192" cy="607594"/>
            </a:xfrm>
          </p:grpSpPr>
          <p:sp>
            <p:nvSpPr>
              <p:cNvPr id="2347" name="Google Shape;2347;p222"/>
              <p:cNvSpPr/>
              <p:nvPr/>
            </p:nvSpPr>
            <p:spPr>
              <a:xfrm>
                <a:off x="5434239" y="1960607"/>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7992" y="474220"/>
                      <a:pt x="231434" y="474220"/>
                    </a:cubicBezTo>
                    <a:cubicBezTo>
                      <a:pt x="314876" y="47422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48" name="Google Shape;2348;p222"/>
              <p:cNvSpPr/>
              <p:nvPr/>
            </p:nvSpPr>
            <p:spPr>
              <a:xfrm>
                <a:off x="5956146" y="1972306"/>
                <a:ext cx="228285" cy="595895"/>
              </a:xfrm>
              <a:custGeom>
                <a:avLst/>
                <a:gdLst/>
                <a:ahLst/>
                <a:cxnLst/>
                <a:rect l="l" t="t" r="r" b="b"/>
                <a:pathLst>
                  <a:path w="228285" h="595895" extrusionOk="0">
                    <a:moveTo>
                      <a:pt x="81081" y="130255"/>
                    </a:moveTo>
                    <a:lnTo>
                      <a:pt x="0" y="130255"/>
                    </a:lnTo>
                    <a:lnTo>
                      <a:pt x="0" y="0"/>
                    </a:lnTo>
                    <a:lnTo>
                      <a:pt x="228285" y="0"/>
                    </a:lnTo>
                    <a:lnTo>
                      <a:pt x="228285" y="595895"/>
                    </a:lnTo>
                    <a:lnTo>
                      <a:pt x="81081" y="595895"/>
                    </a:lnTo>
                    <a:lnTo>
                      <a:pt x="81081" y="130255"/>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49" name="Google Shape;2349;p222"/>
            <p:cNvGrpSpPr/>
            <p:nvPr/>
          </p:nvGrpSpPr>
          <p:grpSpPr>
            <a:xfrm>
              <a:off x="5430303" y="3085460"/>
              <a:ext cx="945414" cy="606035"/>
              <a:chOff x="5430303" y="3085460"/>
              <a:chExt cx="945414" cy="606035"/>
            </a:xfrm>
          </p:grpSpPr>
          <p:sp>
            <p:nvSpPr>
              <p:cNvPr id="2350" name="Google Shape;2350;p222"/>
              <p:cNvSpPr/>
              <p:nvPr/>
            </p:nvSpPr>
            <p:spPr>
              <a:xfrm>
                <a:off x="5430303" y="3086240"/>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60614" y="605255"/>
                      <a:pt x="0" y="478120"/>
                      <a:pt x="0" y="301848"/>
                    </a:cubicBezTo>
                    <a:cubicBezTo>
                      <a:pt x="0" y="127135"/>
                      <a:pt x="60614"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7004"/>
                      <a:pt x="324322" y="301848"/>
                    </a:cubicBezTo>
                    <a:cubicBezTo>
                      <a:pt x="324322" y="210591"/>
                      <a:pt x="314876"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1" name="Google Shape;2351;p222"/>
              <p:cNvSpPr/>
              <p:nvPr/>
            </p:nvSpPr>
            <p:spPr>
              <a:xfrm>
                <a:off x="5960869" y="3085460"/>
                <a:ext cx="414848" cy="599795"/>
              </a:xfrm>
              <a:custGeom>
                <a:avLst/>
                <a:gdLst/>
                <a:ahLst/>
                <a:cxnLst/>
                <a:rect l="l" t="t" r="r" b="b"/>
                <a:pathLst>
                  <a:path w="414848" h="599795" extrusionOk="0">
                    <a:moveTo>
                      <a:pt x="1574" y="496840"/>
                    </a:moveTo>
                    <a:cubicBezTo>
                      <a:pt x="129099" y="392324"/>
                      <a:pt x="265283" y="288588"/>
                      <a:pt x="265283" y="188752"/>
                    </a:cubicBezTo>
                    <a:cubicBezTo>
                      <a:pt x="265283" y="145854"/>
                      <a:pt x="245603" y="117775"/>
                      <a:pt x="203095" y="117775"/>
                    </a:cubicBezTo>
                    <a:cubicBezTo>
                      <a:pt x="161374" y="117775"/>
                      <a:pt x="136184" y="150534"/>
                      <a:pt x="136184" y="206691"/>
                    </a:cubicBezTo>
                    <a:lnTo>
                      <a:pt x="0" y="206691"/>
                    </a:lnTo>
                    <a:cubicBezTo>
                      <a:pt x="3936" y="62397"/>
                      <a:pt x="99186" y="0"/>
                      <a:pt x="208605" y="0"/>
                    </a:cubicBezTo>
                    <a:cubicBezTo>
                      <a:pt x="345576" y="0"/>
                      <a:pt x="406190" y="78777"/>
                      <a:pt x="406190" y="179393"/>
                    </a:cubicBezTo>
                    <a:cubicBezTo>
                      <a:pt x="406190" y="309647"/>
                      <a:pt x="288111" y="414163"/>
                      <a:pt x="192861" y="486700"/>
                    </a:cubicBezTo>
                    <a:lnTo>
                      <a:pt x="414849" y="486700"/>
                    </a:lnTo>
                    <a:lnTo>
                      <a:pt x="414849" y="599795"/>
                    </a:lnTo>
                    <a:lnTo>
                      <a:pt x="1574" y="599795"/>
                    </a:lnTo>
                    <a:lnTo>
                      <a:pt x="1574" y="496840"/>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52" name="Google Shape;2352;p222"/>
            <p:cNvGrpSpPr/>
            <p:nvPr/>
          </p:nvGrpSpPr>
          <p:grpSpPr>
            <a:xfrm>
              <a:off x="5426367" y="4209533"/>
              <a:ext cx="952499" cy="614614"/>
              <a:chOff x="5426367" y="4209533"/>
              <a:chExt cx="952499" cy="614614"/>
            </a:xfrm>
          </p:grpSpPr>
          <p:sp>
            <p:nvSpPr>
              <p:cNvPr id="2353" name="Google Shape;2353;p222"/>
              <p:cNvSpPr/>
              <p:nvPr/>
            </p:nvSpPr>
            <p:spPr>
              <a:xfrm>
                <a:off x="5426367" y="4211093"/>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4" name="Google Shape;2354;p222"/>
              <p:cNvSpPr/>
              <p:nvPr/>
            </p:nvSpPr>
            <p:spPr>
              <a:xfrm>
                <a:off x="5960869" y="4209533"/>
                <a:ext cx="417997" cy="614614"/>
              </a:xfrm>
              <a:custGeom>
                <a:avLst/>
                <a:gdLst/>
                <a:ahLst/>
                <a:cxnLst/>
                <a:rect l="l" t="t" r="r" b="b"/>
                <a:pathLst>
                  <a:path w="417997" h="614614" extrusionOk="0">
                    <a:moveTo>
                      <a:pt x="211754" y="0"/>
                    </a:moveTo>
                    <a:cubicBezTo>
                      <a:pt x="338492" y="0"/>
                      <a:pt x="406977" y="71757"/>
                      <a:pt x="406977" y="161453"/>
                    </a:cubicBezTo>
                    <a:cubicBezTo>
                      <a:pt x="406977" y="239450"/>
                      <a:pt x="357384" y="281568"/>
                      <a:pt x="316450" y="295608"/>
                    </a:cubicBezTo>
                    <a:lnTo>
                      <a:pt x="316450" y="298728"/>
                    </a:lnTo>
                    <a:cubicBezTo>
                      <a:pt x="376277" y="318227"/>
                      <a:pt x="417998" y="364245"/>
                      <a:pt x="417998" y="442242"/>
                    </a:cubicBezTo>
                    <a:cubicBezTo>
                      <a:pt x="417998" y="542858"/>
                      <a:pt x="345576" y="614615"/>
                      <a:pt x="219626" y="614615"/>
                    </a:cubicBezTo>
                    <a:cubicBezTo>
                      <a:pt x="94463" y="614615"/>
                      <a:pt x="3936" y="556117"/>
                      <a:pt x="0" y="421183"/>
                    </a:cubicBezTo>
                    <a:lnTo>
                      <a:pt x="136184" y="421183"/>
                    </a:lnTo>
                    <a:cubicBezTo>
                      <a:pt x="136971" y="467981"/>
                      <a:pt x="162161" y="498399"/>
                      <a:pt x="214116" y="498399"/>
                    </a:cubicBezTo>
                    <a:cubicBezTo>
                      <a:pt x="257411" y="498399"/>
                      <a:pt x="281814" y="470321"/>
                      <a:pt x="281814" y="431322"/>
                    </a:cubicBezTo>
                    <a:cubicBezTo>
                      <a:pt x="281814" y="378284"/>
                      <a:pt x="249539" y="357225"/>
                      <a:pt x="176331" y="357225"/>
                    </a:cubicBezTo>
                    <a:lnTo>
                      <a:pt x="150353" y="357225"/>
                    </a:lnTo>
                    <a:lnTo>
                      <a:pt x="150353" y="243350"/>
                    </a:lnTo>
                    <a:lnTo>
                      <a:pt x="176331" y="243350"/>
                    </a:lnTo>
                    <a:cubicBezTo>
                      <a:pt x="224349" y="243350"/>
                      <a:pt x="270006" y="231650"/>
                      <a:pt x="270006" y="177833"/>
                    </a:cubicBezTo>
                    <a:cubicBezTo>
                      <a:pt x="270006" y="138054"/>
                      <a:pt x="246390" y="116215"/>
                      <a:pt x="208605" y="116215"/>
                    </a:cubicBezTo>
                    <a:cubicBezTo>
                      <a:pt x="162948" y="116215"/>
                      <a:pt x="147205" y="148974"/>
                      <a:pt x="144056" y="181733"/>
                    </a:cubicBezTo>
                    <a:lnTo>
                      <a:pt x="7085" y="181733"/>
                    </a:lnTo>
                    <a:cubicBezTo>
                      <a:pt x="11808" y="63957"/>
                      <a:pt x="88952" y="0"/>
                      <a:pt x="211754" y="0"/>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sp>
        <p:nvSpPr>
          <p:cNvPr id="2355" name="Google Shape;2355;p222"/>
          <p:cNvSpPr/>
          <p:nvPr/>
        </p:nvSpPr>
        <p:spPr>
          <a:xfrm rot="-5400000">
            <a:off x="801433" y="2992200"/>
            <a:ext cx="76000" cy="409600"/>
          </a:xfrm>
          <a:prstGeom prst="roundRect">
            <a:avLst>
              <a:gd name="adj" fmla="val 50000"/>
            </a:avLst>
          </a:prstGeom>
          <a:gradFill>
            <a:gsLst>
              <a:gs pos="0">
                <a:schemeClr val="accent2"/>
              </a:gs>
              <a:gs pos="100000">
                <a:schemeClr val="accent1"/>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56" name="Google Shape;2356;p222"/>
          <p:cNvSpPr txBox="1">
            <a:spLocks noGrp="1"/>
          </p:cNvSpPr>
          <p:nvPr>
            <p:ph type="body" idx="1"/>
          </p:nvPr>
        </p:nvSpPr>
        <p:spPr>
          <a:xfrm>
            <a:off x="6656933" y="1890667"/>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7" name="Google Shape;2357;p222"/>
          <p:cNvSpPr txBox="1">
            <a:spLocks noGrp="1"/>
          </p:cNvSpPr>
          <p:nvPr>
            <p:ph type="body" idx="2"/>
          </p:nvPr>
        </p:nvSpPr>
        <p:spPr>
          <a:xfrm>
            <a:off x="6656933" y="3016788"/>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8" name="Google Shape;2358;p222"/>
          <p:cNvSpPr txBox="1">
            <a:spLocks noGrp="1"/>
          </p:cNvSpPr>
          <p:nvPr>
            <p:ph type="body" idx="3"/>
          </p:nvPr>
        </p:nvSpPr>
        <p:spPr>
          <a:xfrm>
            <a:off x="6656933" y="4142911"/>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725589768"/>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userDrawn="1">
  <p:cSld name="Blank">
    <p:bg>
      <p:bgRef idx="1001">
        <a:schemeClr val="bg1"/>
      </p:bgRef>
    </p:bg>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14276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6587164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cSld name="3_Create Layou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0"/>
          </p:nvPr>
        </p:nvSpPr>
        <p:spPr/>
        <p:txBody>
          <a:bodyPr/>
          <a:lstStyle/>
          <a:p>
            <a:fld id="{59982661-8095-4F36-B003-38F8D9469F79}" type="slidenum">
              <a:rPr lang="en-GB" smtClean="0"/>
              <a:t>‹#›</a:t>
            </a:fld>
            <a:endParaRPr lang="en-GB"/>
          </a:p>
        </p:txBody>
      </p:sp>
      <p:sp>
        <p:nvSpPr>
          <p:cNvPr id="26" name="Content Placeholder 1"/>
          <p:cNvSpPr>
            <a:spLocks noGrp="1"/>
          </p:cNvSpPr>
          <p:nvPr>
            <p:ph idx="31"/>
            <p:custDataLst>
              <p:tags r:id="rId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2"/>
          <p:cNvSpPr>
            <a:spLocks noGrp="1"/>
          </p:cNvSpPr>
          <p:nvPr>
            <p:ph idx="11"/>
            <p:custDataLst>
              <p:tags r:id="rId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idx="12"/>
            <p:custDataLst>
              <p:tags r:id="rId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p:cNvSpPr>
            <a:spLocks noGrp="1"/>
          </p:cNvSpPr>
          <p:nvPr>
            <p:ph idx="13"/>
            <p:custDataLst>
              <p:tags r:id="rId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5"/>
          <p:cNvSpPr>
            <a:spLocks noGrp="1"/>
          </p:cNvSpPr>
          <p:nvPr>
            <p:ph idx="14"/>
            <p:custDataLst>
              <p:tags r:id="rId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p:cNvSpPr>
            <a:spLocks noGrp="1"/>
          </p:cNvSpPr>
          <p:nvPr>
            <p:ph idx="15"/>
            <p:custDataLst>
              <p:tags r:id="rId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7"/>
          <p:cNvSpPr>
            <a:spLocks noGrp="1"/>
          </p:cNvSpPr>
          <p:nvPr>
            <p:ph idx="16"/>
            <p:custDataLst>
              <p:tags r:id="rId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8"/>
          <p:cNvSpPr>
            <a:spLocks noGrp="1"/>
          </p:cNvSpPr>
          <p:nvPr>
            <p:ph idx="17"/>
            <p:custDataLst>
              <p:tags r:id="rId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p:cNvSpPr>
            <a:spLocks noGrp="1"/>
          </p:cNvSpPr>
          <p:nvPr>
            <p:ph idx="18"/>
            <p:custDataLst>
              <p:tags r:id="rId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0"/>
          <p:cNvSpPr>
            <a:spLocks noGrp="1"/>
          </p:cNvSpPr>
          <p:nvPr>
            <p:ph idx="19"/>
            <p:custDataLst>
              <p:tags r:id="rId10"/>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1"/>
          <p:cNvSpPr>
            <a:spLocks noGrp="1"/>
          </p:cNvSpPr>
          <p:nvPr>
            <p:ph idx="20"/>
            <p:custDataLst>
              <p:tags r:id="rId1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12"/>
          <p:cNvSpPr>
            <a:spLocks noGrp="1"/>
          </p:cNvSpPr>
          <p:nvPr>
            <p:ph idx="21"/>
            <p:custDataLst>
              <p:tags r:id="rId1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3"/>
          <p:cNvSpPr>
            <a:spLocks noGrp="1"/>
          </p:cNvSpPr>
          <p:nvPr>
            <p:ph idx="22"/>
            <p:custDataLst>
              <p:tags r:id="rId1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4"/>
          <p:cNvSpPr>
            <a:spLocks noGrp="1"/>
          </p:cNvSpPr>
          <p:nvPr>
            <p:ph idx="23"/>
            <p:custDataLst>
              <p:tags r:id="rId1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5"/>
          <p:cNvSpPr>
            <a:spLocks noGrp="1"/>
          </p:cNvSpPr>
          <p:nvPr>
            <p:ph idx="24"/>
            <p:custDataLst>
              <p:tags r:id="rId1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6"/>
          <p:cNvSpPr>
            <a:spLocks noGrp="1"/>
          </p:cNvSpPr>
          <p:nvPr>
            <p:ph idx="25"/>
            <p:custDataLst>
              <p:tags r:id="rId1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7"/>
          <p:cNvSpPr>
            <a:spLocks noGrp="1"/>
          </p:cNvSpPr>
          <p:nvPr>
            <p:ph idx="26"/>
            <p:custDataLst>
              <p:tags r:id="rId1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8"/>
          <p:cNvSpPr>
            <a:spLocks noGrp="1"/>
          </p:cNvSpPr>
          <p:nvPr>
            <p:ph idx="27"/>
            <p:custDataLst>
              <p:tags r:id="rId1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9"/>
          <p:cNvSpPr>
            <a:spLocks noGrp="1"/>
          </p:cNvSpPr>
          <p:nvPr>
            <p:ph idx="28"/>
            <p:custDataLst>
              <p:tags r:id="rId1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p:cNvSpPr>
            <a:spLocks noGrp="1"/>
          </p:cNvSpPr>
          <p:nvPr>
            <p:ph idx="32"/>
            <p:custDataLst>
              <p:tags r:id="rId20"/>
            </p:custDataLst>
          </p:nvPr>
        </p:nvSpPr>
        <p:spPr>
          <a:xfrm>
            <a:off x="336063" y="1335600"/>
            <a:ext cx="11519879" cy="4838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841791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userDrawn="1">
  <p:cSld name="2_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4" name="Rectangle 3">
            <a:extLst>
              <a:ext uri="{FF2B5EF4-FFF2-40B4-BE49-F238E27FC236}">
                <a16:creationId xmlns:a16="http://schemas.microsoft.com/office/drawing/2014/main" id="{52408627-7E4A-AE1F-9D3B-E2CFB1302B9D}"/>
              </a:ext>
            </a:extLst>
          </p:cNvPr>
          <p:cNvSpPr/>
          <p:nvPr userDrawn="1"/>
        </p:nvSpPr>
        <p:spPr>
          <a:xfrm>
            <a:off x="1" y="2"/>
            <a:ext cx="12192000" cy="114831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19"/>
          </a:p>
        </p:txBody>
      </p:sp>
      <p:pic>
        <p:nvPicPr>
          <p:cNvPr id="6" name="Picture 5">
            <a:extLst>
              <a:ext uri="{FF2B5EF4-FFF2-40B4-BE49-F238E27FC236}">
                <a16:creationId xmlns:a16="http://schemas.microsoft.com/office/drawing/2014/main" id="{A7BE00A2-4F44-C99F-80BF-49B79A8D4BA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145366" y="145676"/>
            <a:ext cx="953706" cy="400907"/>
          </a:xfrm>
          <a:prstGeom prst="rect">
            <a:avLst/>
          </a:prstGeom>
        </p:spPr>
      </p:pic>
      <p:pic>
        <p:nvPicPr>
          <p:cNvPr id="8" name="Picture 7">
            <a:extLst>
              <a:ext uri="{FF2B5EF4-FFF2-40B4-BE49-F238E27FC236}">
                <a16:creationId xmlns:a16="http://schemas.microsoft.com/office/drawing/2014/main" id="{2BCB36EC-6919-DDA7-DEF5-71FEB2AB23B4}"/>
              </a:ext>
            </a:extLst>
          </p:cNvPr>
          <p:cNvPicPr>
            <a:picLocks noChangeAspect="1"/>
          </p:cNvPicPr>
          <p:nvPr userDrawn="1"/>
        </p:nvPicPr>
        <p:blipFill>
          <a:blip r:embed="rId6"/>
          <a:srcRect t="18429" b="18429"/>
          <a:stretch/>
        </p:blipFill>
        <p:spPr>
          <a:xfrm>
            <a:off x="8227891" y="2"/>
            <a:ext cx="3964110" cy="1148314"/>
          </a:xfrm>
          <a:custGeom>
            <a:avLst/>
            <a:gdLst>
              <a:gd name="connsiteX0" fmla="*/ 1035847 w 5054240"/>
              <a:gd name="connsiteY0" fmla="*/ 1710657 h 2128225"/>
              <a:gd name="connsiteX1" fmla="*/ 1035847 w 5054240"/>
              <a:gd name="connsiteY1" fmla="*/ 1817977 h 2128225"/>
              <a:gd name="connsiteX2" fmla="*/ 1086228 w 5054240"/>
              <a:gd name="connsiteY2" fmla="*/ 1817977 h 2128225"/>
              <a:gd name="connsiteX3" fmla="*/ 1086228 w 5054240"/>
              <a:gd name="connsiteY3" fmla="*/ 1710657 h 2128225"/>
              <a:gd name="connsiteX4" fmla="*/ 407851 w 5054240"/>
              <a:gd name="connsiteY4" fmla="*/ 1710270 h 2128225"/>
              <a:gd name="connsiteX5" fmla="*/ 497431 w 5054240"/>
              <a:gd name="connsiteY5" fmla="*/ 1710270 h 2128225"/>
              <a:gd name="connsiteX6" fmla="*/ 497431 w 5054240"/>
              <a:gd name="connsiteY6" fmla="*/ 1817588 h 2128225"/>
              <a:gd name="connsiteX7" fmla="*/ 407851 w 5054240"/>
              <a:gd name="connsiteY7" fmla="*/ 1817588 h 2128225"/>
              <a:gd name="connsiteX8" fmla="*/ 1551304 w 5054240"/>
              <a:gd name="connsiteY8" fmla="*/ 1602717 h 2128225"/>
              <a:gd name="connsiteX9" fmla="*/ 1551304 w 5054240"/>
              <a:gd name="connsiteY9" fmla="*/ 1710037 h 2128225"/>
              <a:gd name="connsiteX10" fmla="*/ 1640885 w 5054240"/>
              <a:gd name="connsiteY10" fmla="*/ 1710037 h 2128225"/>
              <a:gd name="connsiteX11" fmla="*/ 1640885 w 5054240"/>
              <a:gd name="connsiteY11" fmla="*/ 1602717 h 2128225"/>
              <a:gd name="connsiteX12" fmla="*/ 1253272 w 5054240"/>
              <a:gd name="connsiteY12" fmla="*/ 1602717 h 2128225"/>
              <a:gd name="connsiteX13" fmla="*/ 1253357 w 5054240"/>
              <a:gd name="connsiteY13" fmla="*/ 1602794 h 2128225"/>
              <a:gd name="connsiteX14" fmla="*/ 1253144 w 5054240"/>
              <a:gd name="connsiteY14" fmla="*/ 1602988 h 2128225"/>
              <a:gd name="connsiteX15" fmla="*/ 1253102 w 5054240"/>
              <a:gd name="connsiteY15" fmla="*/ 1602988 h 2128225"/>
              <a:gd name="connsiteX16" fmla="*/ 1253102 w 5054240"/>
              <a:gd name="connsiteY16" fmla="*/ 1710657 h 2128225"/>
              <a:gd name="connsiteX17" fmla="*/ 1303100 w 5054240"/>
              <a:gd name="connsiteY17" fmla="*/ 1710657 h 2128225"/>
              <a:gd name="connsiteX18" fmla="*/ 1303100 w 5054240"/>
              <a:gd name="connsiteY18" fmla="*/ 1602717 h 2128225"/>
              <a:gd name="connsiteX19" fmla="*/ 2480990 w 5054240"/>
              <a:gd name="connsiteY19" fmla="*/ 1280526 h 2128225"/>
              <a:gd name="connsiteX20" fmla="*/ 2480990 w 5054240"/>
              <a:gd name="connsiteY20" fmla="*/ 1387845 h 2128225"/>
              <a:gd name="connsiteX21" fmla="*/ 2531371 w 5054240"/>
              <a:gd name="connsiteY21" fmla="*/ 1387845 h 2128225"/>
              <a:gd name="connsiteX22" fmla="*/ 2531371 w 5054240"/>
              <a:gd name="connsiteY22" fmla="*/ 1280526 h 2128225"/>
              <a:gd name="connsiteX23" fmla="*/ 1925144 w 5054240"/>
              <a:gd name="connsiteY23" fmla="*/ 1173439 h 2128225"/>
              <a:gd name="connsiteX24" fmla="*/ 2149072 w 5054240"/>
              <a:gd name="connsiteY24" fmla="*/ 1173439 h 2128225"/>
              <a:gd name="connsiteX25" fmla="*/ 2149072 w 5054240"/>
              <a:gd name="connsiteY25" fmla="*/ 1280758 h 2128225"/>
              <a:gd name="connsiteX26" fmla="*/ 1925144 w 5054240"/>
              <a:gd name="connsiteY26" fmla="*/ 1280758 h 2128225"/>
              <a:gd name="connsiteX27" fmla="*/ 1785182 w 5054240"/>
              <a:gd name="connsiteY27" fmla="*/ 1173439 h 2128225"/>
              <a:gd name="connsiteX28" fmla="*/ 1874763 w 5054240"/>
              <a:gd name="connsiteY28" fmla="*/ 1173439 h 2128225"/>
              <a:gd name="connsiteX29" fmla="*/ 1874763 w 5054240"/>
              <a:gd name="connsiteY29" fmla="*/ 1280758 h 2128225"/>
              <a:gd name="connsiteX30" fmla="*/ 1785182 w 5054240"/>
              <a:gd name="connsiteY30" fmla="*/ 1280758 h 2128225"/>
              <a:gd name="connsiteX31" fmla="*/ 3252434 w 5054240"/>
              <a:gd name="connsiteY31" fmla="*/ 1066081 h 2128225"/>
              <a:gd name="connsiteX32" fmla="*/ 3252434 w 5054240"/>
              <a:gd name="connsiteY32" fmla="*/ 1173400 h 2128225"/>
              <a:gd name="connsiteX33" fmla="*/ 3302814 w 5054240"/>
              <a:gd name="connsiteY33" fmla="*/ 1173400 h 2128225"/>
              <a:gd name="connsiteX34" fmla="*/ 3302814 w 5054240"/>
              <a:gd name="connsiteY34" fmla="*/ 1066081 h 2128225"/>
              <a:gd name="connsiteX35" fmla="*/ 3365057 w 5054240"/>
              <a:gd name="connsiteY35" fmla="*/ 958762 h 2128225"/>
              <a:gd name="connsiteX36" fmla="*/ 3365057 w 5054240"/>
              <a:gd name="connsiteY36" fmla="*/ 1066081 h 2128225"/>
              <a:gd name="connsiteX37" fmla="*/ 3454638 w 5054240"/>
              <a:gd name="connsiteY37" fmla="*/ 1066081 h 2128225"/>
              <a:gd name="connsiteX38" fmla="*/ 3454638 w 5054240"/>
              <a:gd name="connsiteY38" fmla="*/ 958762 h 2128225"/>
              <a:gd name="connsiteX39" fmla="*/ 4110141 w 5054240"/>
              <a:gd name="connsiteY39" fmla="*/ 745131 h 2128225"/>
              <a:gd name="connsiteX40" fmla="*/ 4110141 w 5054240"/>
              <a:gd name="connsiteY40" fmla="*/ 851442 h 2128225"/>
              <a:gd name="connsiteX41" fmla="*/ 4191814 w 5054240"/>
              <a:gd name="connsiteY41" fmla="*/ 851442 h 2128225"/>
              <a:gd name="connsiteX42" fmla="*/ 4191814 w 5054240"/>
              <a:gd name="connsiteY42" fmla="*/ 745131 h 2128225"/>
              <a:gd name="connsiteX43" fmla="*/ 3510673 w 5054240"/>
              <a:gd name="connsiteY43" fmla="*/ 637851 h 2128225"/>
              <a:gd name="connsiteX44" fmla="*/ 3600253 w 5054240"/>
              <a:gd name="connsiteY44" fmla="*/ 637851 h 2128225"/>
              <a:gd name="connsiteX45" fmla="*/ 3600253 w 5054240"/>
              <a:gd name="connsiteY45" fmla="*/ 745170 h 2128225"/>
              <a:gd name="connsiteX46" fmla="*/ 3510673 w 5054240"/>
              <a:gd name="connsiteY46" fmla="*/ 745170 h 2128225"/>
              <a:gd name="connsiteX47" fmla="*/ 3874563 w 5054240"/>
              <a:gd name="connsiteY47" fmla="*/ 637812 h 2128225"/>
              <a:gd name="connsiteX48" fmla="*/ 3874563 w 5054240"/>
              <a:gd name="connsiteY48" fmla="*/ 744122 h 2128225"/>
              <a:gd name="connsiteX49" fmla="*/ 3924944 w 5054240"/>
              <a:gd name="connsiteY49" fmla="*/ 744122 h 2128225"/>
              <a:gd name="connsiteX50" fmla="*/ 3924944 w 5054240"/>
              <a:gd name="connsiteY50" fmla="*/ 637812 h 2128225"/>
              <a:gd name="connsiteX51" fmla="*/ 4748596 w 5054240"/>
              <a:gd name="connsiteY51" fmla="*/ 315893 h 2128225"/>
              <a:gd name="connsiteX52" fmla="*/ 4748596 w 5054240"/>
              <a:gd name="connsiteY52" fmla="*/ 423174 h 2128225"/>
              <a:gd name="connsiteX53" fmla="*/ 4798978 w 5054240"/>
              <a:gd name="connsiteY53" fmla="*/ 423174 h 2128225"/>
              <a:gd name="connsiteX54" fmla="*/ 4798978 w 5054240"/>
              <a:gd name="connsiteY54" fmla="*/ 315893 h 2128225"/>
              <a:gd name="connsiteX55" fmla="*/ 4798382 w 5054240"/>
              <a:gd name="connsiteY55" fmla="*/ 101253 h 2128225"/>
              <a:gd name="connsiteX56" fmla="*/ 4846806 w 5054240"/>
              <a:gd name="connsiteY56" fmla="*/ 101253 h 2128225"/>
              <a:gd name="connsiteX57" fmla="*/ 4846806 w 5054240"/>
              <a:gd name="connsiteY57" fmla="*/ 208573 h 2128225"/>
              <a:gd name="connsiteX58" fmla="*/ 4938342 w 5054240"/>
              <a:gd name="connsiteY58" fmla="*/ 208573 h 2128225"/>
              <a:gd name="connsiteX59" fmla="*/ 4938342 w 5054240"/>
              <a:gd name="connsiteY59" fmla="*/ 315853 h 2128225"/>
              <a:gd name="connsiteX60" fmla="*/ 4988724 w 5054240"/>
              <a:gd name="connsiteY60" fmla="*/ 315853 h 2128225"/>
              <a:gd name="connsiteX61" fmla="*/ 4988724 w 5054240"/>
              <a:gd name="connsiteY61" fmla="*/ 208573 h 2128225"/>
              <a:gd name="connsiteX62" fmla="*/ 5054198 w 5054240"/>
              <a:gd name="connsiteY62" fmla="*/ 208573 h 2128225"/>
              <a:gd name="connsiteX63" fmla="*/ 5054198 w 5054240"/>
              <a:gd name="connsiteY63" fmla="*/ 2128225 h 2128225"/>
              <a:gd name="connsiteX64" fmla="*/ 0 w 5054240"/>
              <a:gd name="connsiteY64" fmla="*/ 2128225 h 2128225"/>
              <a:gd name="connsiteX65" fmla="*/ 0 w 5054240"/>
              <a:gd name="connsiteY65" fmla="*/ 1924598 h 2128225"/>
              <a:gd name="connsiteX66" fmla="*/ 238597 w 5054240"/>
              <a:gd name="connsiteY66" fmla="*/ 1924598 h 2128225"/>
              <a:gd name="connsiteX67" fmla="*/ 238597 w 5054240"/>
              <a:gd name="connsiteY67" fmla="*/ 1817588 h 2128225"/>
              <a:gd name="connsiteX68" fmla="*/ 407851 w 5054240"/>
              <a:gd name="connsiteY68" fmla="*/ 1817588 h 2128225"/>
              <a:gd name="connsiteX69" fmla="*/ 407851 w 5054240"/>
              <a:gd name="connsiteY69" fmla="*/ 1924714 h 2128225"/>
              <a:gd name="connsiteX70" fmla="*/ 547812 w 5054240"/>
              <a:gd name="connsiteY70" fmla="*/ 1924714 h 2128225"/>
              <a:gd name="connsiteX71" fmla="*/ 547812 w 5054240"/>
              <a:gd name="connsiteY71" fmla="*/ 1710230 h 2128225"/>
              <a:gd name="connsiteX72" fmla="*/ 819401 w 5054240"/>
              <a:gd name="connsiteY72" fmla="*/ 1710230 h 2128225"/>
              <a:gd name="connsiteX73" fmla="*/ 819401 w 5054240"/>
              <a:gd name="connsiteY73" fmla="*/ 1602678 h 2128225"/>
              <a:gd name="connsiteX74" fmla="*/ 1026451 w 5054240"/>
              <a:gd name="connsiteY74" fmla="*/ 1602678 h 2128225"/>
              <a:gd name="connsiteX75" fmla="*/ 1026451 w 5054240"/>
              <a:gd name="connsiteY75" fmla="*/ 1495358 h 2128225"/>
              <a:gd name="connsiteX76" fmla="*/ 1118922 w 5054240"/>
              <a:gd name="connsiteY76" fmla="*/ 1495358 h 2128225"/>
              <a:gd name="connsiteX77" fmla="*/ 1118922 w 5054240"/>
              <a:gd name="connsiteY77" fmla="*/ 1387806 h 2128225"/>
              <a:gd name="connsiteX78" fmla="*/ 1169303 w 5054240"/>
              <a:gd name="connsiteY78" fmla="*/ 1387806 h 2128225"/>
              <a:gd name="connsiteX79" fmla="*/ 1169303 w 5054240"/>
              <a:gd name="connsiteY79" fmla="*/ 1495358 h 2128225"/>
              <a:gd name="connsiteX80" fmla="*/ 1392722 w 5054240"/>
              <a:gd name="connsiteY80" fmla="*/ 1495358 h 2128225"/>
              <a:gd name="connsiteX81" fmla="*/ 1392722 w 5054240"/>
              <a:gd name="connsiteY81" fmla="*/ 1602678 h 2128225"/>
              <a:gd name="connsiteX82" fmla="*/ 1442720 w 5054240"/>
              <a:gd name="connsiteY82" fmla="*/ 1602678 h 2128225"/>
              <a:gd name="connsiteX83" fmla="*/ 1442720 w 5054240"/>
              <a:gd name="connsiteY83" fmla="*/ 1495358 h 2128225"/>
              <a:gd name="connsiteX84" fmla="*/ 1546670 w 5054240"/>
              <a:gd name="connsiteY84" fmla="*/ 1495358 h 2128225"/>
              <a:gd name="connsiteX85" fmla="*/ 1546670 w 5054240"/>
              <a:gd name="connsiteY85" fmla="*/ 1387806 h 2128225"/>
              <a:gd name="connsiteX86" fmla="*/ 1835691 w 5054240"/>
              <a:gd name="connsiteY86" fmla="*/ 1387806 h 2128225"/>
              <a:gd name="connsiteX87" fmla="*/ 1835691 w 5054240"/>
              <a:gd name="connsiteY87" fmla="*/ 1495358 h 2128225"/>
              <a:gd name="connsiteX88" fmla="*/ 2068803 w 5054240"/>
              <a:gd name="connsiteY88" fmla="*/ 1495358 h 2128225"/>
              <a:gd name="connsiteX89" fmla="*/ 2068803 w 5054240"/>
              <a:gd name="connsiteY89" fmla="*/ 1388039 h 2128225"/>
              <a:gd name="connsiteX90" fmla="*/ 2295623 w 5054240"/>
              <a:gd name="connsiteY90" fmla="*/ 1388039 h 2128225"/>
              <a:gd name="connsiteX91" fmla="*/ 2295623 w 5054240"/>
              <a:gd name="connsiteY91" fmla="*/ 1280720 h 2128225"/>
              <a:gd name="connsiteX92" fmla="*/ 2199538 w 5054240"/>
              <a:gd name="connsiteY92" fmla="*/ 1280720 h 2128225"/>
              <a:gd name="connsiteX93" fmla="*/ 2199538 w 5054240"/>
              <a:gd name="connsiteY93" fmla="*/ 1173400 h 2128225"/>
              <a:gd name="connsiteX94" fmla="*/ 2566999 w 5054240"/>
              <a:gd name="connsiteY94" fmla="*/ 1173400 h 2128225"/>
              <a:gd name="connsiteX95" fmla="*/ 2566999 w 5054240"/>
              <a:gd name="connsiteY95" fmla="*/ 1066081 h 2128225"/>
              <a:gd name="connsiteX96" fmla="*/ 2790928 w 5054240"/>
              <a:gd name="connsiteY96" fmla="*/ 1066081 h 2128225"/>
              <a:gd name="connsiteX97" fmla="*/ 2790928 w 5054240"/>
              <a:gd name="connsiteY97" fmla="*/ 958762 h 2128225"/>
              <a:gd name="connsiteX98" fmla="*/ 3015282 w 5054240"/>
              <a:gd name="connsiteY98" fmla="*/ 958762 h 2128225"/>
              <a:gd name="connsiteX99" fmla="*/ 3015282 w 5054240"/>
              <a:gd name="connsiteY99" fmla="*/ 1066081 h 2128225"/>
              <a:gd name="connsiteX100" fmla="*/ 3160388 w 5054240"/>
              <a:gd name="connsiteY100" fmla="*/ 1066081 h 2128225"/>
              <a:gd name="connsiteX101" fmla="*/ 3160388 w 5054240"/>
              <a:gd name="connsiteY101" fmla="*/ 851442 h 2128225"/>
              <a:gd name="connsiteX102" fmla="*/ 3249968 w 5054240"/>
              <a:gd name="connsiteY102" fmla="*/ 851442 h 2128225"/>
              <a:gd name="connsiteX103" fmla="*/ 3249968 w 5054240"/>
              <a:gd name="connsiteY103" fmla="*/ 958762 h 2128225"/>
              <a:gd name="connsiteX104" fmla="*/ 3300306 w 5054240"/>
              <a:gd name="connsiteY104" fmla="*/ 958762 h 2128225"/>
              <a:gd name="connsiteX105" fmla="*/ 3300306 w 5054240"/>
              <a:gd name="connsiteY105" fmla="*/ 851442 h 2128225"/>
              <a:gd name="connsiteX106" fmla="*/ 3524236 w 5054240"/>
              <a:gd name="connsiteY106" fmla="*/ 851442 h 2128225"/>
              <a:gd name="connsiteX107" fmla="*/ 3524236 w 5054240"/>
              <a:gd name="connsiteY107" fmla="*/ 958762 h 2128225"/>
              <a:gd name="connsiteX108" fmla="*/ 3574616 w 5054240"/>
              <a:gd name="connsiteY108" fmla="*/ 958762 h 2128225"/>
              <a:gd name="connsiteX109" fmla="*/ 3574616 w 5054240"/>
              <a:gd name="connsiteY109" fmla="*/ 851442 h 2128225"/>
              <a:gd name="connsiteX110" fmla="*/ 3707860 w 5054240"/>
              <a:gd name="connsiteY110" fmla="*/ 851442 h 2128225"/>
              <a:gd name="connsiteX111" fmla="*/ 3707860 w 5054240"/>
              <a:gd name="connsiteY111" fmla="*/ 745131 h 2128225"/>
              <a:gd name="connsiteX112" fmla="*/ 3650719 w 5054240"/>
              <a:gd name="connsiteY112" fmla="*/ 745131 h 2128225"/>
              <a:gd name="connsiteX113" fmla="*/ 3650719 w 5054240"/>
              <a:gd name="connsiteY113" fmla="*/ 637812 h 2128225"/>
              <a:gd name="connsiteX114" fmla="*/ 3765978 w 5054240"/>
              <a:gd name="connsiteY114" fmla="*/ 637812 h 2128225"/>
              <a:gd name="connsiteX115" fmla="*/ 3765978 w 5054240"/>
              <a:gd name="connsiteY115" fmla="*/ 530493 h 2128225"/>
              <a:gd name="connsiteX116" fmla="*/ 3816360 w 5054240"/>
              <a:gd name="connsiteY116" fmla="*/ 530493 h 2128225"/>
              <a:gd name="connsiteX117" fmla="*/ 3816360 w 5054240"/>
              <a:gd name="connsiteY117" fmla="*/ 637812 h 2128225"/>
              <a:gd name="connsiteX118" fmla="*/ 3874308 w 5054240"/>
              <a:gd name="connsiteY118" fmla="*/ 637812 h 2128225"/>
              <a:gd name="connsiteX119" fmla="*/ 3874308 w 5054240"/>
              <a:gd name="connsiteY119" fmla="*/ 530493 h 2128225"/>
              <a:gd name="connsiteX120" fmla="*/ 4098194 w 5054240"/>
              <a:gd name="connsiteY120" fmla="*/ 530493 h 2128225"/>
              <a:gd name="connsiteX121" fmla="*/ 4098194 w 5054240"/>
              <a:gd name="connsiteY121" fmla="*/ 637812 h 2128225"/>
              <a:gd name="connsiteX122" fmla="*/ 4281096 w 5054240"/>
              <a:gd name="connsiteY122" fmla="*/ 637812 h 2128225"/>
              <a:gd name="connsiteX123" fmla="*/ 4281096 w 5054240"/>
              <a:gd name="connsiteY123" fmla="*/ 530493 h 2128225"/>
              <a:gd name="connsiteX124" fmla="*/ 4191855 w 5054240"/>
              <a:gd name="connsiteY124" fmla="*/ 530493 h 2128225"/>
              <a:gd name="connsiteX125" fmla="*/ 4191855 w 5054240"/>
              <a:gd name="connsiteY125" fmla="*/ 423174 h 2128225"/>
              <a:gd name="connsiteX126" fmla="*/ 4524710 w 5054240"/>
              <a:gd name="connsiteY126" fmla="*/ 423174 h 2128225"/>
              <a:gd name="connsiteX127" fmla="*/ 4524710 w 5054240"/>
              <a:gd name="connsiteY127" fmla="*/ 315853 h 2128225"/>
              <a:gd name="connsiteX128" fmla="*/ 4714499 w 5054240"/>
              <a:gd name="connsiteY128" fmla="*/ 315853 h 2128225"/>
              <a:gd name="connsiteX129" fmla="*/ 4714499 w 5054240"/>
              <a:gd name="connsiteY129" fmla="*/ 208573 h 2128225"/>
              <a:gd name="connsiteX130" fmla="*/ 4798382 w 5054240"/>
              <a:gd name="connsiteY130" fmla="*/ 208573 h 2128225"/>
              <a:gd name="connsiteX131" fmla="*/ 4988724 w 5054240"/>
              <a:gd name="connsiteY131" fmla="*/ 0 h 2128225"/>
              <a:gd name="connsiteX132" fmla="*/ 5054240 w 5054240"/>
              <a:gd name="connsiteY132" fmla="*/ 0 h 2128225"/>
              <a:gd name="connsiteX133" fmla="*/ 5054240 w 5054240"/>
              <a:gd name="connsiteY133" fmla="*/ 101253 h 2128225"/>
              <a:gd name="connsiteX134" fmla="*/ 4988724 w 5054240"/>
              <a:gd name="connsiteY134" fmla="*/ 101253 h 212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5054240" h="2128225">
                <a:moveTo>
                  <a:pt x="1035847" y="1710657"/>
                </a:moveTo>
                <a:lnTo>
                  <a:pt x="1035847" y="1817977"/>
                </a:lnTo>
                <a:lnTo>
                  <a:pt x="1086228" y="1817977"/>
                </a:lnTo>
                <a:lnTo>
                  <a:pt x="1086228" y="1710657"/>
                </a:lnTo>
                <a:close/>
                <a:moveTo>
                  <a:pt x="407851" y="1710270"/>
                </a:moveTo>
                <a:lnTo>
                  <a:pt x="497431" y="1710270"/>
                </a:lnTo>
                <a:lnTo>
                  <a:pt x="497431" y="1817588"/>
                </a:lnTo>
                <a:lnTo>
                  <a:pt x="407851" y="1817588"/>
                </a:lnTo>
                <a:close/>
                <a:moveTo>
                  <a:pt x="1551304" y="1602717"/>
                </a:moveTo>
                <a:lnTo>
                  <a:pt x="1551304" y="1710037"/>
                </a:lnTo>
                <a:lnTo>
                  <a:pt x="1640885" y="1710037"/>
                </a:lnTo>
                <a:lnTo>
                  <a:pt x="1640885" y="1602717"/>
                </a:lnTo>
                <a:close/>
                <a:moveTo>
                  <a:pt x="1253272" y="1602717"/>
                </a:moveTo>
                <a:lnTo>
                  <a:pt x="1253357" y="1602794"/>
                </a:lnTo>
                <a:lnTo>
                  <a:pt x="1253144" y="1602988"/>
                </a:lnTo>
                <a:lnTo>
                  <a:pt x="1253102" y="1602988"/>
                </a:lnTo>
                <a:lnTo>
                  <a:pt x="1253102" y="1710657"/>
                </a:lnTo>
                <a:lnTo>
                  <a:pt x="1303100" y="1710657"/>
                </a:lnTo>
                <a:lnTo>
                  <a:pt x="1303100" y="1602717"/>
                </a:lnTo>
                <a:close/>
                <a:moveTo>
                  <a:pt x="2480990" y="1280526"/>
                </a:moveTo>
                <a:lnTo>
                  <a:pt x="2480990" y="1387845"/>
                </a:lnTo>
                <a:lnTo>
                  <a:pt x="2531371" y="1387845"/>
                </a:lnTo>
                <a:lnTo>
                  <a:pt x="2531371" y="1280526"/>
                </a:lnTo>
                <a:close/>
                <a:moveTo>
                  <a:pt x="1925144" y="1173439"/>
                </a:moveTo>
                <a:lnTo>
                  <a:pt x="2149072" y="1173439"/>
                </a:lnTo>
                <a:lnTo>
                  <a:pt x="2149072" y="1280758"/>
                </a:lnTo>
                <a:lnTo>
                  <a:pt x="1925144" y="1280758"/>
                </a:lnTo>
                <a:close/>
                <a:moveTo>
                  <a:pt x="1785182" y="1173439"/>
                </a:moveTo>
                <a:lnTo>
                  <a:pt x="1874763" y="1173439"/>
                </a:lnTo>
                <a:lnTo>
                  <a:pt x="1874763" y="1280758"/>
                </a:lnTo>
                <a:lnTo>
                  <a:pt x="1785182" y="1280758"/>
                </a:lnTo>
                <a:close/>
                <a:moveTo>
                  <a:pt x="3252434" y="1066081"/>
                </a:moveTo>
                <a:lnTo>
                  <a:pt x="3252434" y="1173400"/>
                </a:lnTo>
                <a:lnTo>
                  <a:pt x="3302814" y="1173400"/>
                </a:lnTo>
                <a:lnTo>
                  <a:pt x="3302814" y="1066081"/>
                </a:lnTo>
                <a:close/>
                <a:moveTo>
                  <a:pt x="3365057" y="958762"/>
                </a:moveTo>
                <a:lnTo>
                  <a:pt x="3365057" y="1066081"/>
                </a:lnTo>
                <a:lnTo>
                  <a:pt x="3454638" y="1066081"/>
                </a:lnTo>
                <a:lnTo>
                  <a:pt x="3454638" y="958762"/>
                </a:lnTo>
                <a:close/>
                <a:moveTo>
                  <a:pt x="4110141" y="745131"/>
                </a:moveTo>
                <a:lnTo>
                  <a:pt x="4110141" y="851442"/>
                </a:lnTo>
                <a:lnTo>
                  <a:pt x="4191814" y="851442"/>
                </a:lnTo>
                <a:lnTo>
                  <a:pt x="4191814" y="745131"/>
                </a:lnTo>
                <a:close/>
                <a:moveTo>
                  <a:pt x="3510673" y="637851"/>
                </a:moveTo>
                <a:lnTo>
                  <a:pt x="3600253" y="637851"/>
                </a:lnTo>
                <a:lnTo>
                  <a:pt x="3600253" y="745170"/>
                </a:lnTo>
                <a:lnTo>
                  <a:pt x="3510673" y="745170"/>
                </a:lnTo>
                <a:close/>
                <a:moveTo>
                  <a:pt x="3874563" y="637812"/>
                </a:moveTo>
                <a:lnTo>
                  <a:pt x="3874563" y="744122"/>
                </a:lnTo>
                <a:lnTo>
                  <a:pt x="3924944" y="744122"/>
                </a:lnTo>
                <a:lnTo>
                  <a:pt x="3924944" y="637812"/>
                </a:lnTo>
                <a:close/>
                <a:moveTo>
                  <a:pt x="4748596" y="315893"/>
                </a:moveTo>
                <a:lnTo>
                  <a:pt x="4748596" y="423174"/>
                </a:lnTo>
                <a:lnTo>
                  <a:pt x="4798978" y="423174"/>
                </a:lnTo>
                <a:lnTo>
                  <a:pt x="4798978" y="315893"/>
                </a:lnTo>
                <a:close/>
                <a:moveTo>
                  <a:pt x="4798382" y="101253"/>
                </a:moveTo>
                <a:lnTo>
                  <a:pt x="4846806" y="101253"/>
                </a:lnTo>
                <a:lnTo>
                  <a:pt x="4846806" y="208573"/>
                </a:lnTo>
                <a:lnTo>
                  <a:pt x="4938342" y="208573"/>
                </a:lnTo>
                <a:lnTo>
                  <a:pt x="4938342" y="315853"/>
                </a:lnTo>
                <a:lnTo>
                  <a:pt x="4988724" y="315853"/>
                </a:lnTo>
                <a:lnTo>
                  <a:pt x="4988724" y="208573"/>
                </a:lnTo>
                <a:lnTo>
                  <a:pt x="5054198" y="208573"/>
                </a:lnTo>
                <a:lnTo>
                  <a:pt x="5054198" y="2128225"/>
                </a:lnTo>
                <a:lnTo>
                  <a:pt x="0" y="2128225"/>
                </a:lnTo>
                <a:lnTo>
                  <a:pt x="0" y="1924598"/>
                </a:lnTo>
                <a:lnTo>
                  <a:pt x="238597" y="1924598"/>
                </a:lnTo>
                <a:lnTo>
                  <a:pt x="238597" y="1817588"/>
                </a:lnTo>
                <a:lnTo>
                  <a:pt x="407851" y="1817588"/>
                </a:lnTo>
                <a:lnTo>
                  <a:pt x="407851" y="1924714"/>
                </a:lnTo>
                <a:lnTo>
                  <a:pt x="547812" y="1924714"/>
                </a:lnTo>
                <a:lnTo>
                  <a:pt x="547812" y="1710230"/>
                </a:lnTo>
                <a:lnTo>
                  <a:pt x="819401" y="1710230"/>
                </a:lnTo>
                <a:lnTo>
                  <a:pt x="819401" y="1602678"/>
                </a:lnTo>
                <a:lnTo>
                  <a:pt x="1026451" y="1602678"/>
                </a:lnTo>
                <a:lnTo>
                  <a:pt x="1026451" y="1495358"/>
                </a:lnTo>
                <a:lnTo>
                  <a:pt x="1118922" y="1495358"/>
                </a:lnTo>
                <a:lnTo>
                  <a:pt x="1118922" y="1387806"/>
                </a:lnTo>
                <a:lnTo>
                  <a:pt x="1169303" y="1387806"/>
                </a:lnTo>
                <a:lnTo>
                  <a:pt x="1169303" y="1495358"/>
                </a:lnTo>
                <a:lnTo>
                  <a:pt x="1392722" y="1495358"/>
                </a:lnTo>
                <a:lnTo>
                  <a:pt x="1392722" y="1602678"/>
                </a:lnTo>
                <a:lnTo>
                  <a:pt x="1442720" y="1602678"/>
                </a:lnTo>
                <a:lnTo>
                  <a:pt x="1442720" y="1495358"/>
                </a:lnTo>
                <a:lnTo>
                  <a:pt x="1546670" y="1495358"/>
                </a:lnTo>
                <a:lnTo>
                  <a:pt x="1546670" y="1387806"/>
                </a:lnTo>
                <a:lnTo>
                  <a:pt x="1835691" y="1387806"/>
                </a:lnTo>
                <a:lnTo>
                  <a:pt x="1835691" y="1495358"/>
                </a:lnTo>
                <a:lnTo>
                  <a:pt x="2068803" y="1495358"/>
                </a:lnTo>
                <a:lnTo>
                  <a:pt x="2068803" y="1388039"/>
                </a:lnTo>
                <a:lnTo>
                  <a:pt x="2295623" y="1388039"/>
                </a:lnTo>
                <a:lnTo>
                  <a:pt x="2295623" y="1280720"/>
                </a:lnTo>
                <a:lnTo>
                  <a:pt x="2199538" y="1280720"/>
                </a:lnTo>
                <a:lnTo>
                  <a:pt x="2199538" y="1173400"/>
                </a:lnTo>
                <a:lnTo>
                  <a:pt x="2566999" y="1173400"/>
                </a:lnTo>
                <a:lnTo>
                  <a:pt x="2566999" y="1066081"/>
                </a:lnTo>
                <a:lnTo>
                  <a:pt x="2790928" y="1066081"/>
                </a:lnTo>
                <a:lnTo>
                  <a:pt x="2790928" y="958762"/>
                </a:lnTo>
                <a:lnTo>
                  <a:pt x="3015282" y="958762"/>
                </a:lnTo>
                <a:lnTo>
                  <a:pt x="3015282" y="1066081"/>
                </a:lnTo>
                <a:lnTo>
                  <a:pt x="3160388" y="1066081"/>
                </a:lnTo>
                <a:lnTo>
                  <a:pt x="3160388" y="851442"/>
                </a:lnTo>
                <a:lnTo>
                  <a:pt x="3249968" y="851442"/>
                </a:lnTo>
                <a:lnTo>
                  <a:pt x="3249968" y="958762"/>
                </a:lnTo>
                <a:lnTo>
                  <a:pt x="3300306" y="958762"/>
                </a:lnTo>
                <a:lnTo>
                  <a:pt x="3300306" y="851442"/>
                </a:lnTo>
                <a:lnTo>
                  <a:pt x="3524236" y="851442"/>
                </a:lnTo>
                <a:lnTo>
                  <a:pt x="3524236" y="958762"/>
                </a:lnTo>
                <a:lnTo>
                  <a:pt x="3574616" y="958762"/>
                </a:lnTo>
                <a:lnTo>
                  <a:pt x="3574616" y="851442"/>
                </a:lnTo>
                <a:lnTo>
                  <a:pt x="3707860" y="851442"/>
                </a:lnTo>
                <a:lnTo>
                  <a:pt x="3707860" y="745131"/>
                </a:lnTo>
                <a:lnTo>
                  <a:pt x="3650719" y="745131"/>
                </a:lnTo>
                <a:lnTo>
                  <a:pt x="3650719" y="637812"/>
                </a:lnTo>
                <a:lnTo>
                  <a:pt x="3765978" y="637812"/>
                </a:lnTo>
                <a:lnTo>
                  <a:pt x="3765978" y="530493"/>
                </a:lnTo>
                <a:lnTo>
                  <a:pt x="3816360" y="530493"/>
                </a:lnTo>
                <a:lnTo>
                  <a:pt x="3816360" y="637812"/>
                </a:lnTo>
                <a:lnTo>
                  <a:pt x="3874308" y="637812"/>
                </a:lnTo>
                <a:lnTo>
                  <a:pt x="3874308" y="530493"/>
                </a:lnTo>
                <a:lnTo>
                  <a:pt x="4098194" y="530493"/>
                </a:lnTo>
                <a:lnTo>
                  <a:pt x="4098194" y="637812"/>
                </a:lnTo>
                <a:lnTo>
                  <a:pt x="4281096" y="637812"/>
                </a:lnTo>
                <a:lnTo>
                  <a:pt x="4281096" y="530493"/>
                </a:lnTo>
                <a:lnTo>
                  <a:pt x="4191855" y="530493"/>
                </a:lnTo>
                <a:lnTo>
                  <a:pt x="4191855" y="423174"/>
                </a:lnTo>
                <a:lnTo>
                  <a:pt x="4524710" y="423174"/>
                </a:lnTo>
                <a:lnTo>
                  <a:pt x="4524710" y="315853"/>
                </a:lnTo>
                <a:lnTo>
                  <a:pt x="4714499" y="315853"/>
                </a:lnTo>
                <a:lnTo>
                  <a:pt x="4714499" y="208573"/>
                </a:lnTo>
                <a:lnTo>
                  <a:pt x="4798382" y="208573"/>
                </a:lnTo>
                <a:close/>
                <a:moveTo>
                  <a:pt x="4988724" y="0"/>
                </a:moveTo>
                <a:lnTo>
                  <a:pt x="5054240" y="0"/>
                </a:lnTo>
                <a:lnTo>
                  <a:pt x="5054240" y="101253"/>
                </a:lnTo>
                <a:lnTo>
                  <a:pt x="4988724" y="101253"/>
                </a:lnTo>
                <a:close/>
              </a:path>
            </a:pathLst>
          </a:custGeom>
        </p:spPr>
      </p:pic>
      <p:sp>
        <p:nvSpPr>
          <p:cNvPr id="2" name="Title 2">
            <a:extLst>
              <a:ext uri="{FF2B5EF4-FFF2-40B4-BE49-F238E27FC236}">
                <a16:creationId xmlns:a16="http://schemas.microsoft.com/office/drawing/2014/main" id="{A359BC39-9F0F-F78E-7370-539E6E562D6E}"/>
              </a:ext>
            </a:extLst>
          </p:cNvPr>
          <p:cNvSpPr txBox="1">
            <a:spLocks/>
          </p:cNvSpPr>
          <p:nvPr userDrawn="1">
            <p:custDataLst>
              <p:tags r:id="rId1"/>
            </p:custDataLst>
          </p:nvPr>
        </p:nvSpPr>
        <p:spPr>
          <a:xfrm>
            <a:off x="335407" y="400812"/>
            <a:ext cx="8261924"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noProof="0">
              <a:ln>
                <a:noFill/>
              </a:ln>
              <a:solidFill>
                <a:srgbClr val="63666A"/>
              </a:solidFill>
              <a:effectLst/>
              <a:uLnTx/>
              <a:uFillTx/>
              <a:latin typeface="Arial"/>
              <a:ea typeface="+mj-ea"/>
              <a:cs typeface="+mj-cs"/>
            </a:endParaRPr>
          </a:p>
        </p:txBody>
      </p:sp>
    </p:spTree>
    <p:extLst>
      <p:ext uri="{BB962C8B-B14F-4D97-AF65-F5344CB8AC3E}">
        <p14:creationId xmlns:p14="http://schemas.microsoft.com/office/powerpoint/2010/main" val="400697556"/>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70560" y="1633728"/>
            <a:ext cx="8778240" cy="4335272"/>
          </a:xfrm>
        </p:spPr>
        <p:txBody>
          <a:bodyPr lIns="0" tIns="0" rIns="0" bIns="0">
            <a:normAutofit/>
          </a:bodyPr>
          <a:lstStyle>
            <a:lvl1pPr marL="230712" indent="-230712">
              <a:lnSpc>
                <a:spcPct val="90000"/>
              </a:lnSpc>
              <a:spcBef>
                <a:spcPts val="1600"/>
              </a:spcBef>
              <a:spcAft>
                <a:spcPts val="0"/>
              </a:spcAft>
              <a:buClr>
                <a:schemeClr val="tx1"/>
              </a:buClr>
              <a:buFont typeface="Arial" panose="020B0604020202020204" pitchFamily="34" charset="0"/>
              <a:buChar char="•"/>
              <a:defRPr sz="2667" b="0" baseline="0">
                <a:solidFill>
                  <a:schemeClr val="tx1"/>
                </a:solidFill>
              </a:defRPr>
            </a:lvl1pPr>
            <a:lvl2pPr marL="531271" indent="-154513">
              <a:lnSpc>
                <a:spcPct val="90000"/>
              </a:lnSpc>
              <a:spcBef>
                <a:spcPts val="800"/>
              </a:spcBef>
              <a:spcAft>
                <a:spcPts val="0"/>
              </a:spcAft>
              <a:buClr>
                <a:schemeClr val="accent1"/>
              </a:buClr>
              <a:buFont typeface="Arial" panose="020B0604020202020204" pitchFamily="34" charset="0"/>
              <a:buChar char="-"/>
              <a:tabLst/>
              <a:defRPr sz="2133" baseline="0">
                <a:solidFill>
                  <a:schemeClr val="accent1"/>
                </a:solidFill>
              </a:defRPr>
            </a:lvl2pPr>
            <a:lvl3pPr marL="766214" indent="-152396">
              <a:lnSpc>
                <a:spcPct val="100000"/>
              </a:lnSpc>
              <a:spcBef>
                <a:spcPts val="800"/>
              </a:spcBef>
              <a:buClr>
                <a:schemeClr val="accent1"/>
              </a:buClr>
              <a:buFont typeface="Arial" panose="020B0604020202020204" pitchFamily="34" charset="0"/>
              <a:buChar char="-"/>
              <a:defRPr sz="1867">
                <a:solidFill>
                  <a:schemeClr val="accent1"/>
                </a:solidFill>
              </a:defRPr>
            </a:lvl3pPr>
            <a:lvl5pPr>
              <a:defRPr/>
            </a:lvl5pPr>
          </a:lstStyle>
          <a:p>
            <a:pPr>
              <a:buClr>
                <a:schemeClr val="tx1"/>
              </a:buClr>
            </a:pPr>
            <a:r>
              <a:rPr lang="en-US"/>
              <a:t>First Level</a:t>
            </a:r>
          </a:p>
          <a:p>
            <a:pPr lvl="1">
              <a:buClr>
                <a:schemeClr val="tx1"/>
              </a:buClr>
            </a:pPr>
            <a:r>
              <a:rPr lang="en-US"/>
              <a:t>Second Level</a:t>
            </a:r>
          </a:p>
          <a:p>
            <a:pPr lvl="2">
              <a:buClr>
                <a:schemeClr val="tx1"/>
              </a:buClr>
            </a:pPr>
            <a:r>
              <a:rPr lang="en-US"/>
              <a:t>Third Level</a:t>
            </a:r>
          </a:p>
        </p:txBody>
      </p:sp>
      <p:sp>
        <p:nvSpPr>
          <p:cNvPr id="10" name="Title 1"/>
          <p:cNvSpPr>
            <a:spLocks noGrp="1"/>
          </p:cNvSpPr>
          <p:nvPr>
            <p:ph type="title" hasCustomPrompt="1"/>
          </p:nvPr>
        </p:nvSpPr>
        <p:spPr>
          <a:xfrm>
            <a:off x="670560" y="381000"/>
            <a:ext cx="10911840" cy="844296"/>
          </a:xfrm>
        </p:spPr>
        <p:txBody>
          <a:bodyPr anchor="b" anchorCtr="0"/>
          <a:lstStyle>
            <a:lvl1pPr>
              <a:defRPr/>
            </a:lvl1pPr>
          </a:lstStyle>
          <a:p>
            <a:br>
              <a:rPr lang="en-US"/>
            </a:br>
            <a:r>
              <a:rPr lang="en-US"/>
              <a:t>Click to edit Master title style</a:t>
            </a:r>
          </a:p>
        </p:txBody>
      </p:sp>
    </p:spTree>
    <p:extLst>
      <p:ext uri="{BB962C8B-B14F-4D97-AF65-F5344CB8AC3E}">
        <p14:creationId xmlns:p14="http://schemas.microsoft.com/office/powerpoint/2010/main" val="3312731645"/>
      </p:ext>
    </p:extLst>
  </p:cSld>
  <p:clrMapOvr>
    <a:masterClrMapping/>
  </p:clrMapOvr>
  <p:hf hdr="0" dt="0"/>
</p:sldLayout>
</file>

<file path=ppt/slideLayouts/slideLayout589.xml><?xml version="1.0" encoding="utf-8"?>
<p:sldLayout xmlns:a="http://schemas.openxmlformats.org/drawingml/2006/main" xmlns:r="http://schemas.openxmlformats.org/officeDocument/2006/relationships" xmlns:p="http://schemas.openxmlformats.org/presentationml/2006/main" userDrawn="1">
  <p:cSld name="3_Title, subtitle and content layout">
    <p:bg>
      <p:bgPr>
        <a:solidFill>
          <a:schemeClr val="tx1"/>
        </a:solidFill>
        <a:effectLst/>
      </p:bgPr>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0">
                <a:solidFill>
                  <a:schemeClr val="bg1"/>
                </a:solidFill>
              </a:defRPr>
            </a:lvl1pPr>
          </a:lstStyle>
          <a:p>
            <a:pPr lvl="0"/>
            <a:r>
              <a:rPr lang="en-US"/>
              <a:t>Click to add subheading</a:t>
            </a:r>
            <a:endParaRPr lang="en-GB"/>
          </a:p>
        </p:txBody>
      </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600" y="2487726"/>
            <a:ext cx="7788608" cy="437027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grpSp>
        <p:nvGrpSpPr>
          <p:cNvPr id="8" name="Group 7">
            <a:extLst>
              <a:ext uri="{FF2B5EF4-FFF2-40B4-BE49-F238E27FC236}">
                <a16:creationId xmlns:a16="http://schemas.microsoft.com/office/drawing/2014/main" id="{2782FBF0-9D9E-19AE-DC30-0796829725EF}"/>
              </a:ext>
            </a:extLst>
          </p:cNvPr>
          <p:cNvGrpSpPr/>
          <p:nvPr userDrawn="1"/>
        </p:nvGrpSpPr>
        <p:grpSpPr>
          <a:xfrm>
            <a:off x="10863102" y="309052"/>
            <a:ext cx="911847" cy="382707"/>
            <a:chOff x="7459170" y="481236"/>
            <a:chExt cx="2697427" cy="1132124"/>
          </a:xfrm>
          <a:solidFill>
            <a:schemeClr val="bg1"/>
          </a:solidFill>
        </p:grpSpPr>
        <p:sp>
          <p:nvSpPr>
            <p:cNvPr id="9" name="Freeform 8">
              <a:extLst>
                <a:ext uri="{FF2B5EF4-FFF2-40B4-BE49-F238E27FC236}">
                  <a16:creationId xmlns:a16="http://schemas.microsoft.com/office/drawing/2014/main" id="{42864910-4C7A-3D4E-48CD-D85DC4AD32A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D69A189-E4A4-09BC-625A-758110B855A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BDE20C1-01CD-0CE9-490C-A9CF25F6EB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4EEA97-1562-463A-B42C-64C9073EE06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E66572C-F5C9-C297-A47F-DDF2919DAF5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4611A91-BFB8-7814-3464-E6309F7AED7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D9681DA-ADD0-918D-C879-984AD193B14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40712883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tx1"/>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r>
              <a:rPr lang="en-US"/>
              <a:t>Click icon to add picture</a:t>
            </a:r>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0900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4" name="Rectangle 3">
            <a:extLst>
              <a:ext uri="{FF2B5EF4-FFF2-40B4-BE49-F238E27FC236}">
                <a16:creationId xmlns:a16="http://schemas.microsoft.com/office/drawing/2014/main" id="{6E50E2FF-EA26-870F-B676-8DAF035F30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Either use photo dividers or </a:t>
            </a:r>
            <a:r>
              <a:rPr lang="en-US" sz="1400" b="0" err="1">
                <a:solidFill>
                  <a:srgbClr val="E40046"/>
                </a:solidFill>
              </a:rPr>
              <a:t>colour</a:t>
            </a:r>
            <a:r>
              <a:rPr lang="en-US" sz="1400" b="0">
                <a:solidFill>
                  <a:srgbClr val="E40046"/>
                </a:solidFill>
              </a:rPr>
              <a:t> dividers don’t mix and match</a:t>
            </a:r>
          </a:p>
          <a:p>
            <a:pPr marL="0" indent="0" algn="l">
              <a:buFont typeface="+mj-lt"/>
              <a:buNone/>
            </a:pPr>
            <a:endParaRPr lang="en-US" sz="1800" b="0">
              <a:solidFill>
                <a:srgbClr val="E40046"/>
              </a:solidFill>
            </a:endParaRPr>
          </a:p>
        </p:txBody>
      </p:sp>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63724710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userDrawn="1">
  <p:cSld name="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r>
              <a:rPr lang="en-GB"/>
              <a:t>January 2024</a:t>
            </a:r>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0" name="Title Placeholder 13">
            <a:extLst>
              <a:ext uri="{FF2B5EF4-FFF2-40B4-BE49-F238E27FC236}">
                <a16:creationId xmlns:a16="http://schemas.microsoft.com/office/drawing/2014/main" id="{FEDC99D9-7D20-7A02-6B05-F38CE8BA333B}"/>
              </a:ext>
            </a:extLst>
          </p:cNvPr>
          <p:cNvSpPr>
            <a:spLocks noGrp="1"/>
          </p:cNvSpPr>
          <p:nvPr>
            <p:ph type="title"/>
          </p:nvPr>
        </p:nvSpPr>
        <p:spPr>
          <a:xfrm>
            <a:off x="245607" y="120481"/>
            <a:ext cx="10620375" cy="553998"/>
          </a:xfrm>
          <a:prstGeom prst="rect">
            <a:avLst/>
          </a:prstGeom>
        </p:spPr>
        <p:txBody>
          <a:bodyPr vert="horz" wrap="square" lIns="0" tIns="0" rIns="0" bIns="0" rtlCol="0" anchor="t" anchorCtr="0">
            <a:spAutoFit/>
          </a:bodyPr>
          <a:lstStyle/>
          <a:p>
            <a:r>
              <a:rPr lang="en-US"/>
              <a:t>Click to add heading</a:t>
            </a:r>
            <a:endParaRPr lang="en-GB"/>
          </a:p>
        </p:txBody>
      </p:sp>
    </p:spTree>
    <p:extLst>
      <p:ext uri="{BB962C8B-B14F-4D97-AF65-F5344CB8AC3E}">
        <p14:creationId xmlns:p14="http://schemas.microsoft.com/office/powerpoint/2010/main" val="29523999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userDrawn="1">
  <p:cSld name="2_Title, subtitle and content layout">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67689498"/>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userDrawn="1">
  <p:cSld name="Texture-01">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00E2FCD-8CD8-00FD-C558-D19EF5E99D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454" y="133351"/>
            <a:ext cx="11915209" cy="6579552"/>
          </a:xfrm>
          <a:prstGeom prst="rect">
            <a:avLst/>
          </a:prstGeom>
        </p:spPr>
      </p:pic>
      <p:pic>
        <p:nvPicPr>
          <p:cNvPr id="3" name="Picture 2">
            <a:extLst>
              <a:ext uri="{FF2B5EF4-FFF2-40B4-BE49-F238E27FC236}">
                <a16:creationId xmlns:a16="http://schemas.microsoft.com/office/drawing/2014/main" id="{47F70AAE-A14D-86B4-18B7-4837A234728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44079" y="6534150"/>
            <a:ext cx="1539367" cy="120512"/>
          </a:xfrm>
          <a:prstGeom prst="rect">
            <a:avLst/>
          </a:prstGeom>
        </p:spPr>
      </p:pic>
      <p:sp>
        <p:nvSpPr>
          <p:cNvPr id="4" name="Footer Placeholder 3">
            <a:extLst>
              <a:ext uri="{FF2B5EF4-FFF2-40B4-BE49-F238E27FC236}">
                <a16:creationId xmlns:a16="http://schemas.microsoft.com/office/drawing/2014/main" id="{21AED7B6-E930-4B73-845F-99262175EA18}"/>
              </a:ext>
            </a:extLst>
          </p:cNvPr>
          <p:cNvSpPr>
            <a:spLocks noGrp="1"/>
          </p:cNvSpPr>
          <p:nvPr>
            <p:ph type="ftr" sz="quarter" idx="11"/>
          </p:nvPr>
        </p:nvSpPr>
        <p:spPr/>
        <p:txBody>
          <a:bodyPr/>
          <a:lstStyle>
            <a:lvl1pPr>
              <a:defRPr>
                <a:solidFill>
                  <a:srgbClr val="81B2C3"/>
                </a:solidFill>
              </a:defRPr>
            </a:lvl1pPr>
          </a:lstStyle>
          <a:p>
            <a:r>
              <a:rPr lang="en-US"/>
              <a:t>Copyright © 2025, Oracle and/or its affiliates</a:t>
            </a:r>
          </a:p>
        </p:txBody>
      </p:sp>
      <p:sp>
        <p:nvSpPr>
          <p:cNvPr id="5" name="Slide Number Placeholder 4">
            <a:extLst>
              <a:ext uri="{FF2B5EF4-FFF2-40B4-BE49-F238E27FC236}">
                <a16:creationId xmlns:a16="http://schemas.microsoft.com/office/drawing/2014/main" id="{83691DFD-B788-4684-96F9-4DD21020B309}"/>
              </a:ext>
            </a:extLst>
          </p:cNvPr>
          <p:cNvSpPr>
            <a:spLocks noGrp="1"/>
          </p:cNvSpPr>
          <p:nvPr>
            <p:ph type="sldNum" sz="quarter" idx="12"/>
          </p:nvPr>
        </p:nvSpPr>
        <p:spPr/>
        <p:txBody>
          <a:bodyPr/>
          <a:lstStyle>
            <a:lvl1pPr>
              <a:defRPr>
                <a:solidFill>
                  <a:srgbClr val="81B2C3"/>
                </a:solidFill>
              </a:defRPr>
            </a:lvl1pPr>
          </a:lstStyle>
          <a:p>
            <a:fld id="{345D60D9-5372-5F40-9443-0F9AE5BDC3C8}" type="slidenum">
              <a:rPr lang="en-US" smtClean="0"/>
              <a:pPr/>
              <a:t>‹#›</a:t>
            </a:fld>
            <a:endParaRPr lang="en-US"/>
          </a:p>
        </p:txBody>
      </p:sp>
    </p:spTree>
    <p:extLst>
      <p:ext uri="{BB962C8B-B14F-4D97-AF65-F5344CB8AC3E}">
        <p14:creationId xmlns:p14="http://schemas.microsoft.com/office/powerpoint/2010/main" val="153371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793630"/>
            <a:ext cx="10845800" cy="5412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508000" y="620606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Tree>
    <p:extLst>
      <p:ext uri="{BB962C8B-B14F-4D97-AF65-F5344CB8AC3E}">
        <p14:creationId xmlns:p14="http://schemas.microsoft.com/office/powerpoint/2010/main" val="200406582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grpSp>
        <p:nvGrpSpPr>
          <p:cNvPr id="4" name="Group 3"/>
          <p:cNvGrpSpPr/>
          <p:nvPr userDrawn="1"/>
        </p:nvGrpSpPr>
        <p:grpSpPr>
          <a:xfrm>
            <a:off x="603136" y="648306"/>
            <a:ext cx="2303185" cy="45719"/>
            <a:chOff x="586073" y="1056890"/>
            <a:chExt cx="2303185" cy="63781"/>
          </a:xfrm>
        </p:grpSpPr>
        <p:sp>
          <p:nvSpPr>
            <p:cNvPr id="5" name="Rounded Rectangle 4"/>
            <p:cNvSpPr/>
            <p:nvPr/>
          </p:nvSpPr>
          <p:spPr>
            <a:xfrm>
              <a:off x="586073" y="1056890"/>
              <a:ext cx="443834" cy="63781"/>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1048916" y="1056891"/>
              <a:ext cx="661896" cy="6377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1729821" y="1056893"/>
              <a:ext cx="1159437" cy="6377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62857432"/>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BBFAE-89EF-4B81-B6D0-BC4B6E92AE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7651F3-3104-4DD8-9DD7-6E53B11708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34587285"/>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3"/>
        <p:cNvGrpSpPr/>
        <p:nvPr/>
      </p:nvGrpSpPr>
      <p:grpSpPr>
        <a:xfrm>
          <a:off x="0" y="0"/>
          <a:ext cx="0" cy="0"/>
          <a:chOff x="0" y="0"/>
          <a:chExt cx="0" cy="0"/>
        </a:xfrm>
      </p:grpSpPr>
      <p:sp>
        <p:nvSpPr>
          <p:cNvPr id="74" name="Google Shape;74;p16"/>
          <p:cNvSpPr txBox="1">
            <a:spLocks noGrp="1"/>
          </p:cNvSpPr>
          <p:nvPr>
            <p:ph type="title"/>
          </p:nvPr>
        </p:nvSpPr>
        <p:spPr>
          <a:xfrm>
            <a:off x="677473" y="714169"/>
            <a:ext cx="10837200" cy="4836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75" name="Google Shape;75;p16"/>
          <p:cNvSpPr txBox="1">
            <a:spLocks noGrp="1"/>
          </p:cNvSpPr>
          <p:nvPr>
            <p:ph type="sldNum" idx="12"/>
          </p:nvPr>
        </p:nvSpPr>
        <p:spPr>
          <a:xfrm>
            <a:off x="8771327" y="6402411"/>
            <a:ext cx="2743200" cy="206000"/>
          </a:xfrm>
          <a:prstGeom prst="rect">
            <a:avLst/>
          </a:prstGeom>
          <a:noFill/>
          <a:ln>
            <a:noFill/>
          </a:ln>
        </p:spPr>
        <p:txBody>
          <a:bodyPr spcFirstLastPara="1" wrap="square" lIns="68575" tIns="34275" rIns="68575" bIns="34275"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19207623"/>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2 Logo">
  <p:cSld name="2 Logo">
    <p:spTree>
      <p:nvGrpSpPr>
        <p:cNvPr id="1" name="Shape 1292"/>
        <p:cNvGrpSpPr/>
        <p:nvPr/>
      </p:nvGrpSpPr>
      <p:grpSpPr>
        <a:xfrm>
          <a:off x="0" y="0"/>
          <a:ext cx="0" cy="0"/>
          <a:chOff x="0" y="0"/>
          <a:chExt cx="0" cy="0"/>
        </a:xfrm>
      </p:grpSpPr>
      <p:pic>
        <p:nvPicPr>
          <p:cNvPr id="1293" name="Google Shape;1293;p76"/>
          <p:cNvPicPr preferRelativeResize="0"/>
          <p:nvPr/>
        </p:nvPicPr>
        <p:blipFill rotWithShape="1">
          <a:blip r:embed="rId2">
            <a:alphaModFix/>
          </a:blip>
          <a:srcRect/>
          <a:stretch/>
        </p:blipFill>
        <p:spPr>
          <a:xfrm>
            <a:off x="11033333" y="565460"/>
            <a:ext cx="635735" cy="445095"/>
          </a:xfrm>
          <a:prstGeom prst="rect">
            <a:avLst/>
          </a:prstGeom>
          <a:noFill/>
          <a:ln>
            <a:noFill/>
          </a:ln>
        </p:spPr>
      </p:pic>
    </p:spTree>
    <p:extLst>
      <p:ext uri="{BB962C8B-B14F-4D97-AF65-F5344CB8AC3E}">
        <p14:creationId xmlns:p14="http://schemas.microsoft.com/office/powerpoint/2010/main" val="155958148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matchingName="Basic - two line">
  <p:cSld name="Basic - two line">
    <p:spTree>
      <p:nvGrpSpPr>
        <p:cNvPr id="1" name="Shape 3964"/>
        <p:cNvGrpSpPr/>
        <p:nvPr/>
      </p:nvGrpSpPr>
      <p:grpSpPr>
        <a:xfrm>
          <a:off x="0" y="0"/>
          <a:ext cx="0" cy="0"/>
          <a:chOff x="0" y="0"/>
          <a:chExt cx="0" cy="0"/>
        </a:xfrm>
      </p:grpSpPr>
      <p:pic>
        <p:nvPicPr>
          <p:cNvPr id="3965" name="Google Shape;3965;p277" descr="Salesforce logoGoogle Shape;13;p3"/>
          <p:cNvPicPr preferRelativeResize="0"/>
          <p:nvPr/>
        </p:nvPicPr>
        <p:blipFill rotWithShape="1">
          <a:blip r:embed="rId2">
            <a:alphaModFix/>
          </a:blip>
          <a:srcRect/>
          <a:stretch/>
        </p:blipFill>
        <p:spPr>
          <a:xfrm>
            <a:off x="11033333" y="565459"/>
            <a:ext cx="635735" cy="445096"/>
          </a:xfrm>
          <a:prstGeom prst="rect">
            <a:avLst/>
          </a:prstGeom>
          <a:noFill/>
          <a:ln>
            <a:noFill/>
          </a:ln>
        </p:spPr>
      </p:pic>
      <p:sp>
        <p:nvSpPr>
          <p:cNvPr id="3966" name="Google Shape;3966;p277"/>
          <p:cNvSpPr txBox="1">
            <a:spLocks noGrp="1"/>
          </p:cNvSpPr>
          <p:nvPr>
            <p:ph type="body" idx="1"/>
          </p:nvPr>
        </p:nvSpPr>
        <p:spPr>
          <a:xfrm>
            <a:off x="547366" y="6365912"/>
            <a:ext cx="11040000" cy="165600"/>
          </a:xfrm>
          <a:prstGeom prst="rect">
            <a:avLst/>
          </a:prstGeom>
          <a:noFill/>
          <a:ln>
            <a:noFill/>
          </a:ln>
        </p:spPr>
        <p:txBody>
          <a:bodyPr spcFirstLastPara="1" wrap="square" lIns="0" tIns="0" rIns="0" bIns="0" anchor="b" anchorCtr="0">
            <a:noAutofit/>
          </a:bodyPr>
          <a:lstStyle>
            <a:lvl1pPr marL="304815" lvl="0" indent="-152408" algn="l">
              <a:lnSpc>
                <a:spcPct val="115000"/>
              </a:lnSpc>
              <a:spcBef>
                <a:spcPts val="0"/>
              </a:spcBef>
              <a:spcAft>
                <a:spcPts val="0"/>
              </a:spcAft>
              <a:buClr>
                <a:srgbClr val="444444"/>
              </a:buClr>
              <a:buSzPts val="1400"/>
              <a:buFont typeface="Salesforce Sans"/>
              <a:buNone/>
              <a:defRPr sz="933">
                <a:solidFill>
                  <a:srgbClr val="444444"/>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7" name="Google Shape;3967;p277"/>
          <p:cNvSpPr txBox="1">
            <a:spLocks noGrp="1"/>
          </p:cNvSpPr>
          <p:nvPr>
            <p:ph type="body" idx="2"/>
          </p:nvPr>
        </p:nvSpPr>
        <p:spPr>
          <a:xfrm>
            <a:off x="547369" y="579119"/>
            <a:ext cx="10095200" cy="1042400"/>
          </a:xfrm>
          <a:prstGeom prst="rect">
            <a:avLst/>
          </a:prstGeom>
          <a:noFill/>
          <a:ln>
            <a:noFill/>
          </a:ln>
        </p:spPr>
        <p:txBody>
          <a:bodyPr spcFirstLastPara="1" wrap="square" lIns="0" tIns="0" rIns="0" bIns="0" anchor="t" anchorCtr="0">
            <a:noAutofit/>
          </a:bodyPr>
          <a:lstStyle>
            <a:lvl1pPr marL="304815" lvl="0" indent="-279414" algn="l">
              <a:lnSpc>
                <a:spcPct val="100000"/>
              </a:lnSpc>
              <a:spcBef>
                <a:spcPts val="533"/>
              </a:spcBef>
              <a:spcAft>
                <a:spcPts val="0"/>
              </a:spcAft>
              <a:buSzPts val="3000"/>
              <a:buChar char="●"/>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8" name="Google Shape;3968;p277"/>
          <p:cNvSpPr txBox="1">
            <a:spLocks noGrp="1"/>
          </p:cNvSpPr>
          <p:nvPr>
            <p:ph type="body" idx="3"/>
          </p:nvPr>
        </p:nvSpPr>
        <p:spPr>
          <a:xfrm>
            <a:off x="547369" y="1676400"/>
            <a:ext cx="10095200" cy="597600"/>
          </a:xfrm>
          <a:prstGeom prst="rect">
            <a:avLst/>
          </a:prstGeom>
          <a:noFill/>
          <a:ln>
            <a:noFill/>
          </a:ln>
        </p:spPr>
        <p:txBody>
          <a:bodyPr spcFirstLastPara="1" wrap="square" lIns="0" tIns="0" rIns="0" bIns="0" anchor="t" anchorCtr="0">
            <a:noAutofit/>
          </a:bodyPr>
          <a:lstStyle>
            <a:lvl1pPr marL="304815" lvl="0" indent="-152408" algn="l">
              <a:lnSpc>
                <a:spcPct val="90000"/>
              </a:lnSpc>
              <a:spcBef>
                <a:spcPts val="0"/>
              </a:spcBef>
              <a:spcAft>
                <a:spcPts val="0"/>
              </a:spcAft>
              <a:buClr>
                <a:srgbClr val="032D60"/>
              </a:buClr>
              <a:buSzPts val="3600"/>
              <a:buFont typeface="Salesforce Sans"/>
              <a:buNone/>
              <a:defRPr sz="2400">
                <a:solidFill>
                  <a:srgbClr val="032D60"/>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9" name="Google Shape;3969;p277"/>
          <p:cNvSpPr txBox="1">
            <a:spLocks noGrp="1"/>
          </p:cNvSpPr>
          <p:nvPr>
            <p:ph type="sldNum" idx="12"/>
          </p:nvPr>
        </p:nvSpPr>
        <p:spPr>
          <a:xfrm>
            <a:off x="5892799" y="6126500"/>
            <a:ext cx="2844800" cy="460000"/>
          </a:xfrm>
          <a:prstGeom prst="rect">
            <a:avLst/>
          </a:prstGeom>
          <a:noFill/>
          <a:ln>
            <a:noFill/>
          </a:ln>
        </p:spPr>
        <p:txBody>
          <a:bodyPr spcFirstLastPara="1" wrap="square" lIns="182850" tIns="182850" rIns="182850" bIns="182850" anchor="ctr" anchorCtr="0">
            <a:normAutofit/>
          </a:bodyPr>
          <a:lstStyle>
            <a:lvl1pPr marL="0" lvl="0"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1pPr>
            <a:lvl2pPr marL="0" lvl="1"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2pPr>
            <a:lvl3pPr marL="0" lvl="2"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3pPr>
            <a:lvl4pPr marL="0" lvl="3"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4pPr>
            <a:lvl5pPr marL="0" lvl="4"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5pPr>
            <a:lvl6pPr marL="0" lvl="5"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6pPr>
            <a:lvl7pPr marL="0" lvl="6"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7pPr>
            <a:lvl8pPr marL="0" lvl="7"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8pPr>
            <a:lvl9pPr marL="0" lvl="8"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9pPr>
          </a:lstStyle>
          <a:p>
            <a:fld id="{00000000-1234-1234-1234-123412341234}" type="slidenum">
              <a:rPr lang="en" smtClean="0"/>
              <a:pPr/>
              <a:t>‹#›</a:t>
            </a:fld>
            <a:endParaRPr lang="en">
              <a:solidFill>
                <a:schemeClr val="dk2"/>
              </a:solidFill>
              <a:latin typeface="Arial"/>
              <a:ea typeface="Arial"/>
              <a:cs typeface="Arial"/>
              <a:sym typeface="Arial"/>
            </a:endParaRPr>
          </a:p>
        </p:txBody>
      </p:sp>
    </p:spTree>
    <p:extLst>
      <p:ext uri="{BB962C8B-B14F-4D97-AF65-F5344CB8AC3E}">
        <p14:creationId xmlns:p14="http://schemas.microsoft.com/office/powerpoint/2010/main" val="2689455745"/>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37 Product feature 1">
  <p:cSld name="37 Product feature 1">
    <p:bg>
      <p:bgPr>
        <a:solidFill>
          <a:schemeClr val="accent5"/>
        </a:solidFill>
        <a:effectLst/>
      </p:bgPr>
    </p:bg>
    <p:spTree>
      <p:nvGrpSpPr>
        <p:cNvPr id="1" name="Shape 4401"/>
        <p:cNvGrpSpPr/>
        <p:nvPr/>
      </p:nvGrpSpPr>
      <p:grpSpPr>
        <a:xfrm>
          <a:off x="0" y="0"/>
          <a:ext cx="0" cy="0"/>
          <a:chOff x="0" y="0"/>
          <a:chExt cx="0" cy="0"/>
        </a:xfrm>
      </p:grpSpPr>
      <p:pic>
        <p:nvPicPr>
          <p:cNvPr id="4402" name="Google Shape;4402;p320"/>
          <p:cNvPicPr preferRelativeResize="0"/>
          <p:nvPr/>
        </p:nvPicPr>
        <p:blipFill rotWithShape="1">
          <a:blip r:embed="rId2">
            <a:alphaModFix amt="38000"/>
          </a:blip>
          <a:srcRect l="894" t="10837" r="42467" b="30071"/>
          <a:stretch/>
        </p:blipFill>
        <p:spPr>
          <a:xfrm rot="10800000" flipH="1">
            <a:off x="9361771" y="-45033"/>
            <a:ext cx="3236721" cy="2336147"/>
          </a:xfrm>
          <a:prstGeom prst="rect">
            <a:avLst/>
          </a:prstGeom>
          <a:noFill/>
          <a:ln>
            <a:noFill/>
          </a:ln>
        </p:spPr>
      </p:pic>
      <p:pic>
        <p:nvPicPr>
          <p:cNvPr id="4403" name="Google Shape;4403;p320"/>
          <p:cNvPicPr preferRelativeResize="0"/>
          <p:nvPr/>
        </p:nvPicPr>
        <p:blipFill rotWithShape="1">
          <a:blip r:embed="rId3">
            <a:alphaModFix/>
          </a:blip>
          <a:srcRect t="10944" r="11426"/>
          <a:stretch/>
        </p:blipFill>
        <p:spPr>
          <a:xfrm flipH="1">
            <a:off x="1629" y="107376"/>
            <a:ext cx="6496522" cy="5469049"/>
          </a:xfrm>
          <a:prstGeom prst="rect">
            <a:avLst/>
          </a:prstGeom>
          <a:noFill/>
          <a:ln>
            <a:noFill/>
          </a:ln>
        </p:spPr>
      </p:pic>
      <p:grpSp>
        <p:nvGrpSpPr>
          <p:cNvPr id="4404" name="Google Shape;4404;p320"/>
          <p:cNvGrpSpPr/>
          <p:nvPr/>
        </p:nvGrpSpPr>
        <p:grpSpPr>
          <a:xfrm flipH="1">
            <a:off x="-205" y="5794637"/>
            <a:ext cx="3697085" cy="1064200"/>
            <a:chOff x="8490945" y="5794637"/>
            <a:chExt cx="3696100" cy="1064200"/>
          </a:xfrm>
        </p:grpSpPr>
        <p:pic>
          <p:nvPicPr>
            <p:cNvPr id="4405" name="Google Shape;4405;p320" title="alt=&quot;&quot;"/>
            <p:cNvPicPr preferRelativeResize="0"/>
            <p:nvPr/>
          </p:nvPicPr>
          <p:blipFill rotWithShape="1">
            <a:blip r:embed="rId4">
              <a:alphaModFix/>
            </a:blip>
            <a:srcRect b="9428"/>
            <a:stretch/>
          </p:blipFill>
          <p:spPr>
            <a:xfrm rot="5">
              <a:off x="8490945" y="5999329"/>
              <a:ext cx="2927399" cy="858670"/>
            </a:xfrm>
            <a:prstGeom prst="rect">
              <a:avLst/>
            </a:prstGeom>
            <a:noFill/>
            <a:ln>
              <a:noFill/>
            </a:ln>
          </p:spPr>
        </p:pic>
        <p:pic>
          <p:nvPicPr>
            <p:cNvPr id="4406" name="Google Shape;4406;p320" title="alt=&quot;&quot;"/>
            <p:cNvPicPr preferRelativeResize="0"/>
            <p:nvPr/>
          </p:nvPicPr>
          <p:blipFill rotWithShape="1">
            <a:blip r:embed="rId5">
              <a:alphaModFix/>
            </a:blip>
            <a:srcRect l="19156" t="21979" r="31986" b="38630"/>
            <a:stretch/>
          </p:blipFill>
          <p:spPr>
            <a:xfrm>
              <a:off x="10330873" y="5794637"/>
              <a:ext cx="1856172" cy="1064200"/>
            </a:xfrm>
            <a:prstGeom prst="rect">
              <a:avLst/>
            </a:prstGeom>
            <a:noFill/>
            <a:ln>
              <a:noFill/>
            </a:ln>
          </p:spPr>
        </p:pic>
      </p:grpSp>
      <p:pic>
        <p:nvPicPr>
          <p:cNvPr id="4407" name="Google Shape;4407;p320"/>
          <p:cNvPicPr preferRelativeResize="0"/>
          <p:nvPr/>
        </p:nvPicPr>
        <p:blipFill rotWithShape="1">
          <a:blip r:embed="rId6">
            <a:alphaModFix/>
          </a:blip>
          <a:srcRect r="9966"/>
          <a:stretch/>
        </p:blipFill>
        <p:spPr>
          <a:xfrm>
            <a:off x="11022809" y="5971339"/>
            <a:ext cx="1182147" cy="890026"/>
          </a:xfrm>
          <a:prstGeom prst="rect">
            <a:avLst/>
          </a:prstGeom>
          <a:noFill/>
          <a:ln>
            <a:noFill/>
          </a:ln>
        </p:spPr>
      </p:pic>
      <p:pic>
        <p:nvPicPr>
          <p:cNvPr id="4408" name="Google Shape;4408;p320" descr="pasted-image.pdf"/>
          <p:cNvPicPr preferRelativeResize="0"/>
          <p:nvPr/>
        </p:nvPicPr>
        <p:blipFill rotWithShape="1">
          <a:blip r:embed="rId7">
            <a:alphaModFix/>
          </a:blip>
          <a:srcRect/>
          <a:stretch/>
        </p:blipFill>
        <p:spPr>
          <a:xfrm>
            <a:off x="11033333" y="565460"/>
            <a:ext cx="635735" cy="445095"/>
          </a:xfrm>
          <a:prstGeom prst="rect">
            <a:avLst/>
          </a:prstGeom>
          <a:noFill/>
          <a:ln>
            <a:noFill/>
          </a:ln>
        </p:spPr>
      </p:pic>
      <p:sp>
        <p:nvSpPr>
          <p:cNvPr id="4409" name="Google Shape;4409;p320"/>
          <p:cNvSpPr txBox="1">
            <a:spLocks noGrp="1"/>
          </p:cNvSpPr>
          <p:nvPr>
            <p:ph type="title"/>
          </p:nvPr>
        </p:nvSpPr>
        <p:spPr>
          <a:xfrm>
            <a:off x="579117" y="1926336"/>
            <a:ext cx="5116000" cy="2617600"/>
          </a:xfrm>
          <a:prstGeom prst="rect">
            <a:avLst/>
          </a:prstGeom>
        </p:spPr>
        <p:txBody>
          <a:bodyPr spcFirstLastPara="1" wrap="square" lIns="0" tIns="0" rIns="0" bIns="0" anchor="b" anchorCtr="0">
            <a:noAutofit/>
          </a:bodyPr>
          <a:lstStyle>
            <a:lvl1pPr lvl="0">
              <a:lnSpc>
                <a:spcPct val="90000"/>
              </a:lnSpc>
              <a:spcBef>
                <a:spcPts val="0"/>
              </a:spcBef>
              <a:spcAft>
                <a:spcPts val="0"/>
              </a:spcAft>
              <a:buSzPts val="7200"/>
              <a:buNone/>
              <a:defRPr sz="4800"/>
            </a:lvl1pPr>
            <a:lvl2pPr lvl="1">
              <a:spcBef>
                <a:spcPts val="0"/>
              </a:spcBef>
              <a:spcAft>
                <a:spcPts val="0"/>
              </a:spcAft>
              <a:buSzPts val="5600"/>
              <a:buNone/>
              <a:defRPr/>
            </a:lvl2pPr>
            <a:lvl3pPr lvl="2">
              <a:spcBef>
                <a:spcPts val="0"/>
              </a:spcBef>
              <a:spcAft>
                <a:spcPts val="0"/>
              </a:spcAft>
              <a:buSzPts val="5600"/>
              <a:buNone/>
              <a:defRPr/>
            </a:lvl3pPr>
            <a:lvl4pPr lvl="3">
              <a:spcBef>
                <a:spcPts val="0"/>
              </a:spcBef>
              <a:spcAft>
                <a:spcPts val="0"/>
              </a:spcAft>
              <a:buSzPts val="5600"/>
              <a:buNone/>
              <a:defRPr/>
            </a:lvl4pPr>
            <a:lvl5pPr lvl="4">
              <a:spcBef>
                <a:spcPts val="0"/>
              </a:spcBef>
              <a:spcAft>
                <a:spcPts val="0"/>
              </a:spcAft>
              <a:buSzPts val="5600"/>
              <a:buNone/>
              <a:defRPr/>
            </a:lvl5pPr>
            <a:lvl6pPr lvl="5">
              <a:spcBef>
                <a:spcPts val="0"/>
              </a:spcBef>
              <a:spcAft>
                <a:spcPts val="0"/>
              </a:spcAft>
              <a:buSzPts val="5600"/>
              <a:buNone/>
              <a:defRPr/>
            </a:lvl6pPr>
            <a:lvl7pPr lvl="6">
              <a:spcBef>
                <a:spcPts val="0"/>
              </a:spcBef>
              <a:spcAft>
                <a:spcPts val="0"/>
              </a:spcAft>
              <a:buSzPts val="5600"/>
              <a:buNone/>
              <a:defRPr/>
            </a:lvl7pPr>
            <a:lvl8pPr lvl="7">
              <a:spcBef>
                <a:spcPts val="0"/>
              </a:spcBef>
              <a:spcAft>
                <a:spcPts val="0"/>
              </a:spcAft>
              <a:buSzPts val="5600"/>
              <a:buNone/>
              <a:defRPr/>
            </a:lvl8pPr>
            <a:lvl9pPr lvl="8">
              <a:spcBef>
                <a:spcPts val="0"/>
              </a:spcBef>
              <a:spcAft>
                <a:spcPts val="0"/>
              </a:spcAft>
              <a:buSzPts val="5600"/>
              <a:buNone/>
              <a:defRPr/>
            </a:lvl9pPr>
          </a:lstStyle>
          <a:p>
            <a:endParaRPr/>
          </a:p>
        </p:txBody>
      </p:sp>
    </p:spTree>
    <p:extLst>
      <p:ext uri="{BB962C8B-B14F-4D97-AF65-F5344CB8AC3E}">
        <p14:creationId xmlns:p14="http://schemas.microsoft.com/office/powerpoint/2010/main" val="2552786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8DCF67D8-827F-4F8D-ADCA-87BADEC95FCD}"/>
              </a:ext>
            </a:extLst>
          </p:cNvPr>
          <p:cNvSpPr>
            <a:spLocks noGrp="1"/>
          </p:cNvSpPr>
          <p:nvPr>
            <p:ph sz="quarter" idx="10"/>
          </p:nvPr>
        </p:nvSpPr>
        <p:spPr>
          <a:xfrm>
            <a:off x="609600" y="838200"/>
            <a:ext cx="107442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8AB797-F1D5-4462-A0E2-48B6634C2AF7}"/>
              </a:ext>
            </a:extLst>
          </p:cNvPr>
          <p:cNvSpPr>
            <a:spLocks noGrp="1"/>
          </p:cNvSpPr>
          <p:nvPr>
            <p:ph type="sldNum" sz="quarter" idx="11"/>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20152281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Tree>
    <p:extLst>
      <p:ext uri="{BB962C8B-B14F-4D97-AF65-F5344CB8AC3E}">
        <p14:creationId xmlns:p14="http://schemas.microsoft.com/office/powerpoint/2010/main" val="829054028"/>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Title and content layout 2">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13816"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1DDFA5C8-65C4-F016-C39A-2B72D60E0770}"/>
              </a:ext>
            </a:extLst>
          </p:cNvPr>
          <p:cNvSpPr>
            <a:spLocks noGrp="1"/>
          </p:cNvSpPr>
          <p:nvPr>
            <p:ph type="sldNum" sz="quarter" idx="11"/>
          </p:nvPr>
        </p:nvSpPr>
        <p:spPr/>
        <p:txBody>
          <a:bodyPr/>
          <a:lstStyle>
            <a:lvl1pPr>
              <a:defRPr>
                <a:solidFill>
                  <a:schemeClr val="bg2"/>
                </a:solidFill>
              </a:defRPr>
            </a:lvl1pPr>
          </a:lstStyle>
          <a:p>
            <a:fld id="{9E74224C-F5B0-D04D-98A9-64EC68DC7E07}" type="slidenum">
              <a:rPr lang="en-US" smtClean="0"/>
              <a:pPr/>
              <a:t>‹#›</a:t>
            </a:fld>
            <a:endParaRPr lang="en-US"/>
          </a:p>
        </p:txBody>
      </p:sp>
    </p:spTree>
    <p:extLst>
      <p:ext uri="{BB962C8B-B14F-4D97-AF65-F5344CB8AC3E}">
        <p14:creationId xmlns:p14="http://schemas.microsoft.com/office/powerpoint/2010/main" val="1715690504"/>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1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99099112"/>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cSld name="1_Title and content layout 1">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2A51CCD9-EE1C-6E4E-3062-32FDB9DF76D6}"/>
              </a:ext>
            </a:extLst>
          </p:cNvPr>
          <p:cNvSpPr>
            <a:spLocks noGrp="1"/>
          </p:cNvSpPr>
          <p:nvPr>
            <p:ph type="sldNum" sz="quarter" idx="11"/>
          </p:nvPr>
        </p:nvSpPr>
        <p:spPr/>
        <p:txBody>
          <a:bodyPr/>
          <a:lstStyle/>
          <a:p>
            <a:fld id="{9E74224C-F5B0-D04D-98A9-64EC68DC7E07}" type="slidenum">
              <a:rPr lang="en-US" smtClean="0"/>
              <a:pPr/>
              <a:t>‹#›</a:t>
            </a:fld>
            <a:endParaRPr lang="en-US"/>
          </a:p>
        </p:txBody>
      </p:sp>
      <p:sp>
        <p:nvSpPr>
          <p:cNvPr id="2" name="Rectangle 1">
            <a:extLst>
              <a:ext uri="{FF2B5EF4-FFF2-40B4-BE49-F238E27FC236}">
                <a16:creationId xmlns:a16="http://schemas.microsoft.com/office/drawing/2014/main" id="{2434A8C4-0EF4-2B48-0CFC-1F2EFFB0DABC}"/>
              </a:ext>
            </a:extLst>
          </p:cNvPr>
          <p:cNvSpPr/>
          <p:nvPr userDrawn="1"/>
        </p:nvSpPr>
        <p:spPr>
          <a:xfrm>
            <a:off x="6663267" y="4191000"/>
            <a:ext cx="5528733" cy="2667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Tree>
    <p:extLst>
      <p:ext uri="{BB962C8B-B14F-4D97-AF65-F5344CB8AC3E}">
        <p14:creationId xmlns:p14="http://schemas.microsoft.com/office/powerpoint/2010/main" val="327894811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Title and subtitle layout no brick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888B8D"/>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grpSp>
    </p:spTree>
    <p:extLst>
      <p:ext uri="{BB962C8B-B14F-4D97-AF65-F5344CB8AC3E}">
        <p14:creationId xmlns:p14="http://schemas.microsoft.com/office/powerpoint/2010/main" val="3784941168"/>
      </p:ext>
    </p:extLst>
  </p:cSld>
  <p:clrMapOvr>
    <a:masterClrMapping/>
  </p:clrMapOvr>
  <p:hf hdr="0" ftr="0" dt="0"/>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1_Three point triang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4A4E4F81-F86D-CD02-2171-579792C7EC2B}"/>
              </a:ext>
            </a:extLst>
          </p:cNvPr>
          <p:cNvGrpSpPr/>
          <p:nvPr userDrawn="1"/>
        </p:nvGrpSpPr>
        <p:grpSpPr>
          <a:xfrm>
            <a:off x="815975"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endParaRPr lang="en-US"/>
              </a:p>
            </p:txBody>
          </p:sp>
        </p:grpSp>
      </p:grpSp>
      <p:sp>
        <p:nvSpPr>
          <p:cNvPr id="28" name="Text Placeholder 49">
            <a:extLst>
              <a:ext uri="{FF2B5EF4-FFF2-40B4-BE49-F238E27FC236}">
                <a16:creationId xmlns:a16="http://schemas.microsoft.com/office/drawing/2014/main" id="{5FC72C66-FCCA-1483-EC99-713AC8B15A7D}"/>
              </a:ext>
            </a:extLst>
          </p:cNvPr>
          <p:cNvSpPr>
            <a:spLocks noGrp="1"/>
          </p:cNvSpPr>
          <p:nvPr>
            <p:ph type="body" sz="quarter" idx="16" hasCustomPrompt="1"/>
          </p:nvPr>
        </p:nvSpPr>
        <p:spPr>
          <a:xfrm>
            <a:off x="7712433" y="3191585"/>
            <a:ext cx="3483481"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728483" y="2831683"/>
            <a:ext cx="3461755" cy="324044"/>
          </a:xfrm>
        </p:spPr>
        <p:txBody>
          <a:bodyPr>
            <a:normAutofit/>
          </a:bodyPr>
          <a:lstStyle>
            <a:lvl1pPr algn="r">
              <a:defRPr sz="1600" b="1">
                <a:solidFill>
                  <a:schemeClr val="tx1"/>
                </a:solidFill>
              </a:defRPr>
            </a:lvl1pPr>
          </a:lstStyle>
          <a:p>
            <a:pPr lvl="0"/>
            <a:r>
              <a:rPr lang="en-US"/>
              <a:t>Lorem ipsum dolor</a:t>
            </a:r>
          </a:p>
        </p:txBody>
      </p:sp>
      <p:sp>
        <p:nvSpPr>
          <p:cNvPr id="30" name="Text Placeholder 49">
            <a:extLst>
              <a:ext uri="{FF2B5EF4-FFF2-40B4-BE49-F238E27FC236}">
                <a16:creationId xmlns:a16="http://schemas.microsoft.com/office/drawing/2014/main" id="{444760C2-A78A-C2A0-9F75-9D105F5BD15F}"/>
              </a:ext>
            </a:extLst>
          </p:cNvPr>
          <p:cNvSpPr>
            <a:spLocks noGrp="1"/>
          </p:cNvSpPr>
          <p:nvPr>
            <p:ph type="body" sz="quarter" idx="18" hasCustomPrompt="1"/>
          </p:nvPr>
        </p:nvSpPr>
        <p:spPr>
          <a:xfrm>
            <a:off x="980036" y="3191585"/>
            <a:ext cx="3744364"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6086" y="2831683"/>
            <a:ext cx="3721010" cy="324044"/>
          </a:xfrm>
        </p:spPr>
        <p:txBody>
          <a:bodyPr>
            <a:normAutofit/>
          </a:bodyPr>
          <a:lstStyle>
            <a:lvl1pPr>
              <a:defRPr sz="1600" b="1">
                <a:solidFill>
                  <a:schemeClr val="tx1"/>
                </a:solidFill>
              </a:defRPr>
            </a:lvl1pPr>
          </a:lstStyle>
          <a:p>
            <a:pPr lvl="0"/>
            <a:r>
              <a:rPr lang="en-US"/>
              <a:t>Lorem ipsum dolor</a:t>
            </a:r>
          </a:p>
        </p:txBody>
      </p:sp>
      <p:sp>
        <p:nvSpPr>
          <p:cNvPr id="32" name="Text Placeholder 49">
            <a:extLst>
              <a:ext uri="{FF2B5EF4-FFF2-40B4-BE49-F238E27FC236}">
                <a16:creationId xmlns:a16="http://schemas.microsoft.com/office/drawing/2014/main" id="{B5261580-97E4-50AF-6C07-FE08EF6676C8}"/>
              </a:ext>
            </a:extLst>
          </p:cNvPr>
          <p:cNvSpPr>
            <a:spLocks noGrp="1"/>
          </p:cNvSpPr>
          <p:nvPr>
            <p:ph type="body" sz="quarter" idx="20" hasCustomPrompt="1"/>
          </p:nvPr>
        </p:nvSpPr>
        <p:spPr>
          <a:xfrm>
            <a:off x="4082984" y="5998702"/>
            <a:ext cx="4125585"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103826" y="5638800"/>
            <a:ext cx="4099853" cy="324044"/>
          </a:xfrm>
        </p:spPr>
        <p:txBody>
          <a:bodyPr>
            <a:normAutofit/>
          </a:bodyPr>
          <a:lstStyle>
            <a:lvl1pPr algn="ctr">
              <a:defRPr sz="1600" b="1">
                <a:solidFill>
                  <a:schemeClr val="tx1"/>
                </a:solidFill>
              </a:defRPr>
            </a:lvl1pPr>
          </a:lstStyle>
          <a:p>
            <a:pPr lvl="0"/>
            <a:r>
              <a:rPr lang="en-US"/>
              <a:t>Lorem ipsum dolor</a:t>
            </a:r>
          </a:p>
        </p:txBody>
      </p:sp>
    </p:spTree>
    <p:extLst>
      <p:ext uri="{BB962C8B-B14F-4D97-AF65-F5344CB8AC3E}">
        <p14:creationId xmlns:p14="http://schemas.microsoft.com/office/powerpoint/2010/main" val="4278704545"/>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3400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490" cy="6858000"/>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2352831451"/>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268226514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13067028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2" name="Text Placeholder 5">
            <a:extLst>
              <a:ext uri="{FF2B5EF4-FFF2-40B4-BE49-F238E27FC236}">
                <a16:creationId xmlns:a16="http://schemas.microsoft.com/office/drawing/2014/main" id="{15476F96-96A3-F297-64CD-A68870CAC866}"/>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3" name="Rectangle 2">
            <a:extLst>
              <a:ext uri="{FF2B5EF4-FFF2-40B4-BE49-F238E27FC236}">
                <a16:creationId xmlns:a16="http://schemas.microsoft.com/office/drawing/2014/main" id="{C9F37950-57D5-285F-ED6F-B80D85ADAC01}"/>
              </a:ext>
            </a:extLst>
          </p:cNvPr>
          <p:cNvSpPr/>
          <p:nvPr userDrawn="1"/>
        </p:nvSpPr>
        <p:spPr>
          <a:xfrm>
            <a:off x="8075966" y="-950927"/>
            <a:ext cx="4116033" cy="7799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Mix and match color only divider slides</a:t>
            </a: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187131" y="687949"/>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080813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07019680"/>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tx1"/>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r>
              <a:rPr lang="en-US"/>
              <a:t>Click icon to add picture</a:t>
            </a:r>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0900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sp>
        <p:nvSpPr>
          <p:cNvPr id="4" name="Rectangle 3">
            <a:extLst>
              <a:ext uri="{FF2B5EF4-FFF2-40B4-BE49-F238E27FC236}">
                <a16:creationId xmlns:a16="http://schemas.microsoft.com/office/drawing/2014/main" id="{6E50E2FF-EA26-870F-B676-8DAF035F30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Either use photo dividers or </a:t>
            </a:r>
            <a:r>
              <a:rPr lang="en-US" sz="1400" b="0" err="1">
                <a:solidFill>
                  <a:srgbClr val="E40046"/>
                </a:solidFill>
              </a:rPr>
              <a:t>colour</a:t>
            </a:r>
            <a:r>
              <a:rPr lang="en-US" sz="1400" b="0">
                <a:solidFill>
                  <a:srgbClr val="E40046"/>
                </a:solidFill>
              </a:rPr>
              <a:t> dividers don’t mix and match</a:t>
            </a:r>
          </a:p>
          <a:p>
            <a:pPr marL="0" indent="0" algn="l">
              <a:buFont typeface="+mj-lt"/>
              <a:buNone/>
            </a:pPr>
            <a:endParaRPr lang="en-US" sz="1800" b="0">
              <a:solidFill>
                <a:srgbClr val="E40046"/>
              </a:solidFill>
            </a:endParaRPr>
          </a:p>
        </p:txBody>
      </p:sp>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6502331"/>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Tree>
    <p:extLst>
      <p:ext uri="{BB962C8B-B14F-4D97-AF65-F5344CB8AC3E}">
        <p14:creationId xmlns:p14="http://schemas.microsoft.com/office/powerpoint/2010/main" val="182109775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79152174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3710616313"/>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122060254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1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2375339"/>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01636254"/>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subtitle and content layout">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0076555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1_Title, subtitle and content layout">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38200"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86C72681-8C5E-0677-81BC-19D52016E5E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406863586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Blank slide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7195976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1047139906"/>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grpSp>
        <p:nvGrpSpPr>
          <p:cNvPr id="4" name="Group 3">
            <a:extLst>
              <a:ext uri="{FF2B5EF4-FFF2-40B4-BE49-F238E27FC236}">
                <a16:creationId xmlns:a16="http://schemas.microsoft.com/office/drawing/2014/main" id="{65B9153A-9F04-345A-4CA1-963B01DA3273}"/>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accent4"/>
                </a:solidFill>
              </a:defRPr>
            </a:lvl1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a:extLst>
              <a:ext uri="{FF2B5EF4-FFF2-40B4-BE49-F238E27FC236}">
                <a16:creationId xmlns:a16="http://schemas.microsoft.com/office/drawing/2014/main" id="{7BEF0843-863D-70F2-4F87-921E41A6C3C2}"/>
              </a:ext>
            </a:extLst>
          </p:cNvPr>
          <p:cNvSpPr>
            <a:spLocks noGrp="1"/>
          </p:cNvSpPr>
          <p:nvPr>
            <p:ph sz="quarter" idx="19"/>
          </p:nvPr>
        </p:nvSpPr>
        <p:spPr>
          <a:xfrm>
            <a:off x="6219825" y="1983440"/>
            <a:ext cx="5190004" cy="442408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86163202"/>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1_Two column layout">
    <p:bg>
      <p:bgPr>
        <a:solidFill>
          <a:schemeClr val="tx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76E4936-B714-2B4B-2E2F-7DE308A8C3D7}"/>
              </a:ext>
            </a:extLst>
          </p:cNvPr>
          <p:cNvSpPr>
            <a:spLocks noGrp="1"/>
          </p:cNvSpPr>
          <p:nvPr>
            <p:ph sz="quarter" idx="17"/>
          </p:nvPr>
        </p:nvSpPr>
        <p:spPr>
          <a:xfrm>
            <a:off x="620877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Graphic 1">
            <a:extLst>
              <a:ext uri="{FF2B5EF4-FFF2-40B4-BE49-F238E27FC236}">
                <a16:creationId xmlns:a16="http://schemas.microsoft.com/office/drawing/2014/main" id="{95CD01D7-56B5-9C8A-0FB6-B47B59DA2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45159386"/>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Three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447800"/>
            <a:ext cx="3403771"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a:t>
            </a:r>
            <a:endParaRPr lang="en-GB"/>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447800"/>
            <a:ext cx="3397405"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447800"/>
            <a:ext cx="3420657"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grpSp>
        <p:nvGrpSpPr>
          <p:cNvPr id="5" name="Group 4">
            <a:extLst>
              <a:ext uri="{FF2B5EF4-FFF2-40B4-BE49-F238E27FC236}">
                <a16:creationId xmlns:a16="http://schemas.microsoft.com/office/drawing/2014/main" id="{591F3DED-33E1-2A27-8417-C862386CC9D7}"/>
              </a:ext>
            </a:extLst>
          </p:cNvPr>
          <p:cNvGrpSpPr/>
          <p:nvPr/>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7" name="Content Placeholder 17">
            <a:extLst>
              <a:ext uri="{FF2B5EF4-FFF2-40B4-BE49-F238E27FC236}">
                <a16:creationId xmlns:a16="http://schemas.microsoft.com/office/drawing/2014/main" id="{0A776850-50EE-E561-4FFE-50964993BAB6}"/>
              </a:ext>
            </a:extLst>
          </p:cNvPr>
          <p:cNvSpPr>
            <a:spLocks noGrp="1"/>
          </p:cNvSpPr>
          <p:nvPr>
            <p:ph sz="quarter" idx="20"/>
          </p:nvPr>
        </p:nvSpPr>
        <p:spPr>
          <a:xfrm>
            <a:off x="82296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7E6C179B-B0FB-66D9-590F-5E20DFE7C553}"/>
              </a:ext>
            </a:extLst>
          </p:cNvPr>
          <p:cNvSpPr>
            <a:spLocks noGrp="1"/>
          </p:cNvSpPr>
          <p:nvPr>
            <p:ph sz="quarter" idx="21"/>
          </p:nvPr>
        </p:nvSpPr>
        <p:spPr>
          <a:xfrm>
            <a:off x="44196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Content Placeholder 17">
            <a:extLst>
              <a:ext uri="{FF2B5EF4-FFF2-40B4-BE49-F238E27FC236}">
                <a16:creationId xmlns:a16="http://schemas.microsoft.com/office/drawing/2014/main" id="{A9EE28E5-77BF-A362-4864-199E18F99C58}"/>
              </a:ext>
            </a:extLst>
          </p:cNvPr>
          <p:cNvSpPr>
            <a:spLocks noGrp="1"/>
          </p:cNvSpPr>
          <p:nvPr>
            <p:ph sz="quarter" idx="22"/>
          </p:nvPr>
        </p:nvSpPr>
        <p:spPr>
          <a:xfrm>
            <a:off x="80010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430445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Four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444752"/>
            <a:ext cx="2514650"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Four column</a:t>
            </a:r>
            <a:endParaRPr lang="en-GB"/>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444752"/>
            <a:ext cx="2514731"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444752"/>
            <a:ext cx="2538964"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444752"/>
            <a:ext cx="2528283" cy="382587"/>
          </a:xfrm>
        </p:spPr>
        <p:txBody>
          <a:bodyPr anchor="b"/>
          <a:lstStyle>
            <a:lvl1pPr marL="0" indent="0">
              <a:buNone/>
              <a:defRPr sz="2000" b="1">
                <a:solidFill>
                  <a:schemeClr val="tx2"/>
                </a:solidFill>
                <a:latin typeface="+mn-lt"/>
              </a:defRPr>
            </a:lvl1pPr>
          </a:lstStyle>
          <a:p>
            <a:pPr lvl="0"/>
            <a:r>
              <a:rPr lang="en-US"/>
              <a:t>Click to add text</a:t>
            </a:r>
          </a:p>
        </p:txBody>
      </p:sp>
      <p:grpSp>
        <p:nvGrpSpPr>
          <p:cNvPr id="2" name="Group 1">
            <a:extLst>
              <a:ext uri="{FF2B5EF4-FFF2-40B4-BE49-F238E27FC236}">
                <a16:creationId xmlns:a16="http://schemas.microsoft.com/office/drawing/2014/main" id="{16C66BC4-CE7E-E443-BEF3-B7BBA49FE37B}"/>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 name="Content Placeholder 17">
            <a:extLst>
              <a:ext uri="{FF2B5EF4-FFF2-40B4-BE49-F238E27FC236}">
                <a16:creationId xmlns:a16="http://schemas.microsoft.com/office/drawing/2014/main" id="{6836F395-4748-2751-1D21-D93193CB7721}"/>
              </a:ext>
            </a:extLst>
          </p:cNvPr>
          <p:cNvSpPr>
            <a:spLocks noGrp="1"/>
          </p:cNvSpPr>
          <p:nvPr>
            <p:ph sz="quarter" idx="22"/>
          </p:nvPr>
        </p:nvSpPr>
        <p:spPr>
          <a:xfrm>
            <a:off x="82296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24FDCD0B-78AD-B0E5-5A66-A6DC66DC0B27}"/>
              </a:ext>
            </a:extLst>
          </p:cNvPr>
          <p:cNvSpPr>
            <a:spLocks noGrp="1"/>
          </p:cNvSpPr>
          <p:nvPr>
            <p:ph sz="quarter" idx="23"/>
          </p:nvPr>
        </p:nvSpPr>
        <p:spPr>
          <a:xfrm>
            <a:off x="350520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Content Placeholder 17">
            <a:extLst>
              <a:ext uri="{FF2B5EF4-FFF2-40B4-BE49-F238E27FC236}">
                <a16:creationId xmlns:a16="http://schemas.microsoft.com/office/drawing/2014/main" id="{EA511637-20FB-46F5-8612-86CB87549DD6}"/>
              </a:ext>
            </a:extLst>
          </p:cNvPr>
          <p:cNvSpPr>
            <a:spLocks noGrp="1"/>
          </p:cNvSpPr>
          <p:nvPr>
            <p:ph sz="quarter" idx="24"/>
          </p:nvPr>
        </p:nvSpPr>
        <p:spPr>
          <a:xfrm>
            <a:off x="6199632"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tent Placeholder 17">
            <a:extLst>
              <a:ext uri="{FF2B5EF4-FFF2-40B4-BE49-F238E27FC236}">
                <a16:creationId xmlns:a16="http://schemas.microsoft.com/office/drawing/2014/main" id="{8D7C06DE-97BF-BAF3-02DD-41639AF97BE4}"/>
              </a:ext>
            </a:extLst>
          </p:cNvPr>
          <p:cNvSpPr>
            <a:spLocks noGrp="1"/>
          </p:cNvSpPr>
          <p:nvPr>
            <p:ph sz="quarter" idx="25"/>
          </p:nvPr>
        </p:nvSpPr>
        <p:spPr>
          <a:xfrm>
            <a:off x="8915400" y="1981200"/>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65584368"/>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00754494"/>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62244231"/>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774833986"/>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2280351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44221054"/>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7162129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a:t>
            </a:r>
            <a:endParaRPr lang="en-GB"/>
          </a:p>
        </p:txBody>
      </p:sp>
    </p:spTree>
    <p:extLst>
      <p:ext uri="{BB962C8B-B14F-4D97-AF65-F5344CB8AC3E}">
        <p14:creationId xmlns:p14="http://schemas.microsoft.com/office/powerpoint/2010/main" val="3305455460"/>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395987514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30564355"/>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1401851144"/>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847051249"/>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23312768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19188791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166979578"/>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869010381"/>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60336512"/>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8422673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56231969"/>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852696465"/>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590239038"/>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64844699"/>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62981730"/>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34076407"/>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49909058"/>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sp>
        <p:nvSpPr>
          <p:cNvPr id="4" name="Text Placeholder 3">
            <a:extLst>
              <a:ext uri="{FF2B5EF4-FFF2-40B4-BE49-F238E27FC236}">
                <a16:creationId xmlns:a16="http://schemas.microsoft.com/office/drawing/2014/main" id="{10E304D8-E056-A7AA-58D8-A147EFD98485}"/>
              </a:ext>
            </a:extLst>
          </p:cNvPr>
          <p:cNvSpPr>
            <a:spLocks noGrp="1"/>
          </p:cNvSpPr>
          <p:nvPr>
            <p:ph type="body" sz="quarter" idx="16" hasCustomPrompt="1"/>
          </p:nvPr>
        </p:nvSpPr>
        <p:spPr>
          <a:xfrm>
            <a:off x="4956048" y="1252728"/>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0" name="Text Placeholder 9">
            <a:extLst>
              <a:ext uri="{FF2B5EF4-FFF2-40B4-BE49-F238E27FC236}">
                <a16:creationId xmlns:a16="http://schemas.microsoft.com/office/drawing/2014/main" id="{969D1756-695B-B522-5749-6A28C9BCED27}"/>
              </a:ext>
            </a:extLst>
          </p:cNvPr>
          <p:cNvSpPr>
            <a:spLocks noGrp="1"/>
          </p:cNvSpPr>
          <p:nvPr>
            <p:ph type="body" sz="quarter" idx="17" hasCustomPrompt="1"/>
          </p:nvPr>
        </p:nvSpPr>
        <p:spPr>
          <a:xfrm>
            <a:off x="49560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11" name="Text Placeholder 3">
            <a:extLst>
              <a:ext uri="{FF2B5EF4-FFF2-40B4-BE49-F238E27FC236}">
                <a16:creationId xmlns:a16="http://schemas.microsoft.com/office/drawing/2014/main" id="{C8D3A221-BC13-56A4-A300-930347348C77}"/>
              </a:ext>
            </a:extLst>
          </p:cNvPr>
          <p:cNvSpPr>
            <a:spLocks noGrp="1"/>
          </p:cNvSpPr>
          <p:nvPr>
            <p:ph type="body" sz="quarter" idx="18" hasCustomPrompt="1"/>
          </p:nvPr>
        </p:nvSpPr>
        <p:spPr>
          <a:xfrm>
            <a:off x="8156448" y="1280160"/>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2" name="Text Placeholder 3">
            <a:extLst>
              <a:ext uri="{FF2B5EF4-FFF2-40B4-BE49-F238E27FC236}">
                <a16:creationId xmlns:a16="http://schemas.microsoft.com/office/drawing/2014/main" id="{74C486AC-0049-6245-B083-A937EBC236AB}"/>
              </a:ext>
            </a:extLst>
          </p:cNvPr>
          <p:cNvSpPr>
            <a:spLocks noGrp="1"/>
          </p:cNvSpPr>
          <p:nvPr>
            <p:ph type="body" sz="quarter" idx="19" hasCustomPrompt="1"/>
          </p:nvPr>
        </p:nvSpPr>
        <p:spPr>
          <a:xfrm>
            <a:off x="4956048" y="4169664"/>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4" name="Text Placeholder 3">
            <a:extLst>
              <a:ext uri="{FF2B5EF4-FFF2-40B4-BE49-F238E27FC236}">
                <a16:creationId xmlns:a16="http://schemas.microsoft.com/office/drawing/2014/main" id="{CD3B0620-9894-F125-14B9-CD640560FD6A}"/>
              </a:ext>
            </a:extLst>
          </p:cNvPr>
          <p:cNvSpPr>
            <a:spLocks noGrp="1"/>
          </p:cNvSpPr>
          <p:nvPr>
            <p:ph type="body" sz="quarter" idx="20" hasCustomPrompt="1"/>
          </p:nvPr>
        </p:nvSpPr>
        <p:spPr>
          <a:xfrm>
            <a:off x="8153870" y="4197096"/>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9" name="Text Placeholder 9">
            <a:extLst>
              <a:ext uri="{FF2B5EF4-FFF2-40B4-BE49-F238E27FC236}">
                <a16:creationId xmlns:a16="http://schemas.microsoft.com/office/drawing/2014/main" id="{04F6BC5D-29CC-231E-4719-983E8BA15AA8}"/>
              </a:ext>
            </a:extLst>
          </p:cNvPr>
          <p:cNvSpPr>
            <a:spLocks noGrp="1"/>
          </p:cNvSpPr>
          <p:nvPr>
            <p:ph type="body" sz="quarter" idx="21" hasCustomPrompt="1"/>
          </p:nvPr>
        </p:nvSpPr>
        <p:spPr>
          <a:xfrm>
            <a:off x="81564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0" name="Text Placeholder 9">
            <a:extLst>
              <a:ext uri="{FF2B5EF4-FFF2-40B4-BE49-F238E27FC236}">
                <a16:creationId xmlns:a16="http://schemas.microsoft.com/office/drawing/2014/main" id="{01FEAD51-6040-1673-BC66-C9E1B8FC27F9}"/>
              </a:ext>
            </a:extLst>
          </p:cNvPr>
          <p:cNvSpPr>
            <a:spLocks noGrp="1"/>
          </p:cNvSpPr>
          <p:nvPr>
            <p:ph type="body" sz="quarter" idx="22" hasCustomPrompt="1"/>
          </p:nvPr>
        </p:nvSpPr>
        <p:spPr>
          <a:xfrm>
            <a:off x="4956048" y="553212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4" name="Text Placeholder 9">
            <a:extLst>
              <a:ext uri="{FF2B5EF4-FFF2-40B4-BE49-F238E27FC236}">
                <a16:creationId xmlns:a16="http://schemas.microsoft.com/office/drawing/2014/main" id="{EAEAE809-2E7A-2AF1-FB64-4210F149FF24}"/>
              </a:ext>
            </a:extLst>
          </p:cNvPr>
          <p:cNvSpPr>
            <a:spLocks noGrp="1"/>
          </p:cNvSpPr>
          <p:nvPr>
            <p:ph type="body" sz="quarter" idx="23" hasCustomPrompt="1"/>
          </p:nvPr>
        </p:nvSpPr>
        <p:spPr>
          <a:xfrm>
            <a:off x="8156448" y="5530584"/>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Tree>
    <p:extLst>
      <p:ext uri="{BB962C8B-B14F-4D97-AF65-F5344CB8AC3E}">
        <p14:creationId xmlns:p14="http://schemas.microsoft.com/office/powerpoint/2010/main" val="279506889"/>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3277990"/>
            <a:ext cx="10647929" cy="451005"/>
            <a:chOff x="815974" y="3277990"/>
            <a:chExt cx="7080250" cy="451005"/>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Text Placeholder 22">
            <a:extLst>
              <a:ext uri="{FF2B5EF4-FFF2-40B4-BE49-F238E27FC236}">
                <a16:creationId xmlns:a16="http://schemas.microsoft.com/office/drawing/2014/main" id="{D5AF262E-3C8F-28B1-BCCF-0A97917A8B4F}"/>
              </a:ext>
            </a:extLst>
          </p:cNvPr>
          <p:cNvSpPr>
            <a:spLocks noGrp="1"/>
          </p:cNvSpPr>
          <p:nvPr>
            <p:ph type="body" sz="quarter" idx="15" hasCustomPrompt="1"/>
          </p:nvPr>
        </p:nvSpPr>
        <p:spPr>
          <a:xfrm>
            <a:off x="813816" y="2862072"/>
            <a:ext cx="5321808" cy="676656"/>
          </a:xfrm>
        </p:spPr>
        <p:txBody>
          <a:bodyPr anchor="ctr" anchorCtr="0">
            <a:normAutofit/>
          </a:bodyPr>
          <a:lstStyle>
            <a:lvl1pPr algn="ctr">
              <a:defRPr sz="4400" b="1">
                <a:solidFill>
                  <a:schemeClr val="tx1"/>
                </a:solidFill>
              </a:defRPr>
            </a:lvl1pPr>
          </a:lstStyle>
          <a:p>
            <a:pPr lvl="0"/>
            <a:r>
              <a:rPr lang="en-US"/>
              <a:t>01</a:t>
            </a:r>
          </a:p>
        </p:txBody>
      </p:sp>
      <p:sp>
        <p:nvSpPr>
          <p:cNvPr id="24" name="Text Placeholder 22">
            <a:extLst>
              <a:ext uri="{FF2B5EF4-FFF2-40B4-BE49-F238E27FC236}">
                <a16:creationId xmlns:a16="http://schemas.microsoft.com/office/drawing/2014/main" id="{0DE0CA70-573A-82EE-EA48-2FD42347E080}"/>
              </a:ext>
            </a:extLst>
          </p:cNvPr>
          <p:cNvSpPr>
            <a:spLocks noGrp="1"/>
          </p:cNvSpPr>
          <p:nvPr>
            <p:ph type="body" sz="quarter" idx="16" hasCustomPrompt="1"/>
          </p:nvPr>
        </p:nvSpPr>
        <p:spPr>
          <a:xfrm>
            <a:off x="6172200" y="2633472"/>
            <a:ext cx="5321808" cy="676656"/>
          </a:xfrm>
        </p:spPr>
        <p:txBody>
          <a:bodyPr anchor="ctr" anchorCtr="0">
            <a:normAutofit/>
          </a:bodyPr>
          <a:lstStyle>
            <a:lvl1pPr algn="ctr">
              <a:defRPr sz="4400" b="1">
                <a:solidFill>
                  <a:schemeClr val="tx1"/>
                </a:solidFill>
              </a:defRPr>
            </a:lvl1pPr>
          </a:lstStyle>
          <a:p>
            <a:pPr lvl="0"/>
            <a:r>
              <a:rPr lang="en-US"/>
              <a:t>02</a:t>
            </a:r>
          </a:p>
        </p:txBody>
      </p:sp>
    </p:spTree>
    <p:extLst>
      <p:ext uri="{BB962C8B-B14F-4D97-AF65-F5344CB8AC3E}">
        <p14:creationId xmlns:p14="http://schemas.microsoft.com/office/powerpoint/2010/main" val="29373404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16460476"/>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Text Placeholder 25">
            <a:extLst>
              <a:ext uri="{FF2B5EF4-FFF2-40B4-BE49-F238E27FC236}">
                <a16:creationId xmlns:a16="http://schemas.microsoft.com/office/drawing/2014/main" id="{5055A999-4100-1F48-E076-B4B41D3A070A}"/>
              </a:ext>
            </a:extLst>
          </p:cNvPr>
          <p:cNvSpPr>
            <a:spLocks noGrp="1"/>
          </p:cNvSpPr>
          <p:nvPr>
            <p:ph type="body" sz="quarter" idx="17" hasCustomPrompt="1"/>
          </p:nvPr>
        </p:nvSpPr>
        <p:spPr>
          <a:xfrm>
            <a:off x="813816" y="2862072"/>
            <a:ext cx="2651760" cy="813816"/>
          </a:xfrm>
        </p:spPr>
        <p:txBody>
          <a:bodyPr anchor="ctr" anchorCtr="0">
            <a:normAutofit/>
          </a:bodyPr>
          <a:lstStyle>
            <a:lvl1pPr algn="ctr">
              <a:defRPr sz="4400" b="1">
                <a:solidFill>
                  <a:schemeClr val="tx1"/>
                </a:solidFill>
              </a:defRPr>
            </a:lvl1pPr>
          </a:lstStyle>
          <a:p>
            <a:pPr lvl="0"/>
            <a:r>
              <a:rPr lang="en-US"/>
              <a:t>01</a:t>
            </a:r>
          </a:p>
        </p:txBody>
      </p:sp>
      <p:sp>
        <p:nvSpPr>
          <p:cNvPr id="31" name="Text Placeholder 25">
            <a:extLst>
              <a:ext uri="{FF2B5EF4-FFF2-40B4-BE49-F238E27FC236}">
                <a16:creationId xmlns:a16="http://schemas.microsoft.com/office/drawing/2014/main" id="{99F001E0-F189-607B-C6FA-DA3C0646966B}"/>
              </a:ext>
            </a:extLst>
          </p:cNvPr>
          <p:cNvSpPr>
            <a:spLocks noGrp="1"/>
          </p:cNvSpPr>
          <p:nvPr>
            <p:ph type="body" sz="quarter" idx="18" hasCustomPrompt="1"/>
          </p:nvPr>
        </p:nvSpPr>
        <p:spPr>
          <a:xfrm>
            <a:off x="3483864" y="2633472"/>
            <a:ext cx="2651760" cy="813816"/>
          </a:xfrm>
        </p:spPr>
        <p:txBody>
          <a:bodyPr anchor="ctr" anchorCtr="0">
            <a:normAutofit/>
          </a:bodyPr>
          <a:lstStyle>
            <a:lvl1pPr algn="ctr">
              <a:defRPr sz="4400" b="1">
                <a:solidFill>
                  <a:schemeClr val="tx1"/>
                </a:solidFill>
              </a:defRPr>
            </a:lvl1pPr>
          </a:lstStyle>
          <a:p>
            <a:pPr lvl="0"/>
            <a:r>
              <a:rPr lang="en-US"/>
              <a:t>02</a:t>
            </a:r>
          </a:p>
        </p:txBody>
      </p:sp>
      <p:sp>
        <p:nvSpPr>
          <p:cNvPr id="32" name="Text Placeholder 25">
            <a:extLst>
              <a:ext uri="{FF2B5EF4-FFF2-40B4-BE49-F238E27FC236}">
                <a16:creationId xmlns:a16="http://schemas.microsoft.com/office/drawing/2014/main" id="{7AA02A4B-ABF3-889B-1E7C-DBCB4E50825D}"/>
              </a:ext>
            </a:extLst>
          </p:cNvPr>
          <p:cNvSpPr>
            <a:spLocks noGrp="1"/>
          </p:cNvSpPr>
          <p:nvPr>
            <p:ph type="body" sz="quarter" idx="19" hasCustomPrompt="1"/>
          </p:nvPr>
        </p:nvSpPr>
        <p:spPr>
          <a:xfrm>
            <a:off x="6113709" y="2414016"/>
            <a:ext cx="2651760" cy="813816"/>
          </a:xfrm>
        </p:spPr>
        <p:txBody>
          <a:bodyPr anchor="ctr" anchorCtr="0">
            <a:normAutofit/>
          </a:bodyPr>
          <a:lstStyle>
            <a:lvl1pPr algn="ctr">
              <a:defRPr sz="4400" b="1">
                <a:solidFill>
                  <a:schemeClr val="tx1"/>
                </a:solidFill>
              </a:defRPr>
            </a:lvl1pPr>
          </a:lstStyle>
          <a:p>
            <a:pPr lvl="0"/>
            <a:r>
              <a:rPr lang="en-US"/>
              <a:t>03</a:t>
            </a:r>
          </a:p>
        </p:txBody>
      </p:sp>
      <p:sp>
        <p:nvSpPr>
          <p:cNvPr id="33" name="Text Placeholder 25">
            <a:extLst>
              <a:ext uri="{FF2B5EF4-FFF2-40B4-BE49-F238E27FC236}">
                <a16:creationId xmlns:a16="http://schemas.microsoft.com/office/drawing/2014/main" id="{DFCCF825-70A5-94CB-90F5-1678DEA0AC13}"/>
              </a:ext>
            </a:extLst>
          </p:cNvPr>
          <p:cNvSpPr>
            <a:spLocks noGrp="1"/>
          </p:cNvSpPr>
          <p:nvPr>
            <p:ph type="body" sz="quarter" idx="20" hasCustomPrompt="1"/>
          </p:nvPr>
        </p:nvSpPr>
        <p:spPr>
          <a:xfrm>
            <a:off x="8783472" y="2203704"/>
            <a:ext cx="2651760" cy="813816"/>
          </a:xfrm>
        </p:spPr>
        <p:txBody>
          <a:bodyPr anchor="ctr" anchorCtr="0">
            <a:normAutofit/>
          </a:bodyPr>
          <a:lstStyle>
            <a:lvl1pPr algn="ctr">
              <a:defRPr sz="4400" b="1">
                <a:solidFill>
                  <a:schemeClr val="tx1"/>
                </a:solidFill>
              </a:defRPr>
            </a:lvl1pPr>
          </a:lstStyle>
          <a:p>
            <a:pPr lvl="0"/>
            <a:r>
              <a:rPr lang="en-US"/>
              <a:t>04</a:t>
            </a:r>
          </a:p>
        </p:txBody>
      </p:sp>
    </p:spTree>
    <p:extLst>
      <p:ext uri="{BB962C8B-B14F-4D97-AF65-F5344CB8AC3E}">
        <p14:creationId xmlns:p14="http://schemas.microsoft.com/office/powerpoint/2010/main" val="13396481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Agenda layout 1">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6072190" y="1604682"/>
            <a:ext cx="516955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Text Placeholder 14">
            <a:extLst>
              <a:ext uri="{FF2B5EF4-FFF2-40B4-BE49-F238E27FC236}">
                <a16:creationId xmlns:a16="http://schemas.microsoft.com/office/drawing/2014/main" id="{45E2D187-9385-8819-6B67-4A882884F045}"/>
              </a:ext>
            </a:extLst>
          </p:cNvPr>
          <p:cNvSpPr>
            <a:spLocks noGrp="1"/>
          </p:cNvSpPr>
          <p:nvPr>
            <p:ph type="body" sz="quarter" idx="26"/>
          </p:nvPr>
        </p:nvSpPr>
        <p:spPr>
          <a:xfrm>
            <a:off x="6072189" y="2458122"/>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DEB9CC22-662F-4327-8276-2D1087479AEC}"/>
              </a:ext>
            </a:extLst>
          </p:cNvPr>
          <p:cNvSpPr>
            <a:spLocks noGrp="1"/>
          </p:cNvSpPr>
          <p:nvPr>
            <p:ph type="body" sz="quarter" idx="27"/>
          </p:nvPr>
        </p:nvSpPr>
        <p:spPr>
          <a:xfrm>
            <a:off x="6072189" y="2972799"/>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4">
            <a:extLst>
              <a:ext uri="{FF2B5EF4-FFF2-40B4-BE49-F238E27FC236}">
                <a16:creationId xmlns:a16="http://schemas.microsoft.com/office/drawing/2014/main" id="{E54B36B9-57A6-F4C8-CBC9-341174A6201C}"/>
              </a:ext>
            </a:extLst>
          </p:cNvPr>
          <p:cNvSpPr>
            <a:spLocks noGrp="1"/>
          </p:cNvSpPr>
          <p:nvPr>
            <p:ph type="body" sz="quarter" idx="28"/>
          </p:nvPr>
        </p:nvSpPr>
        <p:spPr>
          <a:xfrm>
            <a:off x="6072189" y="3487476"/>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14">
            <a:extLst>
              <a:ext uri="{FF2B5EF4-FFF2-40B4-BE49-F238E27FC236}">
                <a16:creationId xmlns:a16="http://schemas.microsoft.com/office/drawing/2014/main" id="{422AB10D-50D7-DF25-22DB-0576AC0324B8}"/>
              </a:ext>
            </a:extLst>
          </p:cNvPr>
          <p:cNvSpPr>
            <a:spLocks noGrp="1"/>
          </p:cNvSpPr>
          <p:nvPr>
            <p:ph type="body" sz="quarter" idx="29"/>
          </p:nvPr>
        </p:nvSpPr>
        <p:spPr>
          <a:xfrm>
            <a:off x="6072189" y="4002153"/>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6D1B2EDD-0E4A-AD34-ED0C-8B1E7F487DEB}"/>
              </a:ext>
            </a:extLst>
          </p:cNvPr>
          <p:cNvSpPr>
            <a:spLocks noGrp="1"/>
          </p:cNvSpPr>
          <p:nvPr>
            <p:ph type="body" sz="quarter" idx="30"/>
          </p:nvPr>
        </p:nvSpPr>
        <p:spPr>
          <a:xfrm>
            <a:off x="6072189" y="4516830"/>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14">
            <a:extLst>
              <a:ext uri="{FF2B5EF4-FFF2-40B4-BE49-F238E27FC236}">
                <a16:creationId xmlns:a16="http://schemas.microsoft.com/office/drawing/2014/main" id="{74A7BFC7-39F3-EE9A-97B8-82459D689219}"/>
              </a:ext>
            </a:extLst>
          </p:cNvPr>
          <p:cNvSpPr>
            <a:spLocks noGrp="1"/>
          </p:cNvSpPr>
          <p:nvPr>
            <p:ph type="body" sz="quarter" idx="31"/>
          </p:nvPr>
        </p:nvSpPr>
        <p:spPr>
          <a:xfrm>
            <a:off x="6072189" y="5031507"/>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59B91F93-7D32-C949-51A2-FBE2CF852E0D}"/>
              </a:ext>
            </a:extLst>
          </p:cNvPr>
          <p:cNvSpPr>
            <a:spLocks noGrp="1"/>
          </p:cNvSpPr>
          <p:nvPr>
            <p:ph type="body" sz="quarter" idx="32"/>
          </p:nvPr>
        </p:nvSpPr>
        <p:spPr>
          <a:xfrm>
            <a:off x="6072189" y="5546184"/>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14">
            <a:extLst>
              <a:ext uri="{FF2B5EF4-FFF2-40B4-BE49-F238E27FC236}">
                <a16:creationId xmlns:a16="http://schemas.microsoft.com/office/drawing/2014/main" id="{CB1365B9-7ED7-4B44-4658-E9B69EDD930B}"/>
              </a:ext>
            </a:extLst>
          </p:cNvPr>
          <p:cNvSpPr>
            <a:spLocks noGrp="1"/>
          </p:cNvSpPr>
          <p:nvPr>
            <p:ph type="body" sz="quarter" idx="33"/>
          </p:nvPr>
        </p:nvSpPr>
        <p:spPr>
          <a:xfrm>
            <a:off x="6072189" y="6060858"/>
            <a:ext cx="5196446" cy="429768"/>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53165812"/>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B0860C9-5209-1EB8-47AE-58CEA829E162}"/>
              </a:ext>
            </a:extLst>
          </p:cNvPr>
          <p:cNvSpPr>
            <a:spLocks noGrp="1"/>
          </p:cNvSpPr>
          <p:nvPr>
            <p:ph type="body" sz="quarter" idx="16" hasCustomPrompt="1"/>
          </p:nvPr>
        </p:nvSpPr>
        <p:spPr>
          <a:xfrm>
            <a:off x="1060704" y="1984248"/>
            <a:ext cx="1051560" cy="1051560"/>
          </a:xfrm>
          <a:solidFill>
            <a:schemeClr val="accent1"/>
          </a:solidFill>
        </p:spPr>
        <p:txBody>
          <a:bodyPr anchor="ctr" anchorCtr="0">
            <a:normAutofit/>
          </a:bodyPr>
          <a:lstStyle>
            <a:lvl1pPr algn="ctr">
              <a:defRPr sz="3600">
                <a:solidFill>
                  <a:schemeClr val="bg1"/>
                </a:solidFill>
              </a:defRPr>
            </a:lvl1pPr>
          </a:lstStyle>
          <a:p>
            <a:pPr lvl="0"/>
            <a:r>
              <a:rPr lang="en-US"/>
              <a:t>01</a:t>
            </a:r>
          </a:p>
        </p:txBody>
      </p:sp>
      <p:sp>
        <p:nvSpPr>
          <p:cNvPr id="23" name="Text Placeholder 21">
            <a:extLst>
              <a:ext uri="{FF2B5EF4-FFF2-40B4-BE49-F238E27FC236}">
                <a16:creationId xmlns:a16="http://schemas.microsoft.com/office/drawing/2014/main" id="{26181DBB-22A2-2829-138C-ED75F0DD6BC8}"/>
              </a:ext>
            </a:extLst>
          </p:cNvPr>
          <p:cNvSpPr>
            <a:spLocks noGrp="1"/>
          </p:cNvSpPr>
          <p:nvPr>
            <p:ph type="body" sz="quarter" idx="17" hasCustomPrompt="1"/>
          </p:nvPr>
        </p:nvSpPr>
        <p:spPr>
          <a:xfrm>
            <a:off x="6455664" y="1975104"/>
            <a:ext cx="1051560" cy="1051560"/>
          </a:xfrm>
          <a:solidFill>
            <a:schemeClr val="accent2"/>
          </a:solidFill>
        </p:spPr>
        <p:txBody>
          <a:bodyPr anchor="ctr" anchorCtr="0">
            <a:normAutofit/>
          </a:bodyPr>
          <a:lstStyle>
            <a:lvl1pPr algn="ctr">
              <a:defRPr sz="3600">
                <a:solidFill>
                  <a:schemeClr val="bg1"/>
                </a:solidFill>
              </a:defRPr>
            </a:lvl1pPr>
          </a:lstStyle>
          <a:p>
            <a:pPr lvl="0"/>
            <a:r>
              <a:rPr lang="en-US"/>
              <a:t>02</a:t>
            </a:r>
          </a:p>
        </p:txBody>
      </p:sp>
    </p:spTree>
    <p:extLst>
      <p:ext uri="{BB962C8B-B14F-4D97-AF65-F5344CB8AC3E}">
        <p14:creationId xmlns:p14="http://schemas.microsoft.com/office/powerpoint/2010/main" val="151790800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hree point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7BB5EF85-EA9E-3034-9AA7-3941942DDA58}"/>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99BADEA4-37D5-F262-1B68-0F2093F461FF}"/>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1B5CFE7E-0C43-2CC1-DF64-129ED37C241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CA2C38B0-0DF7-AD0C-8FCB-52F2242765EA}"/>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3B2CBE38-0F56-C0D6-98DE-2397D80DE88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6B21A685-8CB7-602E-9C15-B4E716E7DC5B}"/>
              </a:ext>
            </a:extLst>
          </p:cNvPr>
          <p:cNvSpPr>
            <a:spLocks noGrp="1"/>
          </p:cNvSpPr>
          <p:nvPr>
            <p:ph sz="quarter" idx="20"/>
          </p:nvPr>
        </p:nvSpPr>
        <p:spPr>
          <a:xfrm>
            <a:off x="1060704"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17">
            <a:extLst>
              <a:ext uri="{FF2B5EF4-FFF2-40B4-BE49-F238E27FC236}">
                <a16:creationId xmlns:a16="http://schemas.microsoft.com/office/drawing/2014/main" id="{B41AE74C-6FDB-F859-8319-02B2C62959D4}"/>
              </a:ext>
            </a:extLst>
          </p:cNvPr>
          <p:cNvSpPr>
            <a:spLocks noGrp="1"/>
          </p:cNvSpPr>
          <p:nvPr>
            <p:ph sz="quarter" idx="21"/>
          </p:nvPr>
        </p:nvSpPr>
        <p:spPr>
          <a:xfrm>
            <a:off x="4572000"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FB801FE-3167-9359-BDD6-13E2C567BBB8}"/>
              </a:ext>
            </a:extLst>
          </p:cNvPr>
          <p:cNvSpPr>
            <a:spLocks noGrp="1"/>
          </p:cNvSpPr>
          <p:nvPr>
            <p:ph sz="quarter" idx="22"/>
          </p:nvPr>
        </p:nvSpPr>
        <p:spPr>
          <a:xfrm>
            <a:off x="8180832" y="3352800"/>
            <a:ext cx="289560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76626624"/>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hree point layou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grpSp>
        <p:nvGrpSpPr>
          <p:cNvPr id="9" name="Group 8">
            <a:extLst>
              <a:ext uri="{FF2B5EF4-FFF2-40B4-BE49-F238E27FC236}">
                <a16:creationId xmlns:a16="http://schemas.microsoft.com/office/drawing/2014/main" id="{C5743957-88D8-6563-88B1-3ADB23349BF0}"/>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5" name="Text Placeholder 21">
            <a:extLst>
              <a:ext uri="{FF2B5EF4-FFF2-40B4-BE49-F238E27FC236}">
                <a16:creationId xmlns:a16="http://schemas.microsoft.com/office/drawing/2014/main" id="{12FBE549-8D23-F9ED-3121-708612E983BD}"/>
              </a:ext>
            </a:extLst>
          </p:cNvPr>
          <p:cNvSpPr>
            <a:spLocks noGrp="1"/>
          </p:cNvSpPr>
          <p:nvPr>
            <p:ph type="body" sz="quarter" idx="17" hasCustomPrompt="1"/>
          </p:nvPr>
        </p:nvSpPr>
        <p:spPr>
          <a:xfrm>
            <a:off x="1060704" y="1984248"/>
            <a:ext cx="1051560" cy="105156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26" name="Text Placeholder 21">
            <a:extLst>
              <a:ext uri="{FF2B5EF4-FFF2-40B4-BE49-F238E27FC236}">
                <a16:creationId xmlns:a16="http://schemas.microsoft.com/office/drawing/2014/main" id="{8AAED02F-0C2A-6705-0290-F2F54583BA7B}"/>
              </a:ext>
            </a:extLst>
          </p:cNvPr>
          <p:cNvSpPr>
            <a:spLocks noGrp="1"/>
          </p:cNvSpPr>
          <p:nvPr>
            <p:ph type="body" sz="quarter" idx="18" hasCustomPrompt="1"/>
          </p:nvPr>
        </p:nvSpPr>
        <p:spPr>
          <a:xfrm>
            <a:off x="4648200" y="1984248"/>
            <a:ext cx="1051560" cy="1051560"/>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7" name="Text Placeholder 21">
            <a:extLst>
              <a:ext uri="{FF2B5EF4-FFF2-40B4-BE49-F238E27FC236}">
                <a16:creationId xmlns:a16="http://schemas.microsoft.com/office/drawing/2014/main" id="{491D960A-8FA4-573D-BFAA-85E0E9D20C45}"/>
              </a:ext>
            </a:extLst>
          </p:cNvPr>
          <p:cNvSpPr>
            <a:spLocks noGrp="1"/>
          </p:cNvSpPr>
          <p:nvPr>
            <p:ph type="body" sz="quarter" idx="19" hasCustomPrompt="1"/>
          </p:nvPr>
        </p:nvSpPr>
        <p:spPr>
          <a:xfrm>
            <a:off x="8257032" y="1984248"/>
            <a:ext cx="1051560" cy="1051560"/>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4" name="Text Placeholder 5">
            <a:extLst>
              <a:ext uri="{FF2B5EF4-FFF2-40B4-BE49-F238E27FC236}">
                <a16:creationId xmlns:a16="http://schemas.microsoft.com/office/drawing/2014/main" id="{EF9A0D2B-9A40-D3A8-CC66-650BEE54971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6" name="Content Placeholder 17">
            <a:extLst>
              <a:ext uri="{FF2B5EF4-FFF2-40B4-BE49-F238E27FC236}">
                <a16:creationId xmlns:a16="http://schemas.microsoft.com/office/drawing/2014/main" id="{BA87037E-2DDA-B8D4-FC38-C03C64ECA203}"/>
              </a:ext>
            </a:extLst>
          </p:cNvPr>
          <p:cNvSpPr>
            <a:spLocks noGrp="1"/>
          </p:cNvSpPr>
          <p:nvPr>
            <p:ph sz="quarter" idx="20"/>
          </p:nvPr>
        </p:nvSpPr>
        <p:spPr>
          <a:xfrm>
            <a:off x="1060704"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E8503487-2A2A-2577-E414-533AD55B9ACE}"/>
              </a:ext>
            </a:extLst>
          </p:cNvPr>
          <p:cNvSpPr>
            <a:spLocks noGrp="1"/>
          </p:cNvSpPr>
          <p:nvPr>
            <p:ph sz="quarter" idx="21"/>
          </p:nvPr>
        </p:nvSpPr>
        <p:spPr>
          <a:xfrm>
            <a:off x="4648200"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8BB224DA-BFA8-0A2D-EADF-72388F605911}"/>
              </a:ext>
            </a:extLst>
          </p:cNvPr>
          <p:cNvSpPr>
            <a:spLocks noGrp="1"/>
          </p:cNvSpPr>
          <p:nvPr>
            <p:ph sz="quarter" idx="22"/>
          </p:nvPr>
        </p:nvSpPr>
        <p:spPr>
          <a:xfrm>
            <a:off x="8257032" y="3200400"/>
            <a:ext cx="2895600" cy="20574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1920784"/>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Four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74924541-1F26-5765-7BB0-61DBC3FA8377}"/>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0" name="Text Placeholder 29">
            <a:extLst>
              <a:ext uri="{FF2B5EF4-FFF2-40B4-BE49-F238E27FC236}">
                <a16:creationId xmlns:a16="http://schemas.microsoft.com/office/drawing/2014/main" id="{2E695CE5-E6EE-D658-7023-0D09649BD102}"/>
              </a:ext>
            </a:extLst>
          </p:cNvPr>
          <p:cNvSpPr>
            <a:spLocks noGrp="1"/>
          </p:cNvSpPr>
          <p:nvPr>
            <p:ph type="body" sz="quarter" idx="18" hasCustomPrompt="1"/>
          </p:nvPr>
        </p:nvSpPr>
        <p:spPr>
          <a:xfrm>
            <a:off x="996696" y="2109788"/>
            <a:ext cx="782638" cy="781050"/>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4" name="Text Placeholder 33">
            <a:extLst>
              <a:ext uri="{FF2B5EF4-FFF2-40B4-BE49-F238E27FC236}">
                <a16:creationId xmlns:a16="http://schemas.microsoft.com/office/drawing/2014/main" id="{F444F38C-5AE1-E0D9-5ED6-130DC7942DF3}"/>
              </a:ext>
            </a:extLst>
          </p:cNvPr>
          <p:cNvSpPr>
            <a:spLocks noGrp="1"/>
          </p:cNvSpPr>
          <p:nvPr>
            <p:ph type="body" sz="quarter" idx="19" hasCustomPrompt="1"/>
          </p:nvPr>
        </p:nvSpPr>
        <p:spPr>
          <a:xfrm>
            <a:off x="3694176" y="2112963"/>
            <a:ext cx="782638" cy="786384"/>
          </a:xfrm>
          <a:solidFill>
            <a:schemeClr val="tx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5" name="Text Placeholder 33">
            <a:extLst>
              <a:ext uri="{FF2B5EF4-FFF2-40B4-BE49-F238E27FC236}">
                <a16:creationId xmlns:a16="http://schemas.microsoft.com/office/drawing/2014/main" id="{B902F693-4C99-132F-221F-AA15FF85CBF5}"/>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6" name="Text Placeholder 33">
            <a:extLst>
              <a:ext uri="{FF2B5EF4-FFF2-40B4-BE49-F238E27FC236}">
                <a16:creationId xmlns:a16="http://schemas.microsoft.com/office/drawing/2014/main" id="{7BFB5199-74B1-632A-03F1-B4E90075FF4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Content Placeholder 17">
            <a:extLst>
              <a:ext uri="{FF2B5EF4-FFF2-40B4-BE49-F238E27FC236}">
                <a16:creationId xmlns:a16="http://schemas.microsoft.com/office/drawing/2014/main" id="{DC71B040-FDDF-7FA3-18C6-3F41B67FC329}"/>
              </a:ext>
            </a:extLst>
          </p:cNvPr>
          <p:cNvSpPr>
            <a:spLocks noGrp="1"/>
          </p:cNvSpPr>
          <p:nvPr>
            <p:ph sz="quarter" idx="22"/>
          </p:nvPr>
        </p:nvSpPr>
        <p:spPr>
          <a:xfrm>
            <a:off x="99669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A7906F8-CD9F-CC32-EBD8-6B586993D425}"/>
              </a:ext>
            </a:extLst>
          </p:cNvPr>
          <p:cNvSpPr>
            <a:spLocks noGrp="1"/>
          </p:cNvSpPr>
          <p:nvPr>
            <p:ph sz="quarter" idx="23"/>
          </p:nvPr>
        </p:nvSpPr>
        <p:spPr>
          <a:xfrm>
            <a:off x="369417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D013BD34-3139-6621-2415-B725830EA9EC}"/>
              </a:ext>
            </a:extLst>
          </p:cNvPr>
          <p:cNvSpPr>
            <a:spLocks noGrp="1"/>
          </p:cNvSpPr>
          <p:nvPr>
            <p:ph sz="quarter" idx="24"/>
          </p:nvPr>
        </p:nvSpPr>
        <p:spPr>
          <a:xfrm>
            <a:off x="6391656"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C9CF1EB2-5F5E-6353-E227-AF8E97696C5C}"/>
              </a:ext>
            </a:extLst>
          </p:cNvPr>
          <p:cNvSpPr>
            <a:spLocks noGrp="1"/>
          </p:cNvSpPr>
          <p:nvPr>
            <p:ph sz="quarter" idx="25"/>
          </p:nvPr>
        </p:nvSpPr>
        <p:spPr>
          <a:xfrm>
            <a:off x="9098280" y="3124200"/>
            <a:ext cx="2179320" cy="22098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26803512"/>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Four point layout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grpSp>
        <p:nvGrpSpPr>
          <p:cNvPr id="4" name="Group 3">
            <a:extLst>
              <a:ext uri="{FF2B5EF4-FFF2-40B4-BE49-F238E27FC236}">
                <a16:creationId xmlns:a16="http://schemas.microsoft.com/office/drawing/2014/main" id="{EBF1A456-1439-4FB5-BB78-B79ADD19D336}"/>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4" name="Text Placeholder 33">
            <a:extLst>
              <a:ext uri="{FF2B5EF4-FFF2-40B4-BE49-F238E27FC236}">
                <a16:creationId xmlns:a16="http://schemas.microsoft.com/office/drawing/2014/main" id="{794529AB-56E3-F921-E788-9BE34EA4A256}"/>
              </a:ext>
            </a:extLst>
          </p:cNvPr>
          <p:cNvSpPr>
            <a:spLocks noGrp="1"/>
          </p:cNvSpPr>
          <p:nvPr>
            <p:ph type="body" sz="quarter" idx="18" hasCustomPrompt="1"/>
          </p:nvPr>
        </p:nvSpPr>
        <p:spPr>
          <a:xfrm>
            <a:off x="996696" y="2109788"/>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35" name="Text Placeholder 33">
            <a:extLst>
              <a:ext uri="{FF2B5EF4-FFF2-40B4-BE49-F238E27FC236}">
                <a16:creationId xmlns:a16="http://schemas.microsoft.com/office/drawing/2014/main" id="{F1C5F5BC-3FE0-BFD1-A477-F533FEA22779}"/>
              </a:ext>
            </a:extLst>
          </p:cNvPr>
          <p:cNvSpPr>
            <a:spLocks noGrp="1"/>
          </p:cNvSpPr>
          <p:nvPr>
            <p:ph type="body" sz="quarter" idx="19" hasCustomPrompt="1"/>
          </p:nvPr>
        </p:nvSpPr>
        <p:spPr>
          <a:xfrm>
            <a:off x="3694176" y="2112264"/>
            <a:ext cx="782638" cy="78638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36" name="Text Placeholder 33">
            <a:extLst>
              <a:ext uri="{FF2B5EF4-FFF2-40B4-BE49-F238E27FC236}">
                <a16:creationId xmlns:a16="http://schemas.microsoft.com/office/drawing/2014/main" id="{7BD6BDF9-E3B0-43EC-96F4-09938223C6E1}"/>
              </a:ext>
            </a:extLst>
          </p:cNvPr>
          <p:cNvSpPr>
            <a:spLocks noGrp="1"/>
          </p:cNvSpPr>
          <p:nvPr>
            <p:ph type="body" sz="quarter" idx="20" hasCustomPrompt="1"/>
          </p:nvPr>
        </p:nvSpPr>
        <p:spPr>
          <a:xfrm>
            <a:off x="6391656" y="2112264"/>
            <a:ext cx="782638" cy="78638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37" name="Text Placeholder 33">
            <a:extLst>
              <a:ext uri="{FF2B5EF4-FFF2-40B4-BE49-F238E27FC236}">
                <a16:creationId xmlns:a16="http://schemas.microsoft.com/office/drawing/2014/main" id="{7A607500-6628-89AA-DC09-275E677931CE}"/>
              </a:ext>
            </a:extLst>
          </p:cNvPr>
          <p:cNvSpPr>
            <a:spLocks noGrp="1"/>
          </p:cNvSpPr>
          <p:nvPr>
            <p:ph type="body" sz="quarter" idx="21" hasCustomPrompt="1"/>
          </p:nvPr>
        </p:nvSpPr>
        <p:spPr>
          <a:xfrm>
            <a:off x="9098280" y="2112264"/>
            <a:ext cx="782638" cy="78638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9" name="Text Placeholder 5">
            <a:extLst>
              <a:ext uri="{FF2B5EF4-FFF2-40B4-BE49-F238E27FC236}">
                <a16:creationId xmlns:a16="http://schemas.microsoft.com/office/drawing/2014/main" id="{939FEAFF-2B05-15D5-F83D-AFB37993037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3" name="Content Placeholder 17">
            <a:extLst>
              <a:ext uri="{FF2B5EF4-FFF2-40B4-BE49-F238E27FC236}">
                <a16:creationId xmlns:a16="http://schemas.microsoft.com/office/drawing/2014/main" id="{99D7A353-2824-AD68-ABF9-A9B6647BC142}"/>
              </a:ext>
            </a:extLst>
          </p:cNvPr>
          <p:cNvSpPr>
            <a:spLocks noGrp="1"/>
          </p:cNvSpPr>
          <p:nvPr>
            <p:ph sz="quarter" idx="22"/>
          </p:nvPr>
        </p:nvSpPr>
        <p:spPr>
          <a:xfrm>
            <a:off x="99669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1BE278AE-5885-4329-9304-7E4B0E6E23AE}"/>
              </a:ext>
            </a:extLst>
          </p:cNvPr>
          <p:cNvSpPr>
            <a:spLocks noGrp="1"/>
          </p:cNvSpPr>
          <p:nvPr>
            <p:ph sz="quarter" idx="23"/>
          </p:nvPr>
        </p:nvSpPr>
        <p:spPr>
          <a:xfrm>
            <a:off x="369417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17">
            <a:extLst>
              <a:ext uri="{FF2B5EF4-FFF2-40B4-BE49-F238E27FC236}">
                <a16:creationId xmlns:a16="http://schemas.microsoft.com/office/drawing/2014/main" id="{1C223556-1E41-659A-1704-6EC49BAAF059}"/>
              </a:ext>
            </a:extLst>
          </p:cNvPr>
          <p:cNvSpPr>
            <a:spLocks noGrp="1"/>
          </p:cNvSpPr>
          <p:nvPr>
            <p:ph sz="quarter" idx="24"/>
          </p:nvPr>
        </p:nvSpPr>
        <p:spPr>
          <a:xfrm>
            <a:off x="6391656"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7">
            <a:extLst>
              <a:ext uri="{FF2B5EF4-FFF2-40B4-BE49-F238E27FC236}">
                <a16:creationId xmlns:a16="http://schemas.microsoft.com/office/drawing/2014/main" id="{48F10A1C-9114-5544-7240-C722E4EA96BC}"/>
              </a:ext>
            </a:extLst>
          </p:cNvPr>
          <p:cNvSpPr>
            <a:spLocks noGrp="1"/>
          </p:cNvSpPr>
          <p:nvPr>
            <p:ph sz="quarter" idx="25"/>
          </p:nvPr>
        </p:nvSpPr>
        <p:spPr>
          <a:xfrm>
            <a:off x="9098280" y="3200400"/>
            <a:ext cx="2179320" cy="2209800"/>
          </a:xfrm>
        </p:spPr>
        <p:txBody>
          <a:bodyPr>
            <a:normAutofit/>
          </a:bodyPr>
          <a:lstStyle>
            <a:lvl1pPr>
              <a:defRPr sz="1600">
                <a:solidFill>
                  <a:schemeClr val="accent4"/>
                </a:solidFill>
              </a:defRPr>
            </a:lvl1pPr>
            <a:lvl3pPr>
              <a:defRPr sz="1600">
                <a:solidFill>
                  <a:schemeClr val="accent4"/>
                </a:solidFill>
              </a:defRPr>
            </a:lvl3pPr>
            <a:lvl4pPr>
              <a:defRPr sz="1600">
                <a:solidFill>
                  <a:schemeClr val="accent4"/>
                </a:solidFill>
              </a:defRPr>
            </a:lvl4pPr>
            <a:lvl5pPr>
              <a:defRPr sz="16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7583961"/>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1_Five point layout 3">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6" name="Rectangle 25">
            <a:extLst>
              <a:ext uri="{FF2B5EF4-FFF2-40B4-BE49-F238E27FC236}">
                <a16:creationId xmlns:a16="http://schemas.microsoft.com/office/drawing/2014/main" id="{C7303873-522F-9510-3C03-12FB53DC434E}"/>
              </a:ext>
            </a:extLst>
          </p:cNvPr>
          <p:cNvSpPr/>
          <p:nvPr/>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726F2FA3-CF30-5ACA-8D01-170E03AC0205}"/>
              </a:ext>
            </a:extLst>
          </p:cNvPr>
          <p:cNvSpPr/>
          <p:nvPr/>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0" name="Rectangle 29">
            <a:extLst>
              <a:ext uri="{FF2B5EF4-FFF2-40B4-BE49-F238E27FC236}">
                <a16:creationId xmlns:a16="http://schemas.microsoft.com/office/drawing/2014/main" id="{B19CD226-8331-7490-8999-02DEC32221A5}"/>
              </a:ext>
            </a:extLst>
          </p:cNvPr>
          <p:cNvSpPr/>
          <p:nvPr/>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2" name="Rectangle 31">
            <a:extLst>
              <a:ext uri="{FF2B5EF4-FFF2-40B4-BE49-F238E27FC236}">
                <a16:creationId xmlns:a16="http://schemas.microsoft.com/office/drawing/2014/main" id="{A0D890D1-F42C-988F-84F3-9F7F4EEFC16D}"/>
              </a:ext>
            </a:extLst>
          </p:cNvPr>
          <p:cNvSpPr/>
          <p:nvPr/>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3" name="Rectangle 2">
            <a:extLst>
              <a:ext uri="{FF2B5EF4-FFF2-40B4-BE49-F238E27FC236}">
                <a16:creationId xmlns:a16="http://schemas.microsoft.com/office/drawing/2014/main" id="{6CEA7CE0-6AF0-30FC-5354-C84DD26A1E43}"/>
              </a:ext>
            </a:extLst>
          </p:cNvPr>
          <p:cNvSpPr/>
          <p:nvPr/>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Text Placeholder 17">
            <a:extLst>
              <a:ext uri="{FF2B5EF4-FFF2-40B4-BE49-F238E27FC236}">
                <a16:creationId xmlns:a16="http://schemas.microsoft.com/office/drawing/2014/main" id="{552157F3-4757-5D33-BE17-8C94E96A4862}"/>
              </a:ext>
            </a:extLst>
          </p:cNvPr>
          <p:cNvSpPr>
            <a:spLocks noGrp="1"/>
          </p:cNvSpPr>
          <p:nvPr>
            <p:ph type="body" sz="quarter" idx="20" hasCustomPrompt="1"/>
          </p:nvPr>
        </p:nvSpPr>
        <p:spPr>
          <a:xfrm>
            <a:off x="4594225" y="9522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9" name="Text Placeholder 17">
            <a:extLst>
              <a:ext uri="{FF2B5EF4-FFF2-40B4-BE49-F238E27FC236}">
                <a16:creationId xmlns:a16="http://schemas.microsoft.com/office/drawing/2014/main" id="{A7E3F7D9-8193-5A11-1A4E-6EC7B9DDCA15}"/>
              </a:ext>
            </a:extLst>
          </p:cNvPr>
          <p:cNvSpPr>
            <a:spLocks noGrp="1"/>
          </p:cNvSpPr>
          <p:nvPr>
            <p:ph type="body" sz="quarter" idx="21" hasCustomPrompt="1"/>
          </p:nvPr>
        </p:nvSpPr>
        <p:spPr>
          <a:xfrm>
            <a:off x="4599432" y="3924075"/>
            <a:ext cx="768096" cy="69494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20" name="Text Placeholder 17">
            <a:extLst>
              <a:ext uri="{FF2B5EF4-FFF2-40B4-BE49-F238E27FC236}">
                <a16:creationId xmlns:a16="http://schemas.microsoft.com/office/drawing/2014/main" id="{6D7B440E-1826-AA3C-AE0C-153AECC30CBE}"/>
              </a:ext>
            </a:extLst>
          </p:cNvPr>
          <p:cNvSpPr>
            <a:spLocks noGrp="1"/>
          </p:cNvSpPr>
          <p:nvPr>
            <p:ph type="body" sz="quarter" idx="22" hasCustomPrompt="1"/>
          </p:nvPr>
        </p:nvSpPr>
        <p:spPr>
          <a:xfrm>
            <a:off x="4599432" y="19428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1" name="Text Placeholder 17">
            <a:extLst>
              <a:ext uri="{FF2B5EF4-FFF2-40B4-BE49-F238E27FC236}">
                <a16:creationId xmlns:a16="http://schemas.microsoft.com/office/drawing/2014/main" id="{DE85A369-97AF-8B0E-418D-9BA5273407FC}"/>
              </a:ext>
            </a:extLst>
          </p:cNvPr>
          <p:cNvSpPr>
            <a:spLocks noGrp="1"/>
          </p:cNvSpPr>
          <p:nvPr>
            <p:ph type="body" sz="quarter" idx="23" hasCustomPrompt="1"/>
          </p:nvPr>
        </p:nvSpPr>
        <p:spPr>
          <a:xfrm>
            <a:off x="4599432" y="4914675"/>
            <a:ext cx="768096" cy="69494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17">
            <a:extLst>
              <a:ext uri="{FF2B5EF4-FFF2-40B4-BE49-F238E27FC236}">
                <a16:creationId xmlns:a16="http://schemas.microsoft.com/office/drawing/2014/main" id="{6E51DDF7-09CC-E9F3-5E13-887846636959}"/>
              </a:ext>
            </a:extLst>
          </p:cNvPr>
          <p:cNvSpPr>
            <a:spLocks noGrp="1"/>
          </p:cNvSpPr>
          <p:nvPr>
            <p:ph type="body" sz="quarter" idx="24" hasCustomPrompt="1"/>
          </p:nvPr>
        </p:nvSpPr>
        <p:spPr>
          <a:xfrm>
            <a:off x="4599432" y="2933475"/>
            <a:ext cx="768096" cy="69494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7" name="Content Placeholder 17">
            <a:extLst>
              <a:ext uri="{FF2B5EF4-FFF2-40B4-BE49-F238E27FC236}">
                <a16:creationId xmlns:a16="http://schemas.microsoft.com/office/drawing/2014/main" id="{C9030E85-B7BF-F051-CBF2-4E9130632033}"/>
              </a:ext>
            </a:extLst>
          </p:cNvPr>
          <p:cNvSpPr>
            <a:spLocks noGrp="1"/>
          </p:cNvSpPr>
          <p:nvPr>
            <p:ph sz="quarter" idx="26"/>
          </p:nvPr>
        </p:nvSpPr>
        <p:spPr>
          <a:xfrm>
            <a:off x="5638800" y="9477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B9A39866-1BF8-6E69-7577-26A7459C2805}"/>
              </a:ext>
            </a:extLst>
          </p:cNvPr>
          <p:cNvSpPr>
            <a:spLocks noGrp="1"/>
          </p:cNvSpPr>
          <p:nvPr>
            <p:ph sz="quarter" idx="27"/>
          </p:nvPr>
        </p:nvSpPr>
        <p:spPr>
          <a:xfrm>
            <a:off x="5638800" y="19383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3" name="Content Placeholder 17">
            <a:extLst>
              <a:ext uri="{FF2B5EF4-FFF2-40B4-BE49-F238E27FC236}">
                <a16:creationId xmlns:a16="http://schemas.microsoft.com/office/drawing/2014/main" id="{836B8BFB-AB56-1859-2B52-558D9A723ED0}"/>
              </a:ext>
            </a:extLst>
          </p:cNvPr>
          <p:cNvSpPr>
            <a:spLocks noGrp="1"/>
          </p:cNvSpPr>
          <p:nvPr>
            <p:ph sz="quarter" idx="28" hasCustomPrompt="1"/>
          </p:nvPr>
        </p:nvSpPr>
        <p:spPr>
          <a:xfrm>
            <a:off x="5638800" y="29289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a:t>
            </a:r>
            <a:r>
              <a:rPr lang="en-US" err="1"/>
              <a:t>stylesFourth</a:t>
            </a:r>
            <a:r>
              <a:rPr lang="en-US"/>
              <a:t> level</a:t>
            </a:r>
          </a:p>
        </p:txBody>
      </p:sp>
      <p:sp>
        <p:nvSpPr>
          <p:cNvPr id="24" name="Content Placeholder 17">
            <a:extLst>
              <a:ext uri="{FF2B5EF4-FFF2-40B4-BE49-F238E27FC236}">
                <a16:creationId xmlns:a16="http://schemas.microsoft.com/office/drawing/2014/main" id="{2AF180FA-369B-BE97-8766-AD281839F45D}"/>
              </a:ext>
            </a:extLst>
          </p:cNvPr>
          <p:cNvSpPr>
            <a:spLocks noGrp="1"/>
          </p:cNvSpPr>
          <p:nvPr>
            <p:ph sz="quarter" idx="29"/>
          </p:nvPr>
        </p:nvSpPr>
        <p:spPr>
          <a:xfrm>
            <a:off x="5638800" y="49101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25" name="Content Placeholder 17">
            <a:extLst>
              <a:ext uri="{FF2B5EF4-FFF2-40B4-BE49-F238E27FC236}">
                <a16:creationId xmlns:a16="http://schemas.microsoft.com/office/drawing/2014/main" id="{549397A2-0AB0-F824-0155-D6710460520D}"/>
              </a:ext>
            </a:extLst>
          </p:cNvPr>
          <p:cNvSpPr>
            <a:spLocks noGrp="1"/>
          </p:cNvSpPr>
          <p:nvPr>
            <p:ph sz="quarter" idx="30"/>
          </p:nvPr>
        </p:nvSpPr>
        <p:spPr>
          <a:xfrm>
            <a:off x="5638800" y="3919503"/>
            <a:ext cx="58674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76520272"/>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1_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p:nvSpPr>
        <p:spPr>
          <a:xfrm>
            <a:off x="806289"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F5FFE906-4F19-DDCB-02D2-8D5F4368166D}"/>
              </a:ext>
            </a:extLst>
          </p:cNvPr>
          <p:cNvSpPr/>
          <p:nvPr/>
        </p:nvSpPr>
        <p:spPr>
          <a:xfrm>
            <a:off x="806288"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3" name="Rectangle 22">
            <a:extLst>
              <a:ext uri="{FF2B5EF4-FFF2-40B4-BE49-F238E27FC236}">
                <a16:creationId xmlns:a16="http://schemas.microsoft.com/office/drawing/2014/main" id="{360B642B-C832-01F1-B2C5-C0FA060F9BBA}"/>
              </a:ext>
            </a:extLst>
          </p:cNvPr>
          <p:cNvSpPr/>
          <p:nvPr/>
        </p:nvSpPr>
        <p:spPr>
          <a:xfrm>
            <a:off x="6223503" y="2990939"/>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p:nvSpPr>
        <p:spPr>
          <a:xfrm>
            <a:off x="6223503" y="3991373"/>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7" name="Rectangle 26">
            <a:extLst>
              <a:ext uri="{FF2B5EF4-FFF2-40B4-BE49-F238E27FC236}">
                <a16:creationId xmlns:a16="http://schemas.microsoft.com/office/drawing/2014/main" id="{8D126E5A-C3FD-1E81-E69E-1DC585D3A13B}"/>
              </a:ext>
            </a:extLst>
          </p:cNvPr>
          <p:cNvSpPr/>
          <p:nvPr/>
        </p:nvSpPr>
        <p:spPr>
          <a:xfrm>
            <a:off x="6223502"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Eight point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4" name="Rectangle 3">
            <a:extLst>
              <a:ext uri="{FF2B5EF4-FFF2-40B4-BE49-F238E27FC236}">
                <a16:creationId xmlns:a16="http://schemas.microsoft.com/office/drawing/2014/main" id="{BD41C8D4-3DEF-AC4C-C9DF-6BC0ECE0A76F}"/>
              </a:ext>
            </a:extLst>
          </p:cNvPr>
          <p:cNvSpPr/>
          <p:nvPr/>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sp>
        <p:nvSpPr>
          <p:cNvPr id="7" name="Rectangle 6">
            <a:extLst>
              <a:ext uri="{FF2B5EF4-FFF2-40B4-BE49-F238E27FC236}">
                <a16:creationId xmlns:a16="http://schemas.microsoft.com/office/drawing/2014/main" id="{ECB16B80-C336-C91C-9709-8FEA29DA0E7D}"/>
              </a:ext>
            </a:extLst>
          </p:cNvPr>
          <p:cNvSpPr/>
          <p:nvPr/>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pPr marL="0" indent="0">
              <a:buFont typeface="Arial" panose="020B0604020202020204" pitchFamily="34" charset="0"/>
              <a:buNone/>
            </a:pPr>
            <a:endParaRPr lang="en-GB" sz="1400">
              <a:solidFill>
                <a:schemeClr val="bg1"/>
              </a:solidFill>
            </a:endParaRPr>
          </a:p>
        </p:txBody>
      </p:sp>
      <p:grpSp>
        <p:nvGrpSpPr>
          <p:cNvPr id="12" name="Group 11">
            <a:extLst>
              <a:ext uri="{FF2B5EF4-FFF2-40B4-BE49-F238E27FC236}">
                <a16:creationId xmlns:a16="http://schemas.microsoft.com/office/drawing/2014/main" id="{681E2C51-5620-BA24-0CAD-2462496E7CD0}"/>
              </a:ext>
            </a:extLst>
          </p:cNvPr>
          <p:cNvGrpSpPr/>
          <p:nvPr/>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7" name="Content Placeholder 17">
            <a:extLst>
              <a:ext uri="{FF2B5EF4-FFF2-40B4-BE49-F238E27FC236}">
                <a16:creationId xmlns:a16="http://schemas.microsoft.com/office/drawing/2014/main" id="{0ABC318F-1300-9700-0954-8EA9EF1D2E1B}"/>
              </a:ext>
            </a:extLst>
          </p:cNvPr>
          <p:cNvSpPr>
            <a:spLocks noGrp="1"/>
          </p:cNvSpPr>
          <p:nvPr>
            <p:ph sz="quarter" idx="26"/>
          </p:nvPr>
        </p:nvSpPr>
        <p:spPr>
          <a:xfrm>
            <a:off x="16002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8" name="Content Placeholder 17">
            <a:extLst>
              <a:ext uri="{FF2B5EF4-FFF2-40B4-BE49-F238E27FC236}">
                <a16:creationId xmlns:a16="http://schemas.microsoft.com/office/drawing/2014/main" id="{048D2424-6F33-3A1D-0E03-A2052CAA7714}"/>
              </a:ext>
            </a:extLst>
          </p:cNvPr>
          <p:cNvSpPr>
            <a:spLocks noGrp="1"/>
          </p:cNvSpPr>
          <p:nvPr>
            <p:ph sz="quarter" idx="27"/>
          </p:nvPr>
        </p:nvSpPr>
        <p:spPr>
          <a:xfrm>
            <a:off x="16002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39" name="Content Placeholder 17">
            <a:extLst>
              <a:ext uri="{FF2B5EF4-FFF2-40B4-BE49-F238E27FC236}">
                <a16:creationId xmlns:a16="http://schemas.microsoft.com/office/drawing/2014/main" id="{7BDE6555-D111-E0C4-F6E1-53ADB973BD89}"/>
              </a:ext>
            </a:extLst>
          </p:cNvPr>
          <p:cNvSpPr>
            <a:spLocks noGrp="1"/>
          </p:cNvSpPr>
          <p:nvPr>
            <p:ph sz="quarter" idx="28"/>
          </p:nvPr>
        </p:nvSpPr>
        <p:spPr>
          <a:xfrm>
            <a:off x="16002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0" name="Content Placeholder 17">
            <a:extLst>
              <a:ext uri="{FF2B5EF4-FFF2-40B4-BE49-F238E27FC236}">
                <a16:creationId xmlns:a16="http://schemas.microsoft.com/office/drawing/2014/main" id="{C98DBD47-4156-6878-26EF-DC2A47F4910C}"/>
              </a:ext>
            </a:extLst>
          </p:cNvPr>
          <p:cNvSpPr>
            <a:spLocks noGrp="1"/>
          </p:cNvSpPr>
          <p:nvPr>
            <p:ph sz="quarter" idx="29"/>
          </p:nvPr>
        </p:nvSpPr>
        <p:spPr>
          <a:xfrm>
            <a:off x="16002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1" name="Content Placeholder 17">
            <a:extLst>
              <a:ext uri="{FF2B5EF4-FFF2-40B4-BE49-F238E27FC236}">
                <a16:creationId xmlns:a16="http://schemas.microsoft.com/office/drawing/2014/main" id="{EFD331E6-A71B-D3EF-C98A-D1F7100F82DA}"/>
              </a:ext>
            </a:extLst>
          </p:cNvPr>
          <p:cNvSpPr>
            <a:spLocks noGrp="1"/>
          </p:cNvSpPr>
          <p:nvPr>
            <p:ph sz="quarter" idx="30"/>
          </p:nvPr>
        </p:nvSpPr>
        <p:spPr>
          <a:xfrm>
            <a:off x="7162800" y="2074982"/>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2" name="Content Placeholder 17">
            <a:extLst>
              <a:ext uri="{FF2B5EF4-FFF2-40B4-BE49-F238E27FC236}">
                <a16:creationId xmlns:a16="http://schemas.microsoft.com/office/drawing/2014/main" id="{1C073818-6C6A-D24A-F3C1-73FC80CF8620}"/>
              </a:ext>
            </a:extLst>
          </p:cNvPr>
          <p:cNvSpPr>
            <a:spLocks noGrp="1"/>
          </p:cNvSpPr>
          <p:nvPr>
            <p:ph sz="quarter" idx="31"/>
          </p:nvPr>
        </p:nvSpPr>
        <p:spPr>
          <a:xfrm>
            <a:off x="7162800" y="3084721"/>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3" name="Content Placeholder 17">
            <a:extLst>
              <a:ext uri="{FF2B5EF4-FFF2-40B4-BE49-F238E27FC236}">
                <a16:creationId xmlns:a16="http://schemas.microsoft.com/office/drawing/2014/main" id="{4B5FF665-216A-73E8-7920-63BCEC7A21AE}"/>
              </a:ext>
            </a:extLst>
          </p:cNvPr>
          <p:cNvSpPr>
            <a:spLocks noGrp="1"/>
          </p:cNvSpPr>
          <p:nvPr>
            <p:ph sz="quarter" idx="32"/>
          </p:nvPr>
        </p:nvSpPr>
        <p:spPr>
          <a:xfrm>
            <a:off x="7162800" y="4085155"/>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4" name="Content Placeholder 17">
            <a:extLst>
              <a:ext uri="{FF2B5EF4-FFF2-40B4-BE49-F238E27FC236}">
                <a16:creationId xmlns:a16="http://schemas.microsoft.com/office/drawing/2014/main" id="{FEFB9B61-74DA-6DED-1F22-72BBA36D9305}"/>
              </a:ext>
            </a:extLst>
          </p:cNvPr>
          <p:cNvSpPr>
            <a:spLocks noGrp="1"/>
          </p:cNvSpPr>
          <p:nvPr>
            <p:ph sz="quarter" idx="33"/>
          </p:nvPr>
        </p:nvSpPr>
        <p:spPr>
          <a:xfrm>
            <a:off x="7162800" y="5099056"/>
            <a:ext cx="4191000" cy="704088"/>
          </a:xfrm>
        </p:spPr>
        <p:txBody>
          <a:bodyPr anchor="ctr">
            <a:normAutofit/>
          </a:bodyPr>
          <a:lstStyle>
            <a:lvl1pPr>
              <a:defRPr sz="1800">
                <a:solidFill>
                  <a:schemeClr val="bg1"/>
                </a:solidFill>
              </a:defRPr>
            </a:lvl1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6" name="Text Placeholder 29">
            <a:extLst>
              <a:ext uri="{FF2B5EF4-FFF2-40B4-BE49-F238E27FC236}">
                <a16:creationId xmlns:a16="http://schemas.microsoft.com/office/drawing/2014/main" id="{C29102B5-DBD3-3087-6871-2EBF11C1D972}"/>
              </a:ext>
            </a:extLst>
          </p:cNvPr>
          <p:cNvSpPr>
            <a:spLocks noGrp="1"/>
          </p:cNvSpPr>
          <p:nvPr>
            <p:ph type="body" sz="quarter" idx="20" hasCustomPrompt="1"/>
          </p:nvPr>
        </p:nvSpPr>
        <p:spPr>
          <a:xfrm>
            <a:off x="6858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1</a:t>
            </a:r>
          </a:p>
        </p:txBody>
      </p:sp>
      <p:sp>
        <p:nvSpPr>
          <p:cNvPr id="11" name="Text Placeholder 29">
            <a:extLst>
              <a:ext uri="{FF2B5EF4-FFF2-40B4-BE49-F238E27FC236}">
                <a16:creationId xmlns:a16="http://schemas.microsoft.com/office/drawing/2014/main" id="{293A630C-818A-4448-D569-B51CB04221BB}"/>
              </a:ext>
            </a:extLst>
          </p:cNvPr>
          <p:cNvSpPr>
            <a:spLocks noGrp="1"/>
          </p:cNvSpPr>
          <p:nvPr>
            <p:ph type="body" sz="quarter" idx="21" hasCustomPrompt="1"/>
          </p:nvPr>
        </p:nvSpPr>
        <p:spPr>
          <a:xfrm>
            <a:off x="6858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4</a:t>
            </a:r>
          </a:p>
        </p:txBody>
      </p:sp>
      <p:sp>
        <p:nvSpPr>
          <p:cNvPr id="15" name="Text Placeholder 29">
            <a:extLst>
              <a:ext uri="{FF2B5EF4-FFF2-40B4-BE49-F238E27FC236}">
                <a16:creationId xmlns:a16="http://schemas.microsoft.com/office/drawing/2014/main" id="{59406EA4-18A0-B235-5DA5-A5FA3D0CF6E8}"/>
              </a:ext>
            </a:extLst>
          </p:cNvPr>
          <p:cNvSpPr>
            <a:spLocks noGrp="1"/>
          </p:cNvSpPr>
          <p:nvPr>
            <p:ph type="body" sz="quarter" idx="22" hasCustomPrompt="1"/>
          </p:nvPr>
        </p:nvSpPr>
        <p:spPr>
          <a:xfrm>
            <a:off x="685800" y="3124708"/>
            <a:ext cx="762000" cy="624114"/>
          </a:xfrm>
          <a:solidFill>
            <a:schemeClr val="accent2"/>
          </a:solidFill>
        </p:spPr>
        <p:txBody>
          <a:bodyPr anchor="ctr" anchorCtr="0">
            <a:normAutofit/>
          </a:bodyPr>
          <a:lstStyle>
            <a:lvl1pPr marL="0" indent="0" algn="ctr">
              <a:buNone/>
              <a:defRPr sz="3600">
                <a:solidFill>
                  <a:schemeClr val="bg1"/>
                </a:solidFill>
              </a:defRPr>
            </a:lvl1pPr>
          </a:lstStyle>
          <a:p>
            <a:pPr lvl="0"/>
            <a:r>
              <a:rPr lang="en-US"/>
              <a:t>02</a:t>
            </a:r>
          </a:p>
        </p:txBody>
      </p:sp>
      <p:sp>
        <p:nvSpPr>
          <p:cNvPr id="20" name="Text Placeholder 29">
            <a:extLst>
              <a:ext uri="{FF2B5EF4-FFF2-40B4-BE49-F238E27FC236}">
                <a16:creationId xmlns:a16="http://schemas.microsoft.com/office/drawing/2014/main" id="{0684EDDC-851D-C769-37DD-CA5A5DDFE3F6}"/>
              </a:ext>
            </a:extLst>
          </p:cNvPr>
          <p:cNvSpPr>
            <a:spLocks noGrp="1"/>
          </p:cNvSpPr>
          <p:nvPr>
            <p:ph type="body" sz="quarter" idx="23" hasCustomPrompt="1"/>
          </p:nvPr>
        </p:nvSpPr>
        <p:spPr>
          <a:xfrm>
            <a:off x="6096000" y="2114969"/>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5</a:t>
            </a:r>
          </a:p>
        </p:txBody>
      </p:sp>
      <p:sp>
        <p:nvSpPr>
          <p:cNvPr id="22" name="Text Placeholder 29">
            <a:extLst>
              <a:ext uri="{FF2B5EF4-FFF2-40B4-BE49-F238E27FC236}">
                <a16:creationId xmlns:a16="http://schemas.microsoft.com/office/drawing/2014/main" id="{A2026319-6E90-B700-39BF-1B80C564A3B5}"/>
              </a:ext>
            </a:extLst>
          </p:cNvPr>
          <p:cNvSpPr>
            <a:spLocks noGrp="1"/>
          </p:cNvSpPr>
          <p:nvPr>
            <p:ph type="body" sz="quarter" idx="24" hasCustomPrompt="1"/>
          </p:nvPr>
        </p:nvSpPr>
        <p:spPr>
          <a:xfrm>
            <a:off x="685800" y="4125142"/>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3</a:t>
            </a:r>
          </a:p>
        </p:txBody>
      </p:sp>
      <p:sp>
        <p:nvSpPr>
          <p:cNvPr id="29" name="Text Placeholder 29">
            <a:extLst>
              <a:ext uri="{FF2B5EF4-FFF2-40B4-BE49-F238E27FC236}">
                <a16:creationId xmlns:a16="http://schemas.microsoft.com/office/drawing/2014/main" id="{A425B4F1-9ABC-2362-3320-A71B25763EC1}"/>
              </a:ext>
            </a:extLst>
          </p:cNvPr>
          <p:cNvSpPr>
            <a:spLocks noGrp="1"/>
          </p:cNvSpPr>
          <p:nvPr>
            <p:ph type="body" sz="quarter" idx="25" hasCustomPrompt="1"/>
          </p:nvPr>
        </p:nvSpPr>
        <p:spPr>
          <a:xfrm>
            <a:off x="6096000" y="3124708"/>
            <a:ext cx="762000" cy="624114"/>
          </a:xfrm>
          <a:solidFill>
            <a:schemeClr val="accent3"/>
          </a:solidFill>
        </p:spPr>
        <p:txBody>
          <a:bodyPr anchor="ctr" anchorCtr="0">
            <a:normAutofit/>
          </a:bodyPr>
          <a:lstStyle>
            <a:lvl1pPr marL="0" indent="0" algn="ctr">
              <a:buNone/>
              <a:defRPr sz="3600">
                <a:solidFill>
                  <a:schemeClr val="bg1"/>
                </a:solidFill>
              </a:defRPr>
            </a:lvl1pPr>
          </a:lstStyle>
          <a:p>
            <a:pPr lvl="0"/>
            <a:r>
              <a:rPr lang="en-US"/>
              <a:t>06</a:t>
            </a:r>
          </a:p>
        </p:txBody>
      </p:sp>
      <p:sp>
        <p:nvSpPr>
          <p:cNvPr id="32" name="Text Placeholder 29">
            <a:extLst>
              <a:ext uri="{FF2B5EF4-FFF2-40B4-BE49-F238E27FC236}">
                <a16:creationId xmlns:a16="http://schemas.microsoft.com/office/drawing/2014/main" id="{5A5CDF2D-9B36-1492-9A22-6705F3D46E10}"/>
              </a:ext>
            </a:extLst>
          </p:cNvPr>
          <p:cNvSpPr>
            <a:spLocks noGrp="1"/>
          </p:cNvSpPr>
          <p:nvPr>
            <p:ph type="body" sz="quarter" idx="34" hasCustomPrompt="1"/>
          </p:nvPr>
        </p:nvSpPr>
        <p:spPr>
          <a:xfrm>
            <a:off x="6096000" y="4125142"/>
            <a:ext cx="762000" cy="624114"/>
          </a:xfrm>
          <a:solidFill>
            <a:schemeClr val="tx2"/>
          </a:solidFill>
        </p:spPr>
        <p:txBody>
          <a:bodyPr anchor="ctr" anchorCtr="0">
            <a:normAutofit/>
          </a:bodyPr>
          <a:lstStyle>
            <a:lvl1pPr marL="0" indent="0" algn="ctr">
              <a:buNone/>
              <a:defRPr sz="3600">
                <a:solidFill>
                  <a:schemeClr val="bg1"/>
                </a:solidFill>
              </a:defRPr>
            </a:lvl1pPr>
          </a:lstStyle>
          <a:p>
            <a:pPr lvl="0"/>
            <a:r>
              <a:rPr lang="en-US"/>
              <a:t>07</a:t>
            </a:r>
          </a:p>
        </p:txBody>
      </p:sp>
      <p:sp>
        <p:nvSpPr>
          <p:cNvPr id="45" name="Text Placeholder 29">
            <a:extLst>
              <a:ext uri="{FF2B5EF4-FFF2-40B4-BE49-F238E27FC236}">
                <a16:creationId xmlns:a16="http://schemas.microsoft.com/office/drawing/2014/main" id="{53ABA493-3207-93BC-2E4C-610216CB36DB}"/>
              </a:ext>
            </a:extLst>
          </p:cNvPr>
          <p:cNvSpPr>
            <a:spLocks noGrp="1"/>
          </p:cNvSpPr>
          <p:nvPr>
            <p:ph type="body" sz="quarter" idx="36" hasCustomPrompt="1"/>
          </p:nvPr>
        </p:nvSpPr>
        <p:spPr>
          <a:xfrm>
            <a:off x="6096000" y="5139043"/>
            <a:ext cx="762000" cy="624114"/>
          </a:xfrm>
          <a:solidFill>
            <a:schemeClr val="accent1"/>
          </a:solidFill>
        </p:spPr>
        <p:txBody>
          <a:bodyPr anchor="ctr" anchorCtr="0">
            <a:normAutofit/>
          </a:bodyPr>
          <a:lstStyle>
            <a:lvl1pPr marL="0" indent="0" algn="ctr">
              <a:buNone/>
              <a:defRPr sz="3600">
                <a:solidFill>
                  <a:schemeClr val="bg1"/>
                </a:solidFill>
              </a:defRPr>
            </a:lvl1pPr>
          </a:lstStyle>
          <a:p>
            <a:pPr lvl="0"/>
            <a:r>
              <a:rPr lang="en-US"/>
              <a:t>08</a:t>
            </a:r>
          </a:p>
        </p:txBody>
      </p:sp>
    </p:spTree>
    <p:extLst>
      <p:ext uri="{BB962C8B-B14F-4D97-AF65-F5344CB8AC3E}">
        <p14:creationId xmlns:p14="http://schemas.microsoft.com/office/powerpoint/2010/main" val="3666561283"/>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1_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solidFill>
                  <a:schemeClr val="bg1"/>
                </a:solidFill>
              </a:endParaRPr>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pPr marL="0" indent="0">
                <a:buFont typeface="Arial" panose="020B0604020202020204" pitchFamily="34" charset="0"/>
                <a:buNone/>
              </a:pPr>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B72B5471-BD5B-6CE5-858A-0CDBF2C473E8}"/>
              </a:ext>
            </a:extLst>
          </p:cNvPr>
          <p:cNvSpPr>
            <a:spLocks noGrp="1"/>
          </p:cNvSpPr>
          <p:nvPr>
            <p:ph sz="quarter" idx="20"/>
          </p:nvPr>
        </p:nvSpPr>
        <p:spPr>
          <a:xfrm>
            <a:off x="106070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B04CAE37-30C7-F870-09F2-F7673710C74B}"/>
              </a:ext>
            </a:extLst>
          </p:cNvPr>
          <p:cNvSpPr>
            <a:spLocks noGrp="1"/>
          </p:cNvSpPr>
          <p:nvPr>
            <p:ph sz="quarter" idx="21"/>
          </p:nvPr>
        </p:nvSpPr>
        <p:spPr>
          <a:xfrm>
            <a:off x="6455664" y="3200400"/>
            <a:ext cx="4800600" cy="2057400"/>
          </a:xfrm>
        </p:spPr>
        <p:txBody>
          <a:bodyPr>
            <a:normAutofit/>
          </a:bodyPr>
          <a:lstStyle>
            <a:lvl1pPr>
              <a:defRPr sz="1800">
                <a:solidFill>
                  <a:schemeClr val="accent4"/>
                </a:solidFill>
              </a:defRPr>
            </a:lvl1pPr>
            <a:lvl3pPr>
              <a:defRPr sz="1800">
                <a:solidFill>
                  <a:schemeClr val="accent4"/>
                </a:solidFill>
              </a:defRPr>
            </a:lvl3pPr>
            <a:lvl4pPr>
              <a:defRPr sz="1800">
                <a:solidFill>
                  <a:schemeClr val="accent4"/>
                </a:solidFill>
              </a:defRPr>
            </a:lvl4pPr>
            <a:lvl5pPr>
              <a:defRPr sz="1800">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8386411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1_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no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Content Placeholder 17">
            <a:extLst>
              <a:ext uri="{FF2B5EF4-FFF2-40B4-BE49-F238E27FC236}">
                <a16:creationId xmlns:a16="http://schemas.microsoft.com/office/drawing/2014/main" id="{691641AC-20B3-7EFA-C0EB-5D52891E1E6C}"/>
              </a:ext>
            </a:extLst>
          </p:cNvPr>
          <p:cNvSpPr>
            <a:spLocks noGrp="1"/>
          </p:cNvSpPr>
          <p:nvPr>
            <p:ph sz="quarter" idx="20"/>
          </p:nvPr>
        </p:nvSpPr>
        <p:spPr>
          <a:xfrm>
            <a:off x="106070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2F04EE25-85CC-68C1-A421-157500D216EE}"/>
              </a:ext>
            </a:extLst>
          </p:cNvPr>
          <p:cNvSpPr>
            <a:spLocks noGrp="1"/>
          </p:cNvSpPr>
          <p:nvPr>
            <p:ph sz="quarter" idx="21"/>
          </p:nvPr>
        </p:nvSpPr>
        <p:spPr>
          <a:xfrm>
            <a:off x="6455664" y="3200400"/>
            <a:ext cx="4800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2296648"/>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403085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ubtitle and content layout">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36566743"/>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1_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normAutofit/>
          </a:bodyPr>
          <a:lstStyle>
            <a:lvl1pPr marL="0" indent="0">
              <a:buNone/>
              <a:defRPr sz="1200" b="1">
                <a:solidFill>
                  <a:schemeClr val="bg1"/>
                </a:solidFill>
              </a:defRPr>
            </a:lvl1p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normAutofit/>
          </a:bodyPr>
          <a:lstStyle>
            <a:lvl1pPr marL="0" indent="0">
              <a:buNone/>
              <a:defRPr sz="1200" b="1">
                <a:solidFill>
                  <a:schemeClr val="bg1"/>
                </a:solidFill>
              </a:defRPr>
            </a:lvl1p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Content Placeholder 17">
            <a:extLst>
              <a:ext uri="{FF2B5EF4-FFF2-40B4-BE49-F238E27FC236}">
                <a16:creationId xmlns:a16="http://schemas.microsoft.com/office/drawing/2014/main" id="{DC4D1A3F-81F5-BB1B-F47C-07713712F540}"/>
              </a:ext>
            </a:extLst>
          </p:cNvPr>
          <p:cNvSpPr>
            <a:spLocks noGrp="1"/>
          </p:cNvSpPr>
          <p:nvPr>
            <p:ph sz="quarter" idx="20"/>
          </p:nvPr>
        </p:nvSpPr>
        <p:spPr>
          <a:xfrm>
            <a:off x="1060704"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Content Placeholder 17">
            <a:extLst>
              <a:ext uri="{FF2B5EF4-FFF2-40B4-BE49-F238E27FC236}">
                <a16:creationId xmlns:a16="http://schemas.microsoft.com/office/drawing/2014/main" id="{259A02CD-D601-E8A9-FE91-EB7F5F470B5D}"/>
              </a:ext>
            </a:extLst>
          </p:cNvPr>
          <p:cNvSpPr>
            <a:spLocks noGrp="1"/>
          </p:cNvSpPr>
          <p:nvPr>
            <p:ph sz="quarter" idx="21"/>
          </p:nvPr>
        </p:nvSpPr>
        <p:spPr>
          <a:xfrm>
            <a:off x="4648200"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Content Placeholder 17">
            <a:extLst>
              <a:ext uri="{FF2B5EF4-FFF2-40B4-BE49-F238E27FC236}">
                <a16:creationId xmlns:a16="http://schemas.microsoft.com/office/drawing/2014/main" id="{88DF9C5A-F4A0-8BCB-2E61-5854FE61AF49}"/>
              </a:ext>
            </a:extLst>
          </p:cNvPr>
          <p:cNvSpPr>
            <a:spLocks noGrp="1"/>
          </p:cNvSpPr>
          <p:nvPr>
            <p:ph sz="quarter" idx="22"/>
          </p:nvPr>
        </p:nvSpPr>
        <p:spPr>
          <a:xfrm>
            <a:off x="8257032" y="3200400"/>
            <a:ext cx="2895600" cy="2057400"/>
          </a:xfrm>
        </p:spPr>
        <p:txBody>
          <a:bodyPr>
            <a:normAutofit/>
          </a:bodyPr>
          <a:lstStyle>
            <a:lvl1pPr>
              <a:defRPr sz="1800">
                <a:solidFill>
                  <a:schemeClr val="bg1"/>
                </a:solidFill>
              </a:defRPr>
            </a:lvl1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26922481"/>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Four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1800">
                <a:solidFill>
                  <a:schemeClr val="tx1"/>
                </a:solidFill>
              </a:defRPr>
            </a:lvl1pPr>
          </a:lstStyle>
          <a:p>
            <a:pPr lvl="0"/>
            <a:r>
              <a:rPr lang="en-US"/>
              <a:t>Click to add subheading</a:t>
            </a:r>
            <a:endParaRPr lang="en-GB"/>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normAutofit/>
          </a:bodyPr>
          <a:lstStyle>
            <a:lvl1pPr marL="0" indent="0">
              <a:buNone/>
              <a:defRPr sz="1200" b="1">
                <a:solidFill>
                  <a:schemeClr val="bg1"/>
                </a:solidFill>
              </a:defRPr>
            </a:lvl1p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norm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33" name="Content Placeholder 17">
            <a:extLst>
              <a:ext uri="{FF2B5EF4-FFF2-40B4-BE49-F238E27FC236}">
                <a16:creationId xmlns:a16="http://schemas.microsoft.com/office/drawing/2014/main" id="{5031F53F-D3EA-8985-E402-F7C2CDF7AA27}"/>
              </a:ext>
            </a:extLst>
          </p:cNvPr>
          <p:cNvSpPr>
            <a:spLocks noGrp="1"/>
          </p:cNvSpPr>
          <p:nvPr>
            <p:ph sz="quarter" idx="22"/>
          </p:nvPr>
        </p:nvSpPr>
        <p:spPr>
          <a:xfrm>
            <a:off x="99669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Content Placeholder 17">
            <a:extLst>
              <a:ext uri="{FF2B5EF4-FFF2-40B4-BE49-F238E27FC236}">
                <a16:creationId xmlns:a16="http://schemas.microsoft.com/office/drawing/2014/main" id="{753F2516-0890-B56D-1C13-9AFB7CF91D2A}"/>
              </a:ext>
            </a:extLst>
          </p:cNvPr>
          <p:cNvSpPr>
            <a:spLocks noGrp="1"/>
          </p:cNvSpPr>
          <p:nvPr>
            <p:ph sz="quarter" idx="23"/>
          </p:nvPr>
        </p:nvSpPr>
        <p:spPr>
          <a:xfrm>
            <a:off x="369417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Content Placeholder 17">
            <a:extLst>
              <a:ext uri="{FF2B5EF4-FFF2-40B4-BE49-F238E27FC236}">
                <a16:creationId xmlns:a16="http://schemas.microsoft.com/office/drawing/2014/main" id="{04470E80-3EAA-F5B8-97CB-1624AFB82ECA}"/>
              </a:ext>
            </a:extLst>
          </p:cNvPr>
          <p:cNvSpPr>
            <a:spLocks noGrp="1"/>
          </p:cNvSpPr>
          <p:nvPr>
            <p:ph sz="quarter" idx="24"/>
          </p:nvPr>
        </p:nvSpPr>
        <p:spPr>
          <a:xfrm>
            <a:off x="6391656"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Content Placeholder 17">
            <a:extLst>
              <a:ext uri="{FF2B5EF4-FFF2-40B4-BE49-F238E27FC236}">
                <a16:creationId xmlns:a16="http://schemas.microsoft.com/office/drawing/2014/main" id="{A6BB3462-521B-7D0A-E0AA-75D04A28758C}"/>
              </a:ext>
            </a:extLst>
          </p:cNvPr>
          <p:cNvSpPr>
            <a:spLocks noGrp="1"/>
          </p:cNvSpPr>
          <p:nvPr>
            <p:ph sz="quarter" idx="25"/>
          </p:nvPr>
        </p:nvSpPr>
        <p:spPr>
          <a:xfrm>
            <a:off x="9098280" y="3115158"/>
            <a:ext cx="2179320" cy="2371241"/>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24267783"/>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Six point icon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33" name="Rectangle 32">
            <a:extLst>
              <a:ext uri="{FF2B5EF4-FFF2-40B4-BE49-F238E27FC236}">
                <a16:creationId xmlns:a16="http://schemas.microsoft.com/office/drawing/2014/main" id="{FD9BCE3B-4762-C661-5C9C-B1DC7338A906}"/>
              </a:ext>
            </a:extLst>
          </p:cNvPr>
          <p:cNvSpPr/>
          <p:nvPr/>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pPr marL="0" indent="0">
              <a:buFont typeface="Arial" panose="020B0604020202020204" pitchFamily="34" charset="0"/>
              <a:buNone/>
            </a:pPr>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solidFill>
                <a:schemeClr val="bg1"/>
              </a:solidFill>
            </a:endParaRPr>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noAutofit/>
          </a:bodyPr>
          <a:lstStyle>
            <a:lvl1pPr marL="0" indent="0">
              <a:buNone/>
              <a:defRPr sz="1200" b="1">
                <a:solidFill>
                  <a:schemeClr val="bg1"/>
                </a:solidFill>
              </a:defRPr>
            </a:lvl1p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noAutofit/>
          </a:bodyPr>
          <a:lstStyle>
            <a:lvl1pPr marL="0" indent="0">
              <a:buNone/>
              <a:defRPr sz="1200" b="1">
                <a:solidFill>
                  <a:schemeClr val="bg1"/>
                </a:solidFill>
              </a:defRPr>
            </a:lvl1pPr>
          </a:lstStyle>
          <a:p>
            <a:r>
              <a:rPr lang="en-US"/>
              <a:t>Click icon to add picture</a:t>
            </a:r>
          </a:p>
        </p:txBody>
      </p:sp>
      <p:grpSp>
        <p:nvGrpSpPr>
          <p:cNvPr id="4" name="Group 3">
            <a:extLst>
              <a:ext uri="{FF2B5EF4-FFF2-40B4-BE49-F238E27FC236}">
                <a16:creationId xmlns:a16="http://schemas.microsoft.com/office/drawing/2014/main" id="{B129E26F-9EAB-58D3-8BE0-92C03DF5A2B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3" name="Content Placeholder 17">
            <a:extLst>
              <a:ext uri="{FF2B5EF4-FFF2-40B4-BE49-F238E27FC236}">
                <a16:creationId xmlns:a16="http://schemas.microsoft.com/office/drawing/2014/main" id="{E93EFC32-2E6A-B131-0C23-F0010AD9B58F}"/>
              </a:ext>
            </a:extLst>
          </p:cNvPr>
          <p:cNvSpPr>
            <a:spLocks noGrp="1"/>
          </p:cNvSpPr>
          <p:nvPr>
            <p:ph sz="quarter" idx="28"/>
          </p:nvPr>
        </p:nvSpPr>
        <p:spPr>
          <a:xfrm>
            <a:off x="1060797"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6" name="Content Placeholder 17">
            <a:extLst>
              <a:ext uri="{FF2B5EF4-FFF2-40B4-BE49-F238E27FC236}">
                <a16:creationId xmlns:a16="http://schemas.microsoft.com/office/drawing/2014/main" id="{52B3257F-6803-6233-9D64-82C0E49AC3A6}"/>
              </a:ext>
            </a:extLst>
          </p:cNvPr>
          <p:cNvSpPr>
            <a:spLocks noGrp="1"/>
          </p:cNvSpPr>
          <p:nvPr>
            <p:ph sz="quarter" idx="29"/>
          </p:nvPr>
        </p:nvSpPr>
        <p:spPr>
          <a:xfrm>
            <a:off x="4662268"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8" name="Content Placeholder 17">
            <a:extLst>
              <a:ext uri="{FF2B5EF4-FFF2-40B4-BE49-F238E27FC236}">
                <a16:creationId xmlns:a16="http://schemas.microsoft.com/office/drawing/2014/main" id="{FC75CEE2-25FD-4AF1-8299-4621D4406942}"/>
              </a:ext>
            </a:extLst>
          </p:cNvPr>
          <p:cNvSpPr>
            <a:spLocks noGrp="1"/>
          </p:cNvSpPr>
          <p:nvPr>
            <p:ph sz="quarter" idx="30"/>
          </p:nvPr>
        </p:nvSpPr>
        <p:spPr>
          <a:xfrm>
            <a:off x="8262206" y="29718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9" name="Content Placeholder 17">
            <a:extLst>
              <a:ext uri="{FF2B5EF4-FFF2-40B4-BE49-F238E27FC236}">
                <a16:creationId xmlns:a16="http://schemas.microsoft.com/office/drawing/2014/main" id="{BE84CC19-BF70-4442-4C61-1331DCCF9AC5}"/>
              </a:ext>
            </a:extLst>
          </p:cNvPr>
          <p:cNvSpPr>
            <a:spLocks noGrp="1"/>
          </p:cNvSpPr>
          <p:nvPr>
            <p:ph sz="quarter" idx="31"/>
          </p:nvPr>
        </p:nvSpPr>
        <p:spPr>
          <a:xfrm>
            <a:off x="1060797"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0" name="Content Placeholder 17">
            <a:extLst>
              <a:ext uri="{FF2B5EF4-FFF2-40B4-BE49-F238E27FC236}">
                <a16:creationId xmlns:a16="http://schemas.microsoft.com/office/drawing/2014/main" id="{20E7448F-6A72-5BAC-E0C9-4842AFBE53DC}"/>
              </a:ext>
            </a:extLst>
          </p:cNvPr>
          <p:cNvSpPr>
            <a:spLocks noGrp="1"/>
          </p:cNvSpPr>
          <p:nvPr>
            <p:ph sz="quarter" idx="32"/>
          </p:nvPr>
        </p:nvSpPr>
        <p:spPr>
          <a:xfrm>
            <a:off x="4662268"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31" name="Content Placeholder 17">
            <a:extLst>
              <a:ext uri="{FF2B5EF4-FFF2-40B4-BE49-F238E27FC236}">
                <a16:creationId xmlns:a16="http://schemas.microsoft.com/office/drawing/2014/main" id="{A99FE960-70D8-C68D-D85A-10054C69A0F2}"/>
              </a:ext>
            </a:extLst>
          </p:cNvPr>
          <p:cNvSpPr>
            <a:spLocks noGrp="1"/>
          </p:cNvSpPr>
          <p:nvPr>
            <p:ph sz="quarter" idx="33"/>
          </p:nvPr>
        </p:nvSpPr>
        <p:spPr>
          <a:xfrm>
            <a:off x="8262206" y="5334000"/>
            <a:ext cx="2895600" cy="914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7772625"/>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6424"/>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6764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63000"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701040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97777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792071"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569137"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46203"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123269" y="3810000"/>
            <a:ext cx="1737360" cy="377331"/>
          </a:xfrm>
          <a:solidFill>
            <a:schemeClr val="tx2"/>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00335" y="3810000"/>
            <a:ext cx="1737360" cy="377331"/>
          </a:xfrm>
          <a:solidFill>
            <a:schemeClr val="accent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677400" y="3810000"/>
            <a:ext cx="1737360" cy="377331"/>
          </a:xfrm>
          <a:solidFill>
            <a:schemeClr val="tx1"/>
          </a:solidFill>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Content Placeholder 17">
            <a:extLst>
              <a:ext uri="{FF2B5EF4-FFF2-40B4-BE49-F238E27FC236}">
                <a16:creationId xmlns:a16="http://schemas.microsoft.com/office/drawing/2014/main" id="{13EA36FF-4BDF-0027-4049-9EBEB00FB103}"/>
              </a:ext>
            </a:extLst>
          </p:cNvPr>
          <p:cNvSpPr>
            <a:spLocks noGrp="1"/>
          </p:cNvSpPr>
          <p:nvPr>
            <p:ph sz="quarter" idx="64"/>
          </p:nvPr>
        </p:nvSpPr>
        <p:spPr>
          <a:xfrm>
            <a:off x="24384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6C708107-C0AF-48F8-4322-BA907E46DFD8}"/>
              </a:ext>
            </a:extLst>
          </p:cNvPr>
          <p:cNvSpPr>
            <a:spLocks noGrp="1"/>
          </p:cNvSpPr>
          <p:nvPr>
            <p:ph sz="quarter" idx="65"/>
          </p:nvPr>
        </p:nvSpPr>
        <p:spPr>
          <a:xfrm>
            <a:off x="60198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5" name="Content Placeholder 17">
            <a:extLst>
              <a:ext uri="{FF2B5EF4-FFF2-40B4-BE49-F238E27FC236}">
                <a16:creationId xmlns:a16="http://schemas.microsoft.com/office/drawing/2014/main" id="{7DD57526-A2B6-31EC-DD48-29E9ADDA1136}"/>
              </a:ext>
            </a:extLst>
          </p:cNvPr>
          <p:cNvSpPr>
            <a:spLocks noGrp="1"/>
          </p:cNvSpPr>
          <p:nvPr>
            <p:ph sz="quarter" idx="67"/>
          </p:nvPr>
        </p:nvSpPr>
        <p:spPr>
          <a:xfrm>
            <a:off x="9525000" y="49530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0663B468-A4AA-3272-832C-2797B3FE4AB8}"/>
              </a:ext>
            </a:extLst>
          </p:cNvPr>
          <p:cNvSpPr>
            <a:spLocks noGrp="1"/>
          </p:cNvSpPr>
          <p:nvPr>
            <p:ph sz="quarter" idx="68"/>
          </p:nvPr>
        </p:nvSpPr>
        <p:spPr>
          <a:xfrm>
            <a:off x="6858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81841119-AAED-BDED-1548-E8BB5D7CA59F}"/>
              </a:ext>
            </a:extLst>
          </p:cNvPr>
          <p:cNvSpPr>
            <a:spLocks noGrp="1"/>
          </p:cNvSpPr>
          <p:nvPr>
            <p:ph sz="quarter" idx="69"/>
          </p:nvPr>
        </p:nvSpPr>
        <p:spPr>
          <a:xfrm>
            <a:off x="42672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5DDAC065-2869-DD46-7AB8-57BD6F529C4C}"/>
              </a:ext>
            </a:extLst>
          </p:cNvPr>
          <p:cNvSpPr>
            <a:spLocks noGrp="1"/>
          </p:cNvSpPr>
          <p:nvPr>
            <p:ph sz="quarter" idx="70"/>
          </p:nvPr>
        </p:nvSpPr>
        <p:spPr>
          <a:xfrm>
            <a:off x="7772400" y="19812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17967054"/>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p:nvCxnSpPr>
        <p:spPr>
          <a:xfrm flipV="1">
            <a:off x="104058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9696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846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6716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9835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6AF6021-6E42-EF2D-2A51-2E5A22F1746B}"/>
              </a:ext>
            </a:extLst>
          </p:cNvPr>
          <p:cNvSpPr/>
          <p:nvPr/>
        </p:nvSpPr>
        <p:spPr>
          <a:xfrm>
            <a:off x="9669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7" name="Rectangle 6">
            <a:extLst>
              <a:ext uri="{FF2B5EF4-FFF2-40B4-BE49-F238E27FC236}">
                <a16:creationId xmlns:a16="http://schemas.microsoft.com/office/drawing/2014/main" id="{01E92454-01BE-85A8-6230-5E1ED9A5D8B5}"/>
              </a:ext>
            </a:extLst>
          </p:cNvPr>
          <p:cNvSpPr/>
          <p:nvPr/>
        </p:nvSpPr>
        <p:spPr>
          <a:xfrm>
            <a:off x="2681751" y="3356328"/>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8" name="Rectangle 7">
            <a:extLst>
              <a:ext uri="{FF2B5EF4-FFF2-40B4-BE49-F238E27FC236}">
                <a16:creationId xmlns:a16="http://schemas.microsoft.com/office/drawing/2014/main" id="{C47FAF06-6923-423A-4B04-3E2975B0A4A7}"/>
              </a:ext>
            </a:extLst>
          </p:cNvPr>
          <p:cNvSpPr/>
          <p:nvPr/>
        </p:nvSpPr>
        <p:spPr>
          <a:xfrm>
            <a:off x="43871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9" name="Rectangle 8">
            <a:extLst>
              <a:ext uri="{FF2B5EF4-FFF2-40B4-BE49-F238E27FC236}">
                <a16:creationId xmlns:a16="http://schemas.microsoft.com/office/drawing/2014/main" id="{3518A56B-86F2-7D58-8DEA-768A25A5C39A}"/>
              </a:ext>
            </a:extLst>
          </p:cNvPr>
          <p:cNvSpPr/>
          <p:nvPr/>
        </p:nvSpPr>
        <p:spPr>
          <a:xfrm>
            <a:off x="60983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0" name="Rectangle 9">
            <a:extLst>
              <a:ext uri="{FF2B5EF4-FFF2-40B4-BE49-F238E27FC236}">
                <a16:creationId xmlns:a16="http://schemas.microsoft.com/office/drawing/2014/main" id="{319F290D-C8DF-C88B-EF14-AE1A74E01D73}"/>
              </a:ext>
            </a:extLst>
          </p:cNvPr>
          <p:cNvSpPr/>
          <p:nvPr/>
        </p:nvSpPr>
        <p:spPr>
          <a:xfrm>
            <a:off x="7813742" y="3729585"/>
            <a:ext cx="1715749"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5211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1081677" y="377979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796469" y="3426988"/>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501868" y="3795824"/>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13107" y="3431409"/>
            <a:ext cx="1486313" cy="218674"/>
          </a:xfrm>
        </p:spPr>
        <p:txBody>
          <a:bodyPr/>
          <a:lstStyle>
            <a:lvl1pPr marL="0" indent="0" algn="ctr">
              <a:spcBef>
                <a:spcPts val="0"/>
              </a:spcBef>
              <a:buNone/>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928460" y="3793907"/>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p:nvSpPr>
        <p:spPr>
          <a:xfrm>
            <a:off x="917981" y="4149717"/>
            <a:ext cx="1750641"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5" name="TextBox 4">
            <a:extLst>
              <a:ext uri="{FF2B5EF4-FFF2-40B4-BE49-F238E27FC236}">
                <a16:creationId xmlns:a16="http://schemas.microsoft.com/office/drawing/2014/main" id="{A49878B0-CF0A-802D-531E-1FCD7080CC56}"/>
              </a:ext>
            </a:extLst>
          </p:cNvPr>
          <p:cNvSpPr txBox="1"/>
          <p:nvPr/>
        </p:nvSpPr>
        <p:spPr>
          <a:xfrm>
            <a:off x="6089340" y="2972163"/>
            <a:ext cx="1724798" cy="307777"/>
          </a:xfrm>
          <a:prstGeom prst="rect">
            <a:avLst/>
          </a:prstGeom>
          <a:noFill/>
        </p:spPr>
        <p:txBody>
          <a:bodyPr wrap="square" lIns="0" tIns="0" rIns="0" bIns="0" rtlCol="0">
            <a:spAutoFit/>
          </a:bodyPr>
          <a:lstStyle/>
          <a:p>
            <a:pPr marL="0" indent="0" algn="ctr">
              <a:buFont typeface="Arial" panose="020B0604020202020204" pitchFamily="34" charset="0"/>
              <a:buNone/>
            </a:pPr>
            <a:r>
              <a:rPr lang="en-US" sz="2000" b="1">
                <a:solidFill>
                  <a:schemeClr val="tx1"/>
                </a:solidFill>
              </a:rPr>
              <a:t>20XX</a:t>
            </a:r>
          </a:p>
        </p:txBody>
      </p:sp>
      <p:sp>
        <p:nvSpPr>
          <p:cNvPr id="19" name="Rectangle 18">
            <a:extLst>
              <a:ext uri="{FF2B5EF4-FFF2-40B4-BE49-F238E27FC236}">
                <a16:creationId xmlns:a16="http://schemas.microsoft.com/office/drawing/2014/main" id="{622F5348-07E7-C888-D291-A0D3B05C7F4F}"/>
              </a:ext>
            </a:extLst>
          </p:cNvPr>
          <p:cNvSpPr/>
          <p:nvPr/>
        </p:nvSpPr>
        <p:spPr>
          <a:xfrm>
            <a:off x="95290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643811" y="3438636"/>
            <a:ext cx="1486313"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grpSp>
        <p:nvGrpSpPr>
          <p:cNvPr id="11" name="Group 10">
            <a:extLst>
              <a:ext uri="{FF2B5EF4-FFF2-40B4-BE49-F238E27FC236}">
                <a16:creationId xmlns:a16="http://schemas.microsoft.com/office/drawing/2014/main" id="{F194D94E-5449-DF2C-2F5D-D841479A4552}"/>
              </a:ext>
            </a:extLst>
          </p:cNvPr>
          <p:cNvGrpSpPr/>
          <p:nvPr/>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4" name="Content Placeholder 17">
            <a:extLst>
              <a:ext uri="{FF2B5EF4-FFF2-40B4-BE49-F238E27FC236}">
                <a16:creationId xmlns:a16="http://schemas.microsoft.com/office/drawing/2014/main" id="{C04E7B68-FD06-FE47-C0CA-09997FF2A094}"/>
              </a:ext>
            </a:extLst>
          </p:cNvPr>
          <p:cNvSpPr>
            <a:spLocks noGrp="1"/>
          </p:cNvSpPr>
          <p:nvPr>
            <p:ph sz="quarter" idx="64"/>
          </p:nvPr>
        </p:nvSpPr>
        <p:spPr>
          <a:xfrm>
            <a:off x="25146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5" name="Content Placeholder 17">
            <a:extLst>
              <a:ext uri="{FF2B5EF4-FFF2-40B4-BE49-F238E27FC236}">
                <a16:creationId xmlns:a16="http://schemas.microsoft.com/office/drawing/2014/main" id="{0E50B341-584B-5AEC-A79D-ADD8CF05F8FC}"/>
              </a:ext>
            </a:extLst>
          </p:cNvPr>
          <p:cNvSpPr>
            <a:spLocks noGrp="1"/>
          </p:cNvSpPr>
          <p:nvPr>
            <p:ph sz="quarter" idx="65"/>
          </p:nvPr>
        </p:nvSpPr>
        <p:spPr>
          <a:xfrm>
            <a:off x="6019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0AE223FE-03F1-1BE1-0D01-AF3D511DF195}"/>
              </a:ext>
            </a:extLst>
          </p:cNvPr>
          <p:cNvSpPr>
            <a:spLocks noGrp="1"/>
          </p:cNvSpPr>
          <p:nvPr>
            <p:ph sz="quarter" idx="67"/>
          </p:nvPr>
        </p:nvSpPr>
        <p:spPr>
          <a:xfrm>
            <a:off x="9448800" y="48006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7" name="Content Placeholder 17">
            <a:extLst>
              <a:ext uri="{FF2B5EF4-FFF2-40B4-BE49-F238E27FC236}">
                <a16:creationId xmlns:a16="http://schemas.microsoft.com/office/drawing/2014/main" id="{3979C53E-CE70-6ED5-B667-9C2275B8AF3A}"/>
              </a:ext>
            </a:extLst>
          </p:cNvPr>
          <p:cNvSpPr>
            <a:spLocks noGrp="1"/>
          </p:cNvSpPr>
          <p:nvPr>
            <p:ph sz="quarter" idx="68"/>
          </p:nvPr>
        </p:nvSpPr>
        <p:spPr>
          <a:xfrm>
            <a:off x="9906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8" name="Content Placeholder 17">
            <a:extLst>
              <a:ext uri="{FF2B5EF4-FFF2-40B4-BE49-F238E27FC236}">
                <a16:creationId xmlns:a16="http://schemas.microsoft.com/office/drawing/2014/main" id="{4E918C0F-FF63-F25D-A047-72148F59D010}"/>
              </a:ext>
            </a:extLst>
          </p:cNvPr>
          <p:cNvSpPr>
            <a:spLocks noGrp="1"/>
          </p:cNvSpPr>
          <p:nvPr>
            <p:ph sz="quarter" idx="69"/>
          </p:nvPr>
        </p:nvSpPr>
        <p:spPr>
          <a:xfrm>
            <a:off x="4267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9" name="Content Placeholder 17">
            <a:extLst>
              <a:ext uri="{FF2B5EF4-FFF2-40B4-BE49-F238E27FC236}">
                <a16:creationId xmlns:a16="http://schemas.microsoft.com/office/drawing/2014/main" id="{6C2406E8-B9A7-737B-D983-E39068B37BDB}"/>
              </a:ext>
            </a:extLst>
          </p:cNvPr>
          <p:cNvSpPr>
            <a:spLocks noGrp="1"/>
          </p:cNvSpPr>
          <p:nvPr>
            <p:ph sz="quarter" idx="70"/>
          </p:nvPr>
        </p:nvSpPr>
        <p:spPr>
          <a:xfrm>
            <a:off x="7696200" y="1828800"/>
            <a:ext cx="198120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7565621"/>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Timeline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Wingdings" pitchFamily="2" charset="2"/>
              <a:buNone/>
              <a:tabLst/>
              <a:defRPr/>
            </a:pPr>
            <a:r>
              <a:rPr lang="en-US"/>
              <a:t>Click to add subheading</a:t>
            </a:r>
            <a:endParaRPr lang="en-GB"/>
          </a:p>
        </p:txBody>
      </p:sp>
      <p:sp>
        <p:nvSpPr>
          <p:cNvPr id="18" name="Rectangle 17">
            <a:extLst>
              <a:ext uri="{FF2B5EF4-FFF2-40B4-BE49-F238E27FC236}">
                <a16:creationId xmlns:a16="http://schemas.microsoft.com/office/drawing/2014/main" id="{9C162B7E-6DD2-0BDC-A754-B14190695F9D}"/>
              </a:ext>
            </a:extLst>
          </p:cNvPr>
          <p:cNvSpPr/>
          <p:nvPr/>
        </p:nvSpPr>
        <p:spPr>
          <a:xfrm>
            <a:off x="797913" y="3733800"/>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1" name="Rectangle 20">
            <a:extLst>
              <a:ext uri="{FF2B5EF4-FFF2-40B4-BE49-F238E27FC236}">
                <a16:creationId xmlns:a16="http://schemas.microsoft.com/office/drawing/2014/main" id="{501CD494-4588-D746-4872-F8ECD0F5AA38}"/>
              </a:ext>
            </a:extLst>
          </p:cNvPr>
          <p:cNvSpPr/>
          <p:nvPr/>
        </p:nvSpPr>
        <p:spPr>
          <a:xfrm>
            <a:off x="2980944" y="3352800"/>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4" name="Rectangle 23">
            <a:extLst>
              <a:ext uri="{FF2B5EF4-FFF2-40B4-BE49-F238E27FC236}">
                <a16:creationId xmlns:a16="http://schemas.microsoft.com/office/drawing/2014/main" id="{54D080DA-7928-FAB5-1EC5-E057D616B939}"/>
              </a:ext>
            </a:extLst>
          </p:cNvPr>
          <p:cNvSpPr/>
          <p:nvPr/>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5" name="Rectangle 24">
            <a:extLst>
              <a:ext uri="{FF2B5EF4-FFF2-40B4-BE49-F238E27FC236}">
                <a16:creationId xmlns:a16="http://schemas.microsoft.com/office/drawing/2014/main" id="{000A0001-BCDB-B25A-6F7C-E3402F3D8D7E}"/>
              </a:ext>
            </a:extLst>
          </p:cNvPr>
          <p:cNvSpPr/>
          <p:nvPr/>
        </p:nvSpPr>
        <p:spPr>
          <a:xfrm>
            <a:off x="7351113" y="3355848"/>
            <a:ext cx="2173887" cy="3599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4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108960" y="3417167"/>
            <a:ext cx="1920240" cy="231260"/>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92203" y="3801331"/>
            <a:ext cx="1920240" cy="207661"/>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79129" y="3422906"/>
            <a:ext cx="1920240" cy="226839"/>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p:nvCxnSpPr>
        <p:spPr>
          <a:xfrm>
            <a:off x="800552" y="3733800"/>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p:nvCxnSpPr>
        <p:spPr>
          <a:xfrm>
            <a:off x="2991493" y="1808522"/>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p:nvCxnSpPr>
        <p:spPr>
          <a:xfrm>
            <a:off x="7360920" y="1965960"/>
            <a:ext cx="0" cy="1617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CBEB14D-5BA5-643D-3888-51C635CEC8B1}"/>
              </a:ext>
            </a:extLst>
          </p:cNvPr>
          <p:cNvSpPr/>
          <p:nvPr/>
        </p:nvSpPr>
        <p:spPr>
          <a:xfrm>
            <a:off x="9560913" y="3733800"/>
            <a:ext cx="2173887" cy="35999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87736" y="3804460"/>
            <a:ext cx="1920240" cy="218674"/>
          </a:xfrm>
        </p:spPr>
        <p:txBody>
          <a:bodyPr anchor="ctr"/>
          <a:lstStyle>
            <a:lvl1pPr marL="0" indent="0" algn="ctr">
              <a:spcBef>
                <a:spcPts val="0"/>
              </a:spcBef>
              <a:buNone/>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p:nvCxnSpPr>
        <p:spPr>
          <a:xfrm>
            <a:off x="9557123" y="3733800"/>
            <a:ext cx="0" cy="161767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22" name="Content Placeholder 17">
            <a:extLst>
              <a:ext uri="{FF2B5EF4-FFF2-40B4-BE49-F238E27FC236}">
                <a16:creationId xmlns:a16="http://schemas.microsoft.com/office/drawing/2014/main" id="{223BAD68-DF8E-2DE9-AF59-8BA2768DA520}"/>
              </a:ext>
            </a:extLst>
          </p:cNvPr>
          <p:cNvSpPr>
            <a:spLocks noGrp="1"/>
          </p:cNvSpPr>
          <p:nvPr>
            <p:ph sz="quarter" idx="63"/>
          </p:nvPr>
        </p:nvSpPr>
        <p:spPr>
          <a:xfrm>
            <a:off x="311831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9ED7E7CF-8C4F-4727-B19C-9AB2CAE7CB0A}"/>
              </a:ext>
            </a:extLst>
          </p:cNvPr>
          <p:cNvSpPr>
            <a:spLocks noGrp="1"/>
          </p:cNvSpPr>
          <p:nvPr>
            <p:ph sz="quarter" idx="64"/>
          </p:nvPr>
        </p:nvSpPr>
        <p:spPr>
          <a:xfrm>
            <a:off x="9319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6" name="Content Placeholder 17">
            <a:extLst>
              <a:ext uri="{FF2B5EF4-FFF2-40B4-BE49-F238E27FC236}">
                <a16:creationId xmlns:a16="http://schemas.microsoft.com/office/drawing/2014/main" id="{E1B18EFE-C94D-D0D2-A1E7-03C6B88087B9}"/>
              </a:ext>
            </a:extLst>
          </p:cNvPr>
          <p:cNvSpPr>
            <a:spLocks noGrp="1"/>
          </p:cNvSpPr>
          <p:nvPr>
            <p:ph sz="quarter" idx="65"/>
          </p:nvPr>
        </p:nvSpPr>
        <p:spPr>
          <a:xfrm>
            <a:off x="5292203"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2" name="Content Placeholder 17">
            <a:extLst>
              <a:ext uri="{FF2B5EF4-FFF2-40B4-BE49-F238E27FC236}">
                <a16:creationId xmlns:a16="http://schemas.microsoft.com/office/drawing/2014/main" id="{873156A0-6700-E73F-30C9-08C6B9E15EFA}"/>
              </a:ext>
            </a:extLst>
          </p:cNvPr>
          <p:cNvSpPr>
            <a:spLocks noGrp="1"/>
          </p:cNvSpPr>
          <p:nvPr>
            <p:ph sz="quarter" idx="66"/>
          </p:nvPr>
        </p:nvSpPr>
        <p:spPr>
          <a:xfrm>
            <a:off x="7485766" y="19812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33" name="Content Placeholder 17">
            <a:extLst>
              <a:ext uri="{FF2B5EF4-FFF2-40B4-BE49-F238E27FC236}">
                <a16:creationId xmlns:a16="http://schemas.microsoft.com/office/drawing/2014/main" id="{207428A8-B813-0023-E63D-8D42D0AEA86C}"/>
              </a:ext>
            </a:extLst>
          </p:cNvPr>
          <p:cNvSpPr>
            <a:spLocks noGrp="1"/>
          </p:cNvSpPr>
          <p:nvPr>
            <p:ph sz="quarter" idx="67"/>
          </p:nvPr>
        </p:nvSpPr>
        <p:spPr>
          <a:xfrm>
            <a:off x="9668104" y="4191000"/>
            <a:ext cx="1920240" cy="1295400"/>
          </a:xfrm>
        </p:spPr>
        <p:txBody>
          <a:bodyPr>
            <a:normAutofit/>
          </a:bodyPr>
          <a:lstStyle>
            <a:lvl1pPr>
              <a:defRPr sz="1200">
                <a:solidFill>
                  <a:schemeClr val="accent4"/>
                </a:solidFill>
              </a:defRPr>
            </a:lvl1pPr>
            <a:lvl3pPr>
              <a:defRPr sz="12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466433"/>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400"/>
            </a:p>
          </p:txBody>
        </p:sp>
      </p:grpSp>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endParaRPr lang="en-US" sz="1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lvl1pPr marL="0" indent="0">
              <a:buFont typeface="Arial" panose="020B0604020202020204" pitchFamily="34" charset="0"/>
              <a:buNone/>
              <a:defRPr/>
            </a:lvl1p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4" name="Group 3">
            <a:extLst>
              <a:ext uri="{FF2B5EF4-FFF2-40B4-BE49-F238E27FC236}">
                <a16:creationId xmlns:a16="http://schemas.microsoft.com/office/drawing/2014/main" id="{3E43F683-1C6F-A88B-EFFC-61BC47677550}"/>
              </a:ext>
            </a:extLst>
          </p:cNvPr>
          <p:cNvGrpSpPr/>
          <p:nvPr/>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13" name="Text Placeholder 12">
            <a:extLst>
              <a:ext uri="{FF2B5EF4-FFF2-40B4-BE49-F238E27FC236}">
                <a16:creationId xmlns:a16="http://schemas.microsoft.com/office/drawing/2014/main" id="{F208C0BF-2ED7-5DE5-CB73-756018FFEAE7}"/>
              </a:ext>
            </a:extLst>
          </p:cNvPr>
          <p:cNvSpPr>
            <a:spLocks noGrp="1"/>
          </p:cNvSpPr>
          <p:nvPr>
            <p:ph type="body" sz="quarter" idx="23" hasCustomPrompt="1"/>
          </p:nvPr>
        </p:nvSpPr>
        <p:spPr>
          <a:xfrm>
            <a:off x="1645920"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1</a:t>
            </a:r>
          </a:p>
        </p:txBody>
      </p:sp>
      <p:sp>
        <p:nvSpPr>
          <p:cNvPr id="14" name="Text Placeholder 12">
            <a:extLst>
              <a:ext uri="{FF2B5EF4-FFF2-40B4-BE49-F238E27FC236}">
                <a16:creationId xmlns:a16="http://schemas.microsoft.com/office/drawing/2014/main" id="{E51AF760-8DBB-8A14-4B06-2189A23ED6F1}"/>
              </a:ext>
            </a:extLst>
          </p:cNvPr>
          <p:cNvSpPr>
            <a:spLocks noGrp="1"/>
          </p:cNvSpPr>
          <p:nvPr>
            <p:ph type="body" sz="quarter" idx="24" hasCustomPrompt="1"/>
          </p:nvPr>
        </p:nvSpPr>
        <p:spPr>
          <a:xfrm>
            <a:off x="3739896" y="461772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2</a:t>
            </a:r>
          </a:p>
        </p:txBody>
      </p:sp>
      <p:sp>
        <p:nvSpPr>
          <p:cNvPr id="15" name="Text Placeholder 12">
            <a:extLst>
              <a:ext uri="{FF2B5EF4-FFF2-40B4-BE49-F238E27FC236}">
                <a16:creationId xmlns:a16="http://schemas.microsoft.com/office/drawing/2014/main" id="{C7CE9357-05A9-DF7C-6E17-997138D12646}"/>
              </a:ext>
            </a:extLst>
          </p:cNvPr>
          <p:cNvSpPr>
            <a:spLocks noGrp="1"/>
          </p:cNvSpPr>
          <p:nvPr>
            <p:ph type="body" sz="quarter" idx="25" hasCustomPrompt="1"/>
          </p:nvPr>
        </p:nvSpPr>
        <p:spPr>
          <a:xfrm>
            <a:off x="5833872"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3</a:t>
            </a:r>
          </a:p>
        </p:txBody>
      </p:sp>
      <p:sp>
        <p:nvSpPr>
          <p:cNvPr id="17" name="Text Placeholder 12">
            <a:extLst>
              <a:ext uri="{FF2B5EF4-FFF2-40B4-BE49-F238E27FC236}">
                <a16:creationId xmlns:a16="http://schemas.microsoft.com/office/drawing/2014/main" id="{F62B2FDD-AA89-1B9A-1908-3ED3739E9105}"/>
              </a:ext>
            </a:extLst>
          </p:cNvPr>
          <p:cNvSpPr>
            <a:spLocks noGrp="1"/>
          </p:cNvSpPr>
          <p:nvPr>
            <p:ph type="body" sz="quarter" idx="26" hasCustomPrompt="1"/>
          </p:nvPr>
        </p:nvSpPr>
        <p:spPr>
          <a:xfrm>
            <a:off x="7927848" y="4608576"/>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4</a:t>
            </a:r>
          </a:p>
        </p:txBody>
      </p:sp>
      <p:sp>
        <p:nvSpPr>
          <p:cNvPr id="18" name="Text Placeholder 12">
            <a:extLst>
              <a:ext uri="{FF2B5EF4-FFF2-40B4-BE49-F238E27FC236}">
                <a16:creationId xmlns:a16="http://schemas.microsoft.com/office/drawing/2014/main" id="{0226740B-BD49-795F-0512-EEBF68A82A61}"/>
              </a:ext>
            </a:extLst>
          </p:cNvPr>
          <p:cNvSpPr>
            <a:spLocks noGrp="1"/>
          </p:cNvSpPr>
          <p:nvPr>
            <p:ph type="body" sz="quarter" idx="27" hasCustomPrompt="1"/>
          </p:nvPr>
        </p:nvSpPr>
        <p:spPr>
          <a:xfrm>
            <a:off x="9985248" y="2423160"/>
            <a:ext cx="554038" cy="557784"/>
          </a:xfrm>
          <a:solidFill>
            <a:schemeClr val="tx1"/>
          </a:solidFill>
        </p:spPr>
        <p:txBody>
          <a:bodyPr anchor="ctr" anchorCtr="0">
            <a:normAutofit/>
          </a:bodyPr>
          <a:lstStyle>
            <a:lvl1pPr marL="0" indent="0" algn="ctr">
              <a:buNone/>
              <a:defRPr sz="2800" b="0">
                <a:solidFill>
                  <a:schemeClr val="bg1"/>
                </a:solidFill>
              </a:defRPr>
            </a:lvl1pPr>
          </a:lstStyle>
          <a:p>
            <a:pPr lvl="0"/>
            <a:r>
              <a:rPr lang="en-US"/>
              <a:t>05</a:t>
            </a:r>
          </a:p>
        </p:txBody>
      </p:sp>
      <p:sp>
        <p:nvSpPr>
          <p:cNvPr id="12" name="Content Placeholder 17">
            <a:extLst>
              <a:ext uri="{FF2B5EF4-FFF2-40B4-BE49-F238E27FC236}">
                <a16:creationId xmlns:a16="http://schemas.microsoft.com/office/drawing/2014/main" id="{EA0B72CB-9D39-945E-6291-73282C8FD615}"/>
              </a:ext>
            </a:extLst>
          </p:cNvPr>
          <p:cNvSpPr>
            <a:spLocks noGrp="1"/>
          </p:cNvSpPr>
          <p:nvPr>
            <p:ph sz="quarter" idx="68"/>
          </p:nvPr>
        </p:nvSpPr>
        <p:spPr>
          <a:xfrm>
            <a:off x="1188720"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19" name="Content Placeholder 17">
            <a:extLst>
              <a:ext uri="{FF2B5EF4-FFF2-40B4-BE49-F238E27FC236}">
                <a16:creationId xmlns:a16="http://schemas.microsoft.com/office/drawing/2014/main" id="{094F4753-05D7-30D6-0BDE-B2DBEF84E89D}"/>
              </a:ext>
            </a:extLst>
          </p:cNvPr>
          <p:cNvSpPr>
            <a:spLocks noGrp="1"/>
          </p:cNvSpPr>
          <p:nvPr>
            <p:ph sz="quarter" idx="69"/>
          </p:nvPr>
        </p:nvSpPr>
        <p:spPr>
          <a:xfrm>
            <a:off x="3275838"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0" name="Content Placeholder 17">
            <a:extLst>
              <a:ext uri="{FF2B5EF4-FFF2-40B4-BE49-F238E27FC236}">
                <a16:creationId xmlns:a16="http://schemas.microsoft.com/office/drawing/2014/main" id="{BB6371A6-E92F-2799-FD25-17375D6357CF}"/>
              </a:ext>
            </a:extLst>
          </p:cNvPr>
          <p:cNvSpPr>
            <a:spLocks noGrp="1"/>
          </p:cNvSpPr>
          <p:nvPr>
            <p:ph sz="quarter" idx="70"/>
          </p:nvPr>
        </p:nvSpPr>
        <p:spPr>
          <a:xfrm>
            <a:off x="5362956"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1" name="Content Placeholder 17">
            <a:extLst>
              <a:ext uri="{FF2B5EF4-FFF2-40B4-BE49-F238E27FC236}">
                <a16:creationId xmlns:a16="http://schemas.microsoft.com/office/drawing/2014/main" id="{FFED207C-D633-84E1-66FD-32200E0D22CD}"/>
              </a:ext>
            </a:extLst>
          </p:cNvPr>
          <p:cNvSpPr>
            <a:spLocks noGrp="1"/>
          </p:cNvSpPr>
          <p:nvPr>
            <p:ph sz="quarter" idx="71"/>
          </p:nvPr>
        </p:nvSpPr>
        <p:spPr>
          <a:xfrm>
            <a:off x="7450074"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9F1DF0FB-708D-5ED4-EB4B-06A44AFEE637}"/>
              </a:ext>
            </a:extLst>
          </p:cNvPr>
          <p:cNvSpPr>
            <a:spLocks noGrp="1"/>
          </p:cNvSpPr>
          <p:nvPr>
            <p:ph sz="quarter" idx="72"/>
          </p:nvPr>
        </p:nvSpPr>
        <p:spPr>
          <a:xfrm>
            <a:off x="9537192" y="3124200"/>
            <a:ext cx="1447800" cy="1447800"/>
          </a:xfrm>
        </p:spPr>
        <p:txBody>
          <a:bodyPr>
            <a:normAutofit/>
          </a:bodyPr>
          <a:lstStyle>
            <a:lvl1pPr>
              <a:defRPr sz="1200">
                <a:solidFill>
                  <a:schemeClr val="bg1"/>
                </a:solidFill>
              </a:defRPr>
            </a:lvl1pPr>
            <a:lvl3pPr>
              <a:defRPr sz="1200">
                <a:solidFill>
                  <a:schemeClr val="bg1"/>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90290990"/>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71227920"/>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_Two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marL="0" indent="0" algn="l">
              <a:buNone/>
              <a:defRPr sz="1400" b="1">
                <a:solidFill>
                  <a:schemeClr val="tx1"/>
                </a:solidFill>
              </a:defRPr>
            </a:lvl1pPr>
          </a:lstStyle>
          <a:p>
            <a:pPr lvl="0"/>
            <a:r>
              <a:rPr lang="en-US"/>
              <a:t>Lorem ipsum dolor</a:t>
            </a:r>
          </a:p>
        </p:txBody>
      </p:sp>
      <p:grpSp>
        <p:nvGrpSpPr>
          <p:cNvPr id="3" name="Group 2">
            <a:extLst>
              <a:ext uri="{FF2B5EF4-FFF2-40B4-BE49-F238E27FC236}">
                <a16:creationId xmlns:a16="http://schemas.microsoft.com/office/drawing/2014/main" id="{1FE31BF3-CCB3-0476-E671-E61F6C4B8D39}"/>
              </a:ext>
            </a:extLst>
          </p:cNvPr>
          <p:cNvGrpSpPr/>
          <p:nvPr>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marL="0" indent="0" algn="l">
                  <a:buFont typeface="Arial" panose="020B0604020202020204" pitchFamily="34" charset="0"/>
                  <a:buNone/>
                </a:pP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477000" y="3023170"/>
            <a:ext cx="4828032"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7" name="Content Placeholder 17">
            <a:extLst>
              <a:ext uri="{FF2B5EF4-FFF2-40B4-BE49-F238E27FC236}">
                <a16:creationId xmlns:a16="http://schemas.microsoft.com/office/drawing/2014/main" id="{B4B6A7E2-FF9D-DB99-AB38-64CBF6F89522}"/>
              </a:ext>
            </a:extLst>
          </p:cNvPr>
          <p:cNvSpPr>
            <a:spLocks noGrp="1"/>
          </p:cNvSpPr>
          <p:nvPr>
            <p:ph sz="quarter" idx="61"/>
          </p:nvPr>
        </p:nvSpPr>
        <p:spPr>
          <a:xfrm>
            <a:off x="950976" y="3447288"/>
            <a:ext cx="4846320"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2B1A665A-89B8-6B47-D2C0-CD4BAD6CF9BE}"/>
              </a:ext>
            </a:extLst>
          </p:cNvPr>
          <p:cNvSpPr>
            <a:spLocks noGrp="1"/>
          </p:cNvSpPr>
          <p:nvPr>
            <p:ph sz="quarter" idx="21"/>
          </p:nvPr>
        </p:nvSpPr>
        <p:spPr>
          <a:xfrm>
            <a:off x="6483096" y="3447288"/>
            <a:ext cx="4818888"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102700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1_Three step process - square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lgn="l">
              <a:buFont typeface="Arial" panose="020B0604020202020204" pitchFamily="34" charset="0"/>
              <a:buNone/>
              <a:defRPr baseline="0"/>
            </a:lvl1pPr>
          </a:lstStyle>
          <a:p>
            <a:r>
              <a:rPr lang="en-US"/>
              <a:t>Three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lgn="l">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lgn="l">
                <a:buFont typeface="Arial" panose="020B0604020202020204" pitchFamily="34" charset="0"/>
                <a:buNone/>
              </a:pPr>
              <a:endParaRPr lang="en-US"/>
            </a:p>
          </p:txBody>
        </p:sp>
      </p:grpSp>
      <p:grpSp>
        <p:nvGrpSpPr>
          <p:cNvPr id="9" name="Group 8">
            <a:extLst>
              <a:ext uri="{FF2B5EF4-FFF2-40B4-BE49-F238E27FC236}">
                <a16:creationId xmlns:a16="http://schemas.microsoft.com/office/drawing/2014/main" id="{EDAC905F-2EB9-6216-DBB3-EF1D5ECD0722}"/>
              </a:ext>
            </a:extLst>
          </p:cNvPr>
          <p:cNvGrpSpPr/>
          <p:nvPr/>
        </p:nvGrpSpPr>
        <p:grpSpPr>
          <a:xfrm>
            <a:off x="815975" y="1749278"/>
            <a:ext cx="3409075" cy="4499121"/>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21625" y="1749278"/>
            <a:ext cx="3409075" cy="4499121"/>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27275" y="1749278"/>
            <a:ext cx="3409075" cy="4499121"/>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l">
                <a:buFont typeface="Arial" panose="020B0604020202020204" pitchFamily="34" charset="0"/>
                <a:buNone/>
              </a:pP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marL="0" indent="0" algn="l">
                <a:buFont typeface="Arial" panose="020B0604020202020204" pitchFamily="34" charset="0"/>
                <a:buNone/>
              </a:pP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38816"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59632"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70415" y="1860550"/>
            <a:ext cx="730250" cy="730250"/>
          </a:xfrm>
        </p:spPr>
        <p:txBody>
          <a:bodyPr>
            <a:normAutofit/>
          </a:bodyPr>
          <a:lstStyle>
            <a:lvl1pPr marL="0" indent="0" algn="l">
              <a:buNone/>
              <a:defRPr sz="1000" b="1">
                <a:solidFill>
                  <a:schemeClr val="bg1"/>
                </a:solidFill>
              </a:defRPr>
            </a:lvl1pPr>
          </a:lstStyle>
          <a:p>
            <a:r>
              <a:rPr lang="en-US"/>
              <a:t>Click icon to add picture</a:t>
            </a:r>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67437" y="3023170"/>
            <a:ext cx="3147361"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572000" y="3026312"/>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53400" y="3048000"/>
            <a:ext cx="3145536" cy="287245"/>
          </a:xfrm>
        </p:spPr>
        <p:txBody>
          <a:bodyPr>
            <a:normAutofit/>
          </a:bodyPr>
          <a:lstStyle>
            <a:lvl1pPr marL="0" indent="0" algn="l">
              <a:buNone/>
              <a:defRPr sz="1800" b="1">
                <a:solidFill>
                  <a:schemeClr val="bg1"/>
                </a:solidFill>
              </a:defRPr>
            </a:lvl1pPr>
          </a:lstStyle>
          <a:p>
            <a:pPr lvl="0"/>
            <a:r>
              <a:rPr lang="en-US"/>
              <a:t>Lorem ipsum dolor</a:t>
            </a:r>
          </a:p>
        </p:txBody>
      </p:sp>
      <p:sp>
        <p:nvSpPr>
          <p:cNvPr id="19" name="Content Placeholder 17">
            <a:extLst>
              <a:ext uri="{FF2B5EF4-FFF2-40B4-BE49-F238E27FC236}">
                <a16:creationId xmlns:a16="http://schemas.microsoft.com/office/drawing/2014/main" id="{3A99F7A3-BB49-1D75-CC25-EE0F00637033}"/>
              </a:ext>
            </a:extLst>
          </p:cNvPr>
          <p:cNvSpPr>
            <a:spLocks noGrp="1"/>
          </p:cNvSpPr>
          <p:nvPr>
            <p:ph sz="quarter" idx="61"/>
          </p:nvPr>
        </p:nvSpPr>
        <p:spPr>
          <a:xfrm>
            <a:off x="960120"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tent Placeholder 17">
            <a:extLst>
              <a:ext uri="{FF2B5EF4-FFF2-40B4-BE49-F238E27FC236}">
                <a16:creationId xmlns:a16="http://schemas.microsoft.com/office/drawing/2014/main" id="{C21A6BA5-2528-BEA0-FA31-FAD1CC7EE487}"/>
              </a:ext>
            </a:extLst>
          </p:cNvPr>
          <p:cNvSpPr>
            <a:spLocks noGrp="1"/>
          </p:cNvSpPr>
          <p:nvPr>
            <p:ph sz="quarter" idx="62"/>
          </p:nvPr>
        </p:nvSpPr>
        <p:spPr>
          <a:xfrm>
            <a:off x="4547616"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17">
            <a:extLst>
              <a:ext uri="{FF2B5EF4-FFF2-40B4-BE49-F238E27FC236}">
                <a16:creationId xmlns:a16="http://schemas.microsoft.com/office/drawing/2014/main" id="{9EC4B23C-4B65-300D-2E3C-DBCD4DF38CB6}"/>
              </a:ext>
            </a:extLst>
          </p:cNvPr>
          <p:cNvSpPr>
            <a:spLocks noGrp="1"/>
          </p:cNvSpPr>
          <p:nvPr>
            <p:ph sz="quarter" idx="22"/>
          </p:nvPr>
        </p:nvSpPr>
        <p:spPr>
          <a:xfrm>
            <a:off x="8156448" y="3401568"/>
            <a:ext cx="3145536" cy="2057400"/>
          </a:xfrm>
        </p:spPr>
        <p:txBody>
          <a:bodyPr>
            <a:normAutofit/>
          </a:bodyPr>
          <a:lstStyle>
            <a:lvl1pPr>
              <a:defRPr sz="1600">
                <a:solidFill>
                  <a:schemeClr val="bg1"/>
                </a:solidFill>
              </a:defRPr>
            </a:lvl1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414046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ubtitle and content layout">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38200"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86C72681-8C5E-0677-81BC-19D52016E5E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1319634521"/>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1_4 point pyrami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15E31BEC-29E9-D24F-89BE-FE088165AB75}"/>
              </a:ext>
            </a:extLst>
          </p:cNvPr>
          <p:cNvCxnSpPr>
            <a:cxnSpLocks/>
          </p:cNvCxnSpPr>
          <p:nvPr/>
        </p:nvCxnSpPr>
        <p:spPr>
          <a:xfrm>
            <a:off x="7461250" y="5058073"/>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9">
            <a:extLst>
              <a:ext uri="{FF2B5EF4-FFF2-40B4-BE49-F238E27FC236}">
                <a16:creationId xmlns:a16="http://schemas.microsoft.com/office/drawing/2014/main" id="{BA146893-AAEE-E56B-7DC2-BCCA3DDF82D2}"/>
              </a:ext>
            </a:extLst>
          </p:cNvPr>
          <p:cNvSpPr>
            <a:spLocks noGrp="1"/>
          </p:cNvSpPr>
          <p:nvPr>
            <p:ph type="body" sz="quarter" idx="23" hasCustomPrompt="1"/>
          </p:nvPr>
        </p:nvSpPr>
        <p:spPr>
          <a:xfrm>
            <a:off x="8686800" y="4751934"/>
            <a:ext cx="2557302" cy="324044"/>
          </a:xfrm>
        </p:spPr>
        <p:txBody>
          <a:bodyPr>
            <a:normAutofit/>
          </a:bodyPr>
          <a:lstStyle>
            <a:lvl1pPr marL="0" indent="0">
              <a:buNone/>
              <a:defRPr sz="1600" b="1">
                <a:solidFill>
                  <a:schemeClr val="bg2"/>
                </a:solidFill>
              </a:defRPr>
            </a:lvl1pPr>
          </a:lstStyle>
          <a:p>
            <a:pPr lvl="0"/>
            <a:r>
              <a:rPr lang="en-US"/>
              <a:t>Lorem ipsum dolor</a:t>
            </a:r>
          </a:p>
        </p:txBody>
      </p:sp>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marL="0" indent="0">
              <a:lnSpc>
                <a:spcPct val="100000"/>
              </a:lnSpc>
              <a:spcBef>
                <a:spcPts val="600"/>
              </a:spcBef>
              <a:buFont typeface="Arial" panose="020B0604020202020204" pitchFamily="34" charset="0"/>
              <a:buNone/>
              <a:defRPr/>
            </a:lvl1pPr>
          </a:lstStyle>
          <a:p>
            <a:r>
              <a:rPr lang="en-US"/>
              <a:t>Four point</a:t>
            </a:r>
            <a:br>
              <a:rPr lang="en-US"/>
            </a:br>
            <a:r>
              <a:rPr lang="en-US"/>
              <a:t>pyramid</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marL="0" indent="0">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sp>
        <p:nvSpPr>
          <p:cNvPr id="51" name="Text Placeholder 49">
            <a:extLst>
              <a:ext uri="{FF2B5EF4-FFF2-40B4-BE49-F238E27FC236}">
                <a16:creationId xmlns:a16="http://schemas.microsoft.com/office/drawing/2014/main" id="{3730989F-3C5B-0D21-C96E-ECBB026FAC97}"/>
              </a:ext>
            </a:extLst>
          </p:cNvPr>
          <p:cNvSpPr>
            <a:spLocks noGrp="1"/>
          </p:cNvSpPr>
          <p:nvPr>
            <p:ph type="body" sz="quarter" idx="17" hasCustomPrompt="1"/>
          </p:nvPr>
        </p:nvSpPr>
        <p:spPr>
          <a:xfrm>
            <a:off x="8686800" y="798554"/>
            <a:ext cx="2557302" cy="324044"/>
          </a:xfrm>
        </p:spPr>
        <p:txBody>
          <a:bodyPr>
            <a:normAutofit/>
          </a:bodyPr>
          <a:lstStyle>
            <a:lvl1pPr marL="0" indent="0">
              <a:buNone/>
              <a:defRPr sz="1600" b="1">
                <a:solidFill>
                  <a:schemeClr val="accent1"/>
                </a:solidFill>
              </a:defRPr>
            </a:lvl1pPr>
          </a:lstStyle>
          <a:p>
            <a:pPr lvl="0"/>
            <a:r>
              <a:rPr lang="en-US"/>
              <a:t>Lorem ipsum dolor</a:t>
            </a:r>
          </a:p>
        </p:txBody>
      </p:sp>
      <p:cxnSp>
        <p:nvCxnSpPr>
          <p:cNvPr id="52" name="Straight Connector 51">
            <a:extLst>
              <a:ext uri="{FF2B5EF4-FFF2-40B4-BE49-F238E27FC236}">
                <a16:creationId xmlns:a16="http://schemas.microsoft.com/office/drawing/2014/main" id="{D93B5DE0-2778-55D8-5B63-06B3ED9A875C}"/>
              </a:ext>
            </a:extLst>
          </p:cNvPr>
          <p:cNvCxnSpPr>
            <a:cxnSpLocks/>
          </p:cNvCxnSpPr>
          <p:nvPr/>
        </p:nvCxnSpPr>
        <p:spPr>
          <a:xfrm>
            <a:off x="6035783" y="1102648"/>
            <a:ext cx="5400566" cy="1328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93BBF5-7965-705C-7066-2A8B368C2ADE}"/>
              </a:ext>
            </a:extLst>
          </p:cNvPr>
          <p:cNvCxnSpPr>
            <a:cxnSpLocks/>
          </p:cNvCxnSpPr>
          <p:nvPr/>
        </p:nvCxnSpPr>
        <p:spPr>
          <a:xfrm flipV="1">
            <a:off x="6751426" y="2599659"/>
            <a:ext cx="4684924" cy="121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962CBE-CFB2-AA4F-3522-C00036B7F114}"/>
              </a:ext>
            </a:extLst>
          </p:cNvPr>
          <p:cNvCxnSpPr>
            <a:cxnSpLocks/>
          </p:cNvCxnSpPr>
          <p:nvPr/>
        </p:nvCxnSpPr>
        <p:spPr>
          <a:xfrm>
            <a:off x="7461250" y="3811339"/>
            <a:ext cx="3968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 Placeholder 49">
            <a:extLst>
              <a:ext uri="{FF2B5EF4-FFF2-40B4-BE49-F238E27FC236}">
                <a16:creationId xmlns:a16="http://schemas.microsoft.com/office/drawing/2014/main" id="{FABE6391-6130-80DD-2E80-D09786D417D0}"/>
              </a:ext>
            </a:extLst>
          </p:cNvPr>
          <p:cNvSpPr>
            <a:spLocks noGrp="1"/>
          </p:cNvSpPr>
          <p:nvPr>
            <p:ph type="body" sz="quarter" idx="19" hasCustomPrompt="1"/>
          </p:nvPr>
        </p:nvSpPr>
        <p:spPr>
          <a:xfrm>
            <a:off x="8686800" y="2286000"/>
            <a:ext cx="2557302" cy="324044"/>
          </a:xfrm>
        </p:spPr>
        <p:txBody>
          <a:bodyPr>
            <a:normAutofit/>
          </a:bodyPr>
          <a:lstStyle>
            <a:lvl1pPr marL="0" indent="0">
              <a:buNone/>
              <a:defRPr sz="1600" b="1">
                <a:solidFill>
                  <a:schemeClr val="tx2"/>
                </a:solidFill>
              </a:defRPr>
            </a:lvl1pPr>
          </a:lstStyle>
          <a:p>
            <a:pPr lvl="0"/>
            <a:r>
              <a:rPr lang="en-US"/>
              <a:t>Lorem ipsum dolor</a:t>
            </a:r>
          </a:p>
        </p:txBody>
      </p:sp>
      <p:sp>
        <p:nvSpPr>
          <p:cNvPr id="58" name="Text Placeholder 49">
            <a:extLst>
              <a:ext uri="{FF2B5EF4-FFF2-40B4-BE49-F238E27FC236}">
                <a16:creationId xmlns:a16="http://schemas.microsoft.com/office/drawing/2014/main" id="{AEA0D083-188D-275C-19A3-2B08840ED843}"/>
              </a:ext>
            </a:extLst>
          </p:cNvPr>
          <p:cNvSpPr>
            <a:spLocks noGrp="1"/>
          </p:cNvSpPr>
          <p:nvPr>
            <p:ph type="body" sz="quarter" idx="21" hasCustomPrompt="1"/>
          </p:nvPr>
        </p:nvSpPr>
        <p:spPr>
          <a:xfrm>
            <a:off x="8686800" y="3505200"/>
            <a:ext cx="2557302" cy="324044"/>
          </a:xfrm>
        </p:spPr>
        <p:txBody>
          <a:bodyPr>
            <a:normAutofit/>
          </a:bodyPr>
          <a:lstStyle>
            <a:lvl1pPr marL="0" indent="0">
              <a:buNone/>
              <a:defRPr sz="1600" b="1">
                <a:solidFill>
                  <a:schemeClr val="tx1"/>
                </a:solidFill>
              </a:defRPr>
            </a:lvl1pPr>
          </a:lstStyle>
          <a:p>
            <a:pPr lvl="0"/>
            <a:r>
              <a:rPr lang="en-US"/>
              <a:t>Lorem ipsum dolor</a:t>
            </a:r>
          </a:p>
        </p:txBody>
      </p:sp>
      <p:sp>
        <p:nvSpPr>
          <p:cNvPr id="38" name="Rectangle 37">
            <a:extLst>
              <a:ext uri="{FF2B5EF4-FFF2-40B4-BE49-F238E27FC236}">
                <a16:creationId xmlns:a16="http://schemas.microsoft.com/office/drawing/2014/main" id="{93E24841-D5DA-308D-C4FA-1230C1250DB6}"/>
              </a:ext>
            </a:extLst>
          </p:cNvPr>
          <p:cNvSpPr/>
          <p:nvPr/>
        </p:nvSpPr>
        <p:spPr>
          <a:xfrm>
            <a:off x="5652965" y="1734105"/>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39" name="Rectangle 38">
            <a:extLst>
              <a:ext uri="{FF2B5EF4-FFF2-40B4-BE49-F238E27FC236}">
                <a16:creationId xmlns:a16="http://schemas.microsoft.com/office/drawing/2014/main" id="{623B7E06-AEC1-1A82-D474-25CB9E798690}"/>
              </a:ext>
            </a:extLst>
          </p:cNvPr>
          <p:cNvSpPr/>
          <p:nvPr/>
        </p:nvSpPr>
        <p:spPr>
          <a:xfrm>
            <a:off x="5652965" y="3252899"/>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40" name="Rectangle 39">
            <a:extLst>
              <a:ext uri="{FF2B5EF4-FFF2-40B4-BE49-F238E27FC236}">
                <a16:creationId xmlns:a16="http://schemas.microsoft.com/office/drawing/2014/main" id="{68B39BD1-DFBA-C742-6146-CEE943A2FB82}"/>
              </a:ext>
            </a:extLst>
          </p:cNvPr>
          <p:cNvSpPr/>
          <p:nvPr/>
        </p:nvSpPr>
        <p:spPr>
          <a:xfrm>
            <a:off x="5652964" y="4878023"/>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grpSp>
        <p:nvGrpSpPr>
          <p:cNvPr id="3" name="Group 2">
            <a:extLst>
              <a:ext uri="{FF2B5EF4-FFF2-40B4-BE49-F238E27FC236}">
                <a16:creationId xmlns:a16="http://schemas.microsoft.com/office/drawing/2014/main" id="{12BD220D-68E4-AA53-DDAD-EF80DFB2208E}"/>
              </a:ext>
            </a:extLst>
          </p:cNvPr>
          <p:cNvGrpSpPr/>
          <p:nvPr/>
        </p:nvGrpSpPr>
        <p:grpSpPr>
          <a:xfrm>
            <a:off x="3547308" y="848082"/>
            <a:ext cx="4976734" cy="5161839"/>
            <a:chOff x="3547308" y="848082"/>
            <a:chExt cx="4976734" cy="5161839"/>
          </a:xfrm>
        </p:grpSpPr>
        <p:grpSp>
          <p:nvGrpSpPr>
            <p:cNvPr id="7" name="Group 6">
              <a:extLst>
                <a:ext uri="{FF2B5EF4-FFF2-40B4-BE49-F238E27FC236}">
                  <a16:creationId xmlns:a16="http://schemas.microsoft.com/office/drawing/2014/main" id="{A574C05B-E903-DC0A-55E6-6E5E5DEB84FA}"/>
                </a:ext>
              </a:extLst>
            </p:cNvPr>
            <p:cNvGrpSpPr/>
            <p:nvPr/>
          </p:nvGrpSpPr>
          <p:grpSpPr>
            <a:xfrm>
              <a:off x="3547308" y="848082"/>
              <a:ext cx="4976734" cy="5161839"/>
              <a:chOff x="4659207" y="480648"/>
              <a:chExt cx="3999564" cy="4587037"/>
            </a:xfrm>
          </p:grpSpPr>
          <p:sp>
            <p:nvSpPr>
              <p:cNvPr id="19" name="Freeform 18">
                <a:extLst>
                  <a:ext uri="{FF2B5EF4-FFF2-40B4-BE49-F238E27FC236}">
                    <a16:creationId xmlns:a16="http://schemas.microsoft.com/office/drawing/2014/main" id="{4C0F3549-F56E-A8AC-5437-475CE3DE30BE}"/>
                  </a:ext>
                </a:extLst>
              </p:cNvPr>
              <p:cNvSpPr/>
              <p:nvPr/>
            </p:nvSpPr>
            <p:spPr>
              <a:xfrm>
                <a:off x="6083773" y="480648"/>
                <a:ext cx="1150431" cy="1319488"/>
              </a:xfrm>
              <a:custGeom>
                <a:avLst/>
                <a:gdLst>
                  <a:gd name="connsiteX0" fmla="*/ 575216 w 1150431"/>
                  <a:gd name="connsiteY0" fmla="*/ 0 h 1319488"/>
                  <a:gd name="connsiteX1" fmla="*/ 0 w 1150431"/>
                  <a:gd name="connsiteY1" fmla="*/ 1319488 h 1319488"/>
                  <a:gd name="connsiteX2" fmla="*/ 1150431 w 1150431"/>
                  <a:gd name="connsiteY2" fmla="*/ 1319488 h 1319488"/>
                  <a:gd name="connsiteX3" fmla="*/ 575216 w 1150431"/>
                  <a:gd name="connsiteY3" fmla="*/ 0 h 1319488"/>
                </a:gdLst>
                <a:ahLst/>
                <a:cxnLst>
                  <a:cxn ang="0">
                    <a:pos x="connsiteX0" y="connsiteY0"/>
                  </a:cxn>
                  <a:cxn ang="0">
                    <a:pos x="connsiteX1" y="connsiteY1"/>
                  </a:cxn>
                  <a:cxn ang="0">
                    <a:pos x="connsiteX2" y="connsiteY2"/>
                  </a:cxn>
                  <a:cxn ang="0">
                    <a:pos x="connsiteX3" y="connsiteY3"/>
                  </a:cxn>
                </a:cxnLst>
                <a:rect l="l" t="t" r="r" b="b"/>
                <a:pathLst>
                  <a:path w="1150431" h="1319488">
                    <a:moveTo>
                      <a:pt x="575216" y="0"/>
                    </a:moveTo>
                    <a:lnTo>
                      <a:pt x="0" y="1319488"/>
                    </a:lnTo>
                    <a:lnTo>
                      <a:pt x="1150431" y="1319488"/>
                    </a:lnTo>
                    <a:lnTo>
                      <a:pt x="575216" y="0"/>
                    </a:lnTo>
                    <a:close/>
                  </a:path>
                </a:pathLst>
              </a:custGeom>
              <a:solidFill>
                <a:schemeClr val="accent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0" name="Freeform 19">
                <a:extLst>
                  <a:ext uri="{FF2B5EF4-FFF2-40B4-BE49-F238E27FC236}">
                    <a16:creationId xmlns:a16="http://schemas.microsoft.com/office/drawing/2014/main" id="{2DD6789B-4DEF-9653-C5F8-87CFD02F83EF}"/>
                  </a:ext>
                </a:extLst>
              </p:cNvPr>
              <p:cNvSpPr/>
              <p:nvPr/>
            </p:nvSpPr>
            <p:spPr>
              <a:xfrm>
                <a:off x="4659207" y="4109983"/>
                <a:ext cx="3999564" cy="957702"/>
              </a:xfrm>
              <a:custGeom>
                <a:avLst/>
                <a:gdLst>
                  <a:gd name="connsiteX0" fmla="*/ 0 w 3999564"/>
                  <a:gd name="connsiteY0" fmla="*/ 957703 h 957702"/>
                  <a:gd name="connsiteX1" fmla="*/ 3999564 w 3999564"/>
                  <a:gd name="connsiteY1" fmla="*/ 957703 h 957702"/>
                  <a:gd name="connsiteX2" fmla="*/ 3581909 w 3999564"/>
                  <a:gd name="connsiteY2" fmla="*/ 0 h 957702"/>
                  <a:gd name="connsiteX3" fmla="*/ 417514 w 3999564"/>
                  <a:gd name="connsiteY3" fmla="*/ 0 h 957702"/>
                  <a:gd name="connsiteX4" fmla="*/ 0 w 3999564"/>
                  <a:gd name="connsiteY4" fmla="*/ 957703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9564" h="957702">
                    <a:moveTo>
                      <a:pt x="0" y="957703"/>
                    </a:moveTo>
                    <a:lnTo>
                      <a:pt x="3999564" y="957703"/>
                    </a:lnTo>
                    <a:lnTo>
                      <a:pt x="3581909" y="0"/>
                    </a:lnTo>
                    <a:lnTo>
                      <a:pt x="417514" y="0"/>
                    </a:lnTo>
                    <a:lnTo>
                      <a:pt x="0" y="957703"/>
                    </a:lnTo>
                    <a:close/>
                  </a:path>
                </a:pathLst>
              </a:custGeom>
              <a:solidFill>
                <a:schemeClr val="bg2"/>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7BA0E879-50A0-B572-F4B3-01B022112F50}"/>
                  </a:ext>
                </a:extLst>
              </p:cNvPr>
              <p:cNvSpPr/>
              <p:nvPr/>
            </p:nvSpPr>
            <p:spPr>
              <a:xfrm>
                <a:off x="5134015" y="3020668"/>
                <a:ext cx="3049805" cy="957900"/>
              </a:xfrm>
              <a:custGeom>
                <a:avLst/>
                <a:gdLst>
                  <a:gd name="connsiteX0" fmla="*/ 283495 w 3049805"/>
                  <a:gd name="connsiteY0" fmla="*/ 307558 h 957900"/>
                  <a:gd name="connsiteX1" fmla="*/ 0 w 3049805"/>
                  <a:gd name="connsiteY1" fmla="*/ 957901 h 957900"/>
                  <a:gd name="connsiteX2" fmla="*/ 3049806 w 3049805"/>
                  <a:gd name="connsiteY2" fmla="*/ 957901 h 957900"/>
                  <a:gd name="connsiteX3" fmla="*/ 2766311 w 3049805"/>
                  <a:gd name="connsiteY3" fmla="*/ 307558 h 957900"/>
                  <a:gd name="connsiteX4" fmla="*/ 2632293 w 3049805"/>
                  <a:gd name="connsiteY4" fmla="*/ 0 h 957900"/>
                  <a:gd name="connsiteX5" fmla="*/ 417513 w 3049805"/>
                  <a:gd name="connsiteY5" fmla="*/ 0 h 957900"/>
                  <a:gd name="connsiteX6" fmla="*/ 283495 w 3049805"/>
                  <a:gd name="connsiteY6" fmla="*/ 307558 h 9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9805" h="957900">
                    <a:moveTo>
                      <a:pt x="283495" y="307558"/>
                    </a:moveTo>
                    <a:lnTo>
                      <a:pt x="0" y="957901"/>
                    </a:lnTo>
                    <a:lnTo>
                      <a:pt x="3049806" y="957901"/>
                    </a:lnTo>
                    <a:lnTo>
                      <a:pt x="2766311" y="307558"/>
                    </a:lnTo>
                    <a:lnTo>
                      <a:pt x="2632293" y="0"/>
                    </a:lnTo>
                    <a:lnTo>
                      <a:pt x="417513" y="0"/>
                    </a:lnTo>
                    <a:lnTo>
                      <a:pt x="283495" y="307558"/>
                    </a:lnTo>
                    <a:close/>
                  </a:path>
                </a:pathLst>
              </a:custGeom>
              <a:solidFill>
                <a:schemeClr val="tx1"/>
              </a:solidFill>
              <a:ln w="14179"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52EA3AAD-9D5C-8E2C-5D6A-B30BD2630BD6}"/>
                  </a:ext>
                </a:extLst>
              </p:cNvPr>
              <p:cNvSpPr/>
              <p:nvPr/>
            </p:nvSpPr>
            <p:spPr>
              <a:xfrm>
                <a:off x="5608823" y="1931550"/>
                <a:ext cx="2100189" cy="957702"/>
              </a:xfrm>
              <a:custGeom>
                <a:avLst/>
                <a:gdLst>
                  <a:gd name="connsiteX0" fmla="*/ 417655 w 2100189"/>
                  <a:gd name="connsiteY0" fmla="*/ 0 h 957702"/>
                  <a:gd name="connsiteX1" fmla="*/ 0 w 2100189"/>
                  <a:gd name="connsiteY1" fmla="*/ 957703 h 957702"/>
                  <a:gd name="connsiteX2" fmla="*/ 2100190 w 2100189"/>
                  <a:gd name="connsiteY2" fmla="*/ 957703 h 957702"/>
                  <a:gd name="connsiteX3" fmla="*/ 1682676 w 2100189"/>
                  <a:gd name="connsiteY3" fmla="*/ 0 h 957702"/>
                  <a:gd name="connsiteX4" fmla="*/ 417655 w 2100189"/>
                  <a:gd name="connsiteY4" fmla="*/ 0 h 95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0189" h="957702">
                    <a:moveTo>
                      <a:pt x="417655" y="0"/>
                    </a:moveTo>
                    <a:lnTo>
                      <a:pt x="0" y="957703"/>
                    </a:lnTo>
                    <a:lnTo>
                      <a:pt x="2100190" y="957703"/>
                    </a:lnTo>
                    <a:lnTo>
                      <a:pt x="1682676" y="0"/>
                    </a:lnTo>
                    <a:lnTo>
                      <a:pt x="417655" y="0"/>
                    </a:lnTo>
                    <a:close/>
                  </a:path>
                </a:pathLst>
              </a:custGeom>
              <a:solidFill>
                <a:schemeClr val="tx2"/>
              </a:solidFill>
              <a:ln w="14179" cap="flat">
                <a:noFill/>
                <a:prstDash val="solid"/>
                <a:miter/>
              </a:ln>
            </p:spPr>
            <p:txBody>
              <a:bodyPr rtlCol="0" anchor="ctr"/>
              <a:lstStyle/>
              <a:p>
                <a:pPr marL="0" indent="0">
                  <a:buFont typeface="Arial" panose="020B0604020202020204" pitchFamily="34" charset="0"/>
                  <a:buNone/>
                </a:pPr>
                <a:endParaRPr lang="en-US"/>
              </a:p>
            </p:txBody>
          </p:sp>
        </p:grpSp>
        <p:sp>
          <p:nvSpPr>
            <p:cNvPr id="8" name="Rectangle 7">
              <a:extLst>
                <a:ext uri="{FF2B5EF4-FFF2-40B4-BE49-F238E27FC236}">
                  <a16:creationId xmlns:a16="http://schemas.microsoft.com/office/drawing/2014/main" id="{05E23146-ED2B-3363-297C-CBF51BF37A10}"/>
                </a:ext>
              </a:extLst>
            </p:cNvPr>
            <p:cNvSpPr/>
            <p:nvPr/>
          </p:nvSpPr>
          <p:spPr>
            <a:xfrm>
              <a:off x="5647273" y="153245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1</a:t>
              </a:r>
            </a:p>
          </p:txBody>
        </p:sp>
        <p:sp>
          <p:nvSpPr>
            <p:cNvPr id="16" name="Rectangle 15">
              <a:extLst>
                <a:ext uri="{FF2B5EF4-FFF2-40B4-BE49-F238E27FC236}">
                  <a16:creationId xmlns:a16="http://schemas.microsoft.com/office/drawing/2014/main" id="{B35AE6B4-ED04-F413-6D20-239C0B84CECE}"/>
                </a:ext>
              </a:extLst>
            </p:cNvPr>
            <p:cNvSpPr/>
            <p:nvPr/>
          </p:nvSpPr>
          <p:spPr>
            <a:xfrm>
              <a:off x="5647272" y="2658654"/>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2</a:t>
              </a:r>
            </a:p>
          </p:txBody>
        </p:sp>
        <p:sp>
          <p:nvSpPr>
            <p:cNvPr id="17" name="Rectangle 16">
              <a:extLst>
                <a:ext uri="{FF2B5EF4-FFF2-40B4-BE49-F238E27FC236}">
                  <a16:creationId xmlns:a16="http://schemas.microsoft.com/office/drawing/2014/main" id="{09BCA15F-EBA9-4AE6-FD3F-7B6734D3FE1D}"/>
                </a:ext>
              </a:extLst>
            </p:cNvPr>
            <p:cNvSpPr/>
            <p:nvPr/>
          </p:nvSpPr>
          <p:spPr>
            <a:xfrm>
              <a:off x="5647272" y="3851082"/>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3</a:t>
              </a:r>
            </a:p>
          </p:txBody>
        </p:sp>
        <p:sp>
          <p:nvSpPr>
            <p:cNvPr id="18" name="Rectangle 17">
              <a:extLst>
                <a:ext uri="{FF2B5EF4-FFF2-40B4-BE49-F238E27FC236}">
                  <a16:creationId xmlns:a16="http://schemas.microsoft.com/office/drawing/2014/main" id="{67BFA213-2980-7828-FB9F-942DEC0DF5F7}"/>
                </a:ext>
              </a:extLst>
            </p:cNvPr>
            <p:cNvSpPr/>
            <p:nvPr/>
          </p:nvSpPr>
          <p:spPr>
            <a:xfrm>
              <a:off x="5647272" y="5128070"/>
              <a:ext cx="765419" cy="7885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indent="0" algn="ctr">
                <a:buFont typeface="Arial" panose="020B0604020202020204" pitchFamily="34" charset="0"/>
                <a:buNone/>
              </a:pPr>
              <a:r>
                <a:rPr lang="en-US" sz="3600"/>
                <a:t>04</a:t>
              </a:r>
            </a:p>
          </p:txBody>
        </p:sp>
      </p:grpSp>
      <p:sp>
        <p:nvSpPr>
          <p:cNvPr id="21" name="Content Placeholder 17">
            <a:extLst>
              <a:ext uri="{FF2B5EF4-FFF2-40B4-BE49-F238E27FC236}">
                <a16:creationId xmlns:a16="http://schemas.microsoft.com/office/drawing/2014/main" id="{E17DCA2C-A564-6100-C9C1-9BF4585B0127}"/>
              </a:ext>
            </a:extLst>
          </p:cNvPr>
          <p:cNvSpPr>
            <a:spLocks noGrp="1"/>
          </p:cNvSpPr>
          <p:nvPr>
            <p:ph sz="quarter" idx="63"/>
          </p:nvPr>
        </p:nvSpPr>
        <p:spPr>
          <a:xfrm>
            <a:off x="8686800" y="1143000"/>
            <a:ext cx="256032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2" name="Content Placeholder 17">
            <a:extLst>
              <a:ext uri="{FF2B5EF4-FFF2-40B4-BE49-F238E27FC236}">
                <a16:creationId xmlns:a16="http://schemas.microsoft.com/office/drawing/2014/main" id="{AA39802B-57F7-9529-1C26-704A15A4EBD6}"/>
              </a:ext>
            </a:extLst>
          </p:cNvPr>
          <p:cNvSpPr>
            <a:spLocks noGrp="1"/>
          </p:cNvSpPr>
          <p:nvPr>
            <p:ph sz="quarter" idx="64"/>
          </p:nvPr>
        </p:nvSpPr>
        <p:spPr>
          <a:xfrm>
            <a:off x="8686800" y="26670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3" name="Content Placeholder 17">
            <a:extLst>
              <a:ext uri="{FF2B5EF4-FFF2-40B4-BE49-F238E27FC236}">
                <a16:creationId xmlns:a16="http://schemas.microsoft.com/office/drawing/2014/main" id="{E0A9520F-B9D2-F947-0ACA-D3B300D51399}"/>
              </a:ext>
            </a:extLst>
          </p:cNvPr>
          <p:cNvSpPr>
            <a:spLocks noGrp="1"/>
          </p:cNvSpPr>
          <p:nvPr>
            <p:ph sz="quarter" idx="65"/>
          </p:nvPr>
        </p:nvSpPr>
        <p:spPr>
          <a:xfrm>
            <a:off x="8686800" y="3886200"/>
            <a:ext cx="2590800" cy="6858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
        <p:nvSpPr>
          <p:cNvPr id="24" name="Content Placeholder 17">
            <a:extLst>
              <a:ext uri="{FF2B5EF4-FFF2-40B4-BE49-F238E27FC236}">
                <a16:creationId xmlns:a16="http://schemas.microsoft.com/office/drawing/2014/main" id="{4E016D0E-59CF-9EB5-1571-E71C2248A7AD}"/>
              </a:ext>
            </a:extLst>
          </p:cNvPr>
          <p:cNvSpPr>
            <a:spLocks noGrp="1"/>
          </p:cNvSpPr>
          <p:nvPr>
            <p:ph sz="quarter" idx="66"/>
          </p:nvPr>
        </p:nvSpPr>
        <p:spPr>
          <a:xfrm>
            <a:off x="8686800" y="5181600"/>
            <a:ext cx="2590800" cy="9144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05466002"/>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hree point triangl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4A4E4F81-F86D-CD02-2171-579792C7EC2B}"/>
              </a:ext>
            </a:extLst>
          </p:cNvPr>
          <p:cNvGrpSpPr/>
          <p:nvPr/>
        </p:nvGrpSpPr>
        <p:grpSpPr>
          <a:xfrm>
            <a:off x="785813"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696200" y="2831683"/>
            <a:ext cx="3721608"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0600" y="2831683"/>
            <a:ext cx="3721010" cy="324044"/>
          </a:xfrm>
        </p:spPr>
        <p:txBody>
          <a:bodyPr>
            <a:normAutofit/>
          </a:bodyPr>
          <a:lstStyle>
            <a:lvl1pPr marL="0" indent="0">
              <a:buNone/>
              <a:defRPr sz="1600" b="1">
                <a:solidFill>
                  <a:schemeClr val="accent4"/>
                </a:solidFill>
              </a:defRPr>
            </a:lvl1pPr>
          </a:lstStyle>
          <a:p>
            <a:pPr lvl="0"/>
            <a:r>
              <a:rPr lang="en-US"/>
              <a:t>Lorem ipsum dolor</a:t>
            </a:r>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235196" y="5638800"/>
            <a:ext cx="3721608"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19" name="Content Placeholder 17">
            <a:extLst>
              <a:ext uri="{FF2B5EF4-FFF2-40B4-BE49-F238E27FC236}">
                <a16:creationId xmlns:a16="http://schemas.microsoft.com/office/drawing/2014/main" id="{0E05ABD5-3E68-13F8-6615-F4A985568F09}"/>
              </a:ext>
            </a:extLst>
          </p:cNvPr>
          <p:cNvSpPr>
            <a:spLocks noGrp="1"/>
          </p:cNvSpPr>
          <p:nvPr>
            <p:ph sz="quarter" idx="63"/>
          </p:nvPr>
        </p:nvSpPr>
        <p:spPr>
          <a:xfrm>
            <a:off x="9906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BB81BFD-C974-DBEE-379F-86E4A0E36B5F}"/>
              </a:ext>
            </a:extLst>
          </p:cNvPr>
          <p:cNvSpPr>
            <a:spLocks noGrp="1"/>
          </p:cNvSpPr>
          <p:nvPr>
            <p:ph sz="quarter" idx="64"/>
          </p:nvPr>
        </p:nvSpPr>
        <p:spPr>
          <a:xfrm>
            <a:off x="4235196" y="6022554"/>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52657600-CDED-1015-206E-5278110EF3C3}"/>
              </a:ext>
            </a:extLst>
          </p:cNvPr>
          <p:cNvSpPr>
            <a:spLocks noGrp="1"/>
          </p:cNvSpPr>
          <p:nvPr>
            <p:ph sz="quarter" idx="65"/>
          </p:nvPr>
        </p:nvSpPr>
        <p:spPr>
          <a:xfrm>
            <a:off x="7696200" y="32766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965624866"/>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Four points square">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our points - squar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 name="Group 2">
            <a:extLst>
              <a:ext uri="{FF2B5EF4-FFF2-40B4-BE49-F238E27FC236}">
                <a16:creationId xmlns:a16="http://schemas.microsoft.com/office/drawing/2014/main" id="{1AE2DD51-A795-973A-AC7F-EFCDC6608A8C}"/>
              </a:ext>
            </a:extLst>
          </p:cNvPr>
          <p:cNvGrpSpPr/>
          <p:nvPr/>
        </p:nvGrpSpPr>
        <p:grpSpPr>
          <a:xfrm>
            <a:off x="815975" y="2384989"/>
            <a:ext cx="10620375" cy="3398382"/>
            <a:chOff x="815975" y="2044994"/>
            <a:chExt cx="10620375" cy="3398382"/>
          </a:xfrm>
        </p:grpSpPr>
        <p:cxnSp>
          <p:nvCxnSpPr>
            <p:cNvPr id="10" name="Straight Connector 9">
              <a:extLst>
                <a:ext uri="{FF2B5EF4-FFF2-40B4-BE49-F238E27FC236}">
                  <a16:creationId xmlns:a16="http://schemas.microsoft.com/office/drawing/2014/main" id="{73FD4D2A-B2BE-E573-5D74-450967EE75CE}"/>
                </a:ext>
              </a:extLst>
            </p:cNvPr>
            <p:cNvCxnSpPr>
              <a:cxnSpLocks/>
            </p:cNvCxnSpPr>
            <p:nvPr/>
          </p:nvCxnSpPr>
          <p:spPr>
            <a:xfrm flipV="1">
              <a:off x="6095937" y="2044994"/>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E2F8C8-88CC-93E9-FEBB-841E9B1C6BCD}"/>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3F0EBC-04C1-043C-B60C-82D736C9CA1E}"/>
                </a:ext>
              </a:extLst>
            </p:cNvPr>
            <p:cNvCxnSpPr>
              <a:cxnSpLocks/>
            </p:cNvCxnSpPr>
            <p:nvPr/>
          </p:nvCxnSpPr>
          <p:spPr>
            <a:xfrm>
              <a:off x="6995461" y="380301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42A6F1-B12E-643E-7565-62DA0A2CCEC9}"/>
                </a:ext>
              </a:extLst>
            </p:cNvPr>
            <p:cNvCxnSpPr>
              <a:cxnSpLocks/>
            </p:cNvCxnSpPr>
            <p:nvPr/>
          </p:nvCxnSpPr>
          <p:spPr>
            <a:xfrm flipH="1">
              <a:off x="815975" y="378898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DD80B86D-F9FB-2AAA-765A-707D0E81AA1B}"/>
                </a:ext>
              </a:extLst>
            </p:cNvPr>
            <p:cNvGrpSpPr/>
            <p:nvPr/>
          </p:nvGrpSpPr>
          <p:grpSpPr>
            <a:xfrm>
              <a:off x="4812056" y="2468666"/>
              <a:ext cx="2567888" cy="2569042"/>
              <a:chOff x="7186795" y="1963701"/>
              <a:chExt cx="2567888" cy="2569042"/>
            </a:xfrm>
          </p:grpSpPr>
          <p:sp>
            <p:nvSpPr>
              <p:cNvPr id="28" name="Freeform 27">
                <a:extLst>
                  <a:ext uri="{FF2B5EF4-FFF2-40B4-BE49-F238E27FC236}">
                    <a16:creationId xmlns:a16="http://schemas.microsoft.com/office/drawing/2014/main" id="{4C45A49E-636D-A11A-0CFD-6978BC61945E}"/>
                  </a:ext>
                </a:extLst>
              </p:cNvPr>
              <p:cNvSpPr/>
              <p:nvPr/>
            </p:nvSpPr>
            <p:spPr>
              <a:xfrm>
                <a:off x="7245251" y="3658036"/>
                <a:ext cx="2450851" cy="874707"/>
              </a:xfrm>
              <a:custGeom>
                <a:avLst/>
                <a:gdLst>
                  <a:gd name="connsiteX0" fmla="*/ 558968 w 1566883"/>
                  <a:gd name="connsiteY0" fmla="*/ 0 h 559219"/>
                  <a:gd name="connsiteX1" fmla="*/ 0 w 1566883"/>
                  <a:gd name="connsiteY1" fmla="*/ 559219 h 559219"/>
                  <a:gd name="connsiteX2" fmla="*/ 1566884 w 1566883"/>
                  <a:gd name="connsiteY2" fmla="*/ 559219 h 559219"/>
                  <a:gd name="connsiteX3" fmla="*/ 1007915 w 1566883"/>
                  <a:gd name="connsiteY3" fmla="*/ 0 h 559219"/>
                  <a:gd name="connsiteX4" fmla="*/ 558968 w 1566883"/>
                  <a:gd name="connsiteY4" fmla="*/ 0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558968" y="0"/>
                    </a:moveTo>
                    <a:lnTo>
                      <a:pt x="0" y="559219"/>
                    </a:lnTo>
                    <a:lnTo>
                      <a:pt x="1566884" y="559219"/>
                    </a:lnTo>
                    <a:lnTo>
                      <a:pt x="1007915" y="0"/>
                    </a:lnTo>
                    <a:lnTo>
                      <a:pt x="558968"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29" name="Freeform 28">
                <a:extLst>
                  <a:ext uri="{FF2B5EF4-FFF2-40B4-BE49-F238E27FC236}">
                    <a16:creationId xmlns:a16="http://schemas.microsoft.com/office/drawing/2014/main" id="{8CB1C88E-7F79-91C0-9147-6115692495B9}"/>
                  </a:ext>
                </a:extLst>
              </p:cNvPr>
              <p:cNvSpPr/>
              <p:nvPr/>
            </p:nvSpPr>
            <p:spPr>
              <a:xfrm>
                <a:off x="7186795" y="2022182"/>
                <a:ext cx="874314" cy="2451952"/>
              </a:xfrm>
              <a:custGeom>
                <a:avLst/>
                <a:gdLst>
                  <a:gd name="connsiteX0" fmla="*/ 558968 w 558968"/>
                  <a:gd name="connsiteY0" fmla="*/ 1008368 h 1567586"/>
                  <a:gd name="connsiteX1" fmla="*/ 558968 w 558968"/>
                  <a:gd name="connsiteY1" fmla="*/ 559219 h 1567586"/>
                  <a:gd name="connsiteX2" fmla="*/ 0 w 558968"/>
                  <a:gd name="connsiteY2" fmla="*/ 0 h 1567586"/>
                  <a:gd name="connsiteX3" fmla="*/ 0 w 558968"/>
                  <a:gd name="connsiteY3" fmla="*/ 1567587 h 1567586"/>
                  <a:gd name="connsiteX4" fmla="*/ 558968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558968" y="1008368"/>
                    </a:moveTo>
                    <a:lnTo>
                      <a:pt x="558968" y="559219"/>
                    </a:lnTo>
                    <a:lnTo>
                      <a:pt x="0" y="0"/>
                    </a:lnTo>
                    <a:lnTo>
                      <a:pt x="0" y="1567587"/>
                    </a:lnTo>
                    <a:lnTo>
                      <a:pt x="558968" y="1008368"/>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0" name="Freeform 29">
                <a:extLst>
                  <a:ext uri="{FF2B5EF4-FFF2-40B4-BE49-F238E27FC236}">
                    <a16:creationId xmlns:a16="http://schemas.microsoft.com/office/drawing/2014/main" id="{34030CDF-7DE0-DCEB-41F3-41FCD1AC95FC}"/>
                  </a:ext>
                </a:extLst>
              </p:cNvPr>
              <p:cNvSpPr/>
              <p:nvPr/>
            </p:nvSpPr>
            <p:spPr>
              <a:xfrm>
                <a:off x="7245251" y="1963701"/>
                <a:ext cx="2450851" cy="874707"/>
              </a:xfrm>
              <a:custGeom>
                <a:avLst/>
                <a:gdLst>
                  <a:gd name="connsiteX0" fmla="*/ 1007915 w 1566883"/>
                  <a:gd name="connsiteY0" fmla="*/ 559219 h 559219"/>
                  <a:gd name="connsiteX1" fmla="*/ 1566884 w 1566883"/>
                  <a:gd name="connsiteY1" fmla="*/ 0 h 559219"/>
                  <a:gd name="connsiteX2" fmla="*/ 0 w 1566883"/>
                  <a:gd name="connsiteY2" fmla="*/ 0 h 559219"/>
                  <a:gd name="connsiteX3" fmla="*/ 558968 w 1566883"/>
                  <a:gd name="connsiteY3" fmla="*/ 559219 h 559219"/>
                  <a:gd name="connsiteX4" fmla="*/ 1007915 w 1566883"/>
                  <a:gd name="connsiteY4" fmla="*/ 559219 h 559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883" h="559219">
                    <a:moveTo>
                      <a:pt x="1007915" y="559219"/>
                    </a:moveTo>
                    <a:lnTo>
                      <a:pt x="1566884" y="0"/>
                    </a:lnTo>
                    <a:lnTo>
                      <a:pt x="0" y="0"/>
                    </a:lnTo>
                    <a:lnTo>
                      <a:pt x="558968" y="559219"/>
                    </a:lnTo>
                    <a:lnTo>
                      <a:pt x="1007915" y="559219"/>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31" name="Freeform 30">
                <a:extLst>
                  <a:ext uri="{FF2B5EF4-FFF2-40B4-BE49-F238E27FC236}">
                    <a16:creationId xmlns:a16="http://schemas.microsoft.com/office/drawing/2014/main" id="{FE216904-5909-65B5-5D6B-E957BE0D5D2A}"/>
                  </a:ext>
                </a:extLst>
              </p:cNvPr>
              <p:cNvSpPr/>
              <p:nvPr/>
            </p:nvSpPr>
            <p:spPr>
              <a:xfrm>
                <a:off x="8880369" y="2022182"/>
                <a:ext cx="874314" cy="2451952"/>
              </a:xfrm>
              <a:custGeom>
                <a:avLst/>
                <a:gdLst>
                  <a:gd name="connsiteX0" fmla="*/ 0 w 558968"/>
                  <a:gd name="connsiteY0" fmla="*/ 1008368 h 1567586"/>
                  <a:gd name="connsiteX1" fmla="*/ 558969 w 558968"/>
                  <a:gd name="connsiteY1" fmla="*/ 1567587 h 1567586"/>
                  <a:gd name="connsiteX2" fmla="*/ 558969 w 558968"/>
                  <a:gd name="connsiteY2" fmla="*/ 0 h 1567586"/>
                  <a:gd name="connsiteX3" fmla="*/ 0 w 558968"/>
                  <a:gd name="connsiteY3" fmla="*/ 559219 h 1567586"/>
                  <a:gd name="connsiteX4" fmla="*/ 0 w 558968"/>
                  <a:gd name="connsiteY4" fmla="*/ 1008368 h 156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68" h="1567586">
                    <a:moveTo>
                      <a:pt x="0" y="1008368"/>
                    </a:moveTo>
                    <a:lnTo>
                      <a:pt x="558969" y="1567587"/>
                    </a:lnTo>
                    <a:lnTo>
                      <a:pt x="558969" y="0"/>
                    </a:lnTo>
                    <a:lnTo>
                      <a:pt x="0" y="559219"/>
                    </a:lnTo>
                    <a:lnTo>
                      <a:pt x="0" y="1008368"/>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33" name="Text Placeholder 49">
            <a:extLst>
              <a:ext uri="{FF2B5EF4-FFF2-40B4-BE49-F238E27FC236}">
                <a16:creationId xmlns:a16="http://schemas.microsoft.com/office/drawing/2014/main" id="{E9AA7340-326B-6B94-E564-05A964387A56}"/>
              </a:ext>
            </a:extLst>
          </p:cNvPr>
          <p:cNvSpPr>
            <a:spLocks noGrp="1"/>
          </p:cNvSpPr>
          <p:nvPr>
            <p:ph type="body" sz="quarter" idx="17" hasCustomPrompt="1"/>
          </p:nvPr>
        </p:nvSpPr>
        <p:spPr>
          <a:xfrm>
            <a:off x="990600" y="3783111"/>
            <a:ext cx="3644073" cy="324044"/>
          </a:xfrm>
        </p:spPr>
        <p:txBody>
          <a:bodyPr>
            <a:normAutofit/>
          </a:bodyPr>
          <a:lstStyle>
            <a:lvl1pPr marL="0" indent="0">
              <a:buNone/>
              <a:defRPr sz="1600" b="1">
                <a:solidFill>
                  <a:schemeClr val="tx1"/>
                </a:solidFill>
              </a:defRPr>
            </a:lvl1pPr>
          </a:lstStyle>
          <a:p>
            <a:pPr lvl="0"/>
            <a:r>
              <a:rPr lang="en-US"/>
              <a:t>Lorem ipsum dolor</a:t>
            </a:r>
          </a:p>
        </p:txBody>
      </p:sp>
      <p:sp>
        <p:nvSpPr>
          <p:cNvPr id="35" name="Text Placeholder 49">
            <a:extLst>
              <a:ext uri="{FF2B5EF4-FFF2-40B4-BE49-F238E27FC236}">
                <a16:creationId xmlns:a16="http://schemas.microsoft.com/office/drawing/2014/main" id="{D2D16238-D684-8118-8DE7-9487FF7DF51E}"/>
              </a:ext>
            </a:extLst>
          </p:cNvPr>
          <p:cNvSpPr>
            <a:spLocks noGrp="1"/>
          </p:cNvSpPr>
          <p:nvPr>
            <p:ph type="body" sz="quarter" idx="19" hasCustomPrompt="1"/>
          </p:nvPr>
        </p:nvSpPr>
        <p:spPr>
          <a:xfrm>
            <a:off x="7467600" y="3794575"/>
            <a:ext cx="3657600" cy="324044"/>
          </a:xfrm>
        </p:spPr>
        <p:txBody>
          <a:bodyPr>
            <a:normAutofit/>
          </a:bodyPr>
          <a:lstStyle>
            <a:lvl1pPr marL="0" indent="0" algn="r">
              <a:buNone/>
              <a:defRPr sz="1600" b="1">
                <a:solidFill>
                  <a:schemeClr val="tx2"/>
                </a:solidFill>
              </a:defRPr>
            </a:lvl1pPr>
          </a:lstStyle>
          <a:p>
            <a:pPr lvl="0"/>
            <a:r>
              <a:rPr lang="en-US"/>
              <a:t>Lorem ipsum dolor</a:t>
            </a:r>
          </a:p>
        </p:txBody>
      </p:sp>
      <p:sp>
        <p:nvSpPr>
          <p:cNvPr id="39" name="Text Placeholder 49">
            <a:extLst>
              <a:ext uri="{FF2B5EF4-FFF2-40B4-BE49-F238E27FC236}">
                <a16:creationId xmlns:a16="http://schemas.microsoft.com/office/drawing/2014/main" id="{BF2493E3-929C-6D12-3DF5-7682E1F6E8B3}"/>
              </a:ext>
            </a:extLst>
          </p:cNvPr>
          <p:cNvSpPr>
            <a:spLocks noGrp="1"/>
          </p:cNvSpPr>
          <p:nvPr>
            <p:ph type="body" sz="quarter" idx="23" hasCustomPrompt="1"/>
          </p:nvPr>
        </p:nvSpPr>
        <p:spPr>
          <a:xfrm>
            <a:off x="4191000" y="5865556"/>
            <a:ext cx="3657600" cy="324044"/>
          </a:xfrm>
        </p:spPr>
        <p:txBody>
          <a:bodyPr>
            <a:normAutofit/>
          </a:bodyPr>
          <a:lstStyle>
            <a:lvl1pPr marL="0" indent="0" algn="ctr">
              <a:buNone/>
              <a:defRPr sz="1600" b="1">
                <a:solidFill>
                  <a:schemeClr val="accent1"/>
                </a:solidFill>
              </a:defRPr>
            </a:lvl1pPr>
          </a:lstStyle>
          <a:p>
            <a:pPr lvl="0"/>
            <a:r>
              <a:rPr lang="en-US"/>
              <a:t>Lorem ipsum dolor</a:t>
            </a:r>
          </a:p>
        </p:txBody>
      </p:sp>
      <p:sp>
        <p:nvSpPr>
          <p:cNvPr id="41" name="Text Placeholder 49">
            <a:extLst>
              <a:ext uri="{FF2B5EF4-FFF2-40B4-BE49-F238E27FC236}">
                <a16:creationId xmlns:a16="http://schemas.microsoft.com/office/drawing/2014/main" id="{37C6D4AD-FD10-95BE-45B3-6599962FE91C}"/>
              </a:ext>
            </a:extLst>
          </p:cNvPr>
          <p:cNvSpPr>
            <a:spLocks noGrp="1"/>
          </p:cNvSpPr>
          <p:nvPr>
            <p:ph type="body" sz="quarter" idx="25" hasCustomPrompt="1"/>
          </p:nvPr>
        </p:nvSpPr>
        <p:spPr>
          <a:xfrm>
            <a:off x="4191000" y="1676400"/>
            <a:ext cx="3657600" cy="324044"/>
          </a:xfrm>
        </p:spPr>
        <p:txBody>
          <a:bodyPr>
            <a:normAutofit/>
          </a:bodyPr>
          <a:lstStyle>
            <a:lvl1pPr marL="0" indent="0" algn="ctr">
              <a:buNone/>
              <a:defRPr sz="1600" b="1">
                <a:solidFill>
                  <a:schemeClr val="accent4"/>
                </a:solidFill>
              </a:defRPr>
            </a:lvl1pPr>
          </a:lstStyle>
          <a:p>
            <a:pPr lvl="0"/>
            <a:r>
              <a:rPr lang="en-US"/>
              <a:t>Lorem ipsum dolor</a:t>
            </a:r>
          </a:p>
        </p:txBody>
      </p:sp>
      <p:sp>
        <p:nvSpPr>
          <p:cNvPr id="19" name="Content Placeholder 17">
            <a:extLst>
              <a:ext uri="{FF2B5EF4-FFF2-40B4-BE49-F238E27FC236}">
                <a16:creationId xmlns:a16="http://schemas.microsoft.com/office/drawing/2014/main" id="{3030C0CE-889F-CC8A-4303-92370353D2E2}"/>
              </a:ext>
            </a:extLst>
          </p:cNvPr>
          <p:cNvSpPr>
            <a:spLocks noGrp="1"/>
          </p:cNvSpPr>
          <p:nvPr>
            <p:ph sz="quarter" idx="63"/>
          </p:nvPr>
        </p:nvSpPr>
        <p:spPr>
          <a:xfrm>
            <a:off x="990600" y="4191000"/>
            <a:ext cx="3721608"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0" name="Content Placeholder 17">
            <a:extLst>
              <a:ext uri="{FF2B5EF4-FFF2-40B4-BE49-F238E27FC236}">
                <a16:creationId xmlns:a16="http://schemas.microsoft.com/office/drawing/2014/main" id="{844A0222-CD13-C8B4-DD0E-7E60F0116F06}"/>
              </a:ext>
            </a:extLst>
          </p:cNvPr>
          <p:cNvSpPr>
            <a:spLocks noGrp="1"/>
          </p:cNvSpPr>
          <p:nvPr>
            <p:ph sz="quarter" idx="64"/>
          </p:nvPr>
        </p:nvSpPr>
        <p:spPr>
          <a:xfrm>
            <a:off x="7467600" y="41910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1" name="Content Placeholder 17">
            <a:extLst>
              <a:ext uri="{FF2B5EF4-FFF2-40B4-BE49-F238E27FC236}">
                <a16:creationId xmlns:a16="http://schemas.microsoft.com/office/drawing/2014/main" id="{79D3ED51-FC75-AC56-B538-71AE2ADC73ED}"/>
              </a:ext>
            </a:extLst>
          </p:cNvPr>
          <p:cNvSpPr>
            <a:spLocks noGrp="1"/>
          </p:cNvSpPr>
          <p:nvPr>
            <p:ph sz="quarter" idx="65"/>
          </p:nvPr>
        </p:nvSpPr>
        <p:spPr>
          <a:xfrm>
            <a:off x="4191000" y="2073089"/>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22" name="Content Placeholder 17">
            <a:extLst>
              <a:ext uri="{FF2B5EF4-FFF2-40B4-BE49-F238E27FC236}">
                <a16:creationId xmlns:a16="http://schemas.microsoft.com/office/drawing/2014/main" id="{0C8BEEDD-4B08-6A7C-D12B-67E9DC2DCBDC}"/>
              </a:ext>
            </a:extLst>
          </p:cNvPr>
          <p:cNvSpPr>
            <a:spLocks noGrp="1"/>
          </p:cNvSpPr>
          <p:nvPr>
            <p:ph sz="quarter" idx="66"/>
          </p:nvPr>
        </p:nvSpPr>
        <p:spPr>
          <a:xfrm>
            <a:off x="4191000" y="62484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352744778"/>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Five point pent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Five points - pentagon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9982F7E7-70CA-4BF5-148B-AFC9AE54CA0D}"/>
              </a:ext>
            </a:extLst>
          </p:cNvPr>
          <p:cNvGrpSpPr/>
          <p:nvPr/>
        </p:nvGrpSpPr>
        <p:grpSpPr>
          <a:xfrm>
            <a:off x="785813" y="2306464"/>
            <a:ext cx="10620375" cy="3136912"/>
            <a:chOff x="815975" y="2306464"/>
            <a:chExt cx="10620375" cy="3136912"/>
          </a:xfrm>
        </p:grpSpPr>
        <p:cxnSp>
          <p:nvCxnSpPr>
            <p:cNvPr id="33" name="Straight Connector 32">
              <a:extLst>
                <a:ext uri="{FF2B5EF4-FFF2-40B4-BE49-F238E27FC236}">
                  <a16:creationId xmlns:a16="http://schemas.microsoft.com/office/drawing/2014/main" id="{CEC0FAF6-8996-AF17-DE35-194CE9BD3395}"/>
                </a:ext>
              </a:extLst>
            </p:cNvPr>
            <p:cNvCxnSpPr>
              <a:cxnSpLocks/>
            </p:cNvCxnSpPr>
            <p:nvPr/>
          </p:nvCxnSpPr>
          <p:spPr>
            <a:xfrm>
              <a:off x="6995461" y="2891910"/>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2578AF-22FA-35F4-DB50-C2C5088D773F}"/>
                </a:ext>
              </a:extLst>
            </p:cNvPr>
            <p:cNvCxnSpPr>
              <a:cxnSpLocks/>
            </p:cNvCxnSpPr>
            <p:nvPr/>
          </p:nvCxnSpPr>
          <p:spPr>
            <a:xfrm flipH="1">
              <a:off x="815975" y="2877879"/>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C762C67-68F4-BDBE-9041-B29FC4FE8F5B}"/>
                </a:ext>
              </a:extLst>
            </p:cNvPr>
            <p:cNvCxnSpPr>
              <a:cxnSpLocks/>
            </p:cNvCxnSpPr>
            <p:nvPr/>
          </p:nvCxnSpPr>
          <p:spPr>
            <a:xfrm>
              <a:off x="6145778" y="4347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7C7533-9416-681F-0A73-06EBD12DD423}"/>
                </a:ext>
              </a:extLst>
            </p:cNvPr>
            <p:cNvCxnSpPr>
              <a:cxnSpLocks/>
            </p:cNvCxnSpPr>
            <p:nvPr/>
          </p:nvCxnSpPr>
          <p:spPr>
            <a:xfrm>
              <a:off x="6995461" y="4324008"/>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E8AFED-0EB7-4B6B-2164-5EAFDA4DC125}"/>
                </a:ext>
              </a:extLst>
            </p:cNvPr>
            <p:cNvCxnSpPr>
              <a:cxnSpLocks/>
            </p:cNvCxnSpPr>
            <p:nvPr/>
          </p:nvCxnSpPr>
          <p:spPr>
            <a:xfrm flipH="1">
              <a:off x="815975" y="4309977"/>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C3D9470-B9CD-DD51-F5FC-41D3670B2F63}"/>
                </a:ext>
              </a:extLst>
            </p:cNvPr>
            <p:cNvGrpSpPr/>
            <p:nvPr/>
          </p:nvGrpSpPr>
          <p:grpSpPr>
            <a:xfrm>
              <a:off x="4764868" y="2306464"/>
              <a:ext cx="2761819" cy="2629523"/>
              <a:chOff x="5517924" y="749427"/>
              <a:chExt cx="1691564" cy="1610535"/>
            </a:xfrm>
          </p:grpSpPr>
          <p:sp>
            <p:nvSpPr>
              <p:cNvPr id="49" name="Freeform 48">
                <a:extLst>
                  <a:ext uri="{FF2B5EF4-FFF2-40B4-BE49-F238E27FC236}">
                    <a16:creationId xmlns:a16="http://schemas.microsoft.com/office/drawing/2014/main" id="{F7600F85-5768-EC3B-83A4-2273DAE3E1A2}"/>
                  </a:ext>
                </a:extLst>
              </p:cNvPr>
              <p:cNvSpPr/>
              <p:nvPr/>
            </p:nvSpPr>
            <p:spPr>
              <a:xfrm>
                <a:off x="5868045" y="1869155"/>
                <a:ext cx="991322" cy="490807"/>
              </a:xfrm>
              <a:custGeom>
                <a:avLst/>
                <a:gdLst>
                  <a:gd name="connsiteX0" fmla="*/ 356403 w 991322"/>
                  <a:gd name="connsiteY0" fmla="*/ 0 h 490807"/>
                  <a:gd name="connsiteX1" fmla="*/ 0 w 991322"/>
                  <a:gd name="connsiteY1" fmla="*/ 490808 h 490807"/>
                  <a:gd name="connsiteX2" fmla="*/ 991323 w 991322"/>
                  <a:gd name="connsiteY2" fmla="*/ 490808 h 490807"/>
                  <a:gd name="connsiteX3" fmla="*/ 634920 w 991322"/>
                  <a:gd name="connsiteY3" fmla="*/ 0 h 490807"/>
                  <a:gd name="connsiteX4" fmla="*/ 356403 w 991322"/>
                  <a:gd name="connsiteY4" fmla="*/ 0 h 49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22" h="490807">
                    <a:moveTo>
                      <a:pt x="356403" y="0"/>
                    </a:moveTo>
                    <a:lnTo>
                      <a:pt x="0" y="490808"/>
                    </a:lnTo>
                    <a:lnTo>
                      <a:pt x="991323" y="490808"/>
                    </a:lnTo>
                    <a:lnTo>
                      <a:pt x="634920" y="0"/>
                    </a:lnTo>
                    <a:lnTo>
                      <a:pt x="356403" y="0"/>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0" name="Freeform 49">
                <a:extLst>
                  <a:ext uri="{FF2B5EF4-FFF2-40B4-BE49-F238E27FC236}">
                    <a16:creationId xmlns:a16="http://schemas.microsoft.com/office/drawing/2014/main" id="{CB3B4565-756A-94F4-6C47-8BD1BB42EB11}"/>
                  </a:ext>
                </a:extLst>
              </p:cNvPr>
              <p:cNvSpPr/>
              <p:nvPr/>
            </p:nvSpPr>
            <p:spPr>
              <a:xfrm>
                <a:off x="6546378" y="1385358"/>
                <a:ext cx="663110" cy="944387"/>
              </a:xfrm>
              <a:custGeom>
                <a:avLst/>
                <a:gdLst>
                  <a:gd name="connsiteX0" fmla="*/ 0 w 663110"/>
                  <a:gd name="connsiteY0" fmla="*/ 453661 h 944387"/>
                  <a:gd name="connsiteX1" fmla="*/ 356403 w 663110"/>
                  <a:gd name="connsiteY1" fmla="*/ 944388 h 944387"/>
                  <a:gd name="connsiteX2" fmla="*/ 663111 w 663110"/>
                  <a:gd name="connsiteY2" fmla="*/ 0 h 944387"/>
                  <a:gd name="connsiteX3" fmla="*/ 86503 w 663110"/>
                  <a:gd name="connsiteY3" fmla="*/ 187427 h 944387"/>
                  <a:gd name="connsiteX4" fmla="*/ 0 w 663110"/>
                  <a:gd name="connsiteY4" fmla="*/ 453661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0" y="453661"/>
                    </a:moveTo>
                    <a:lnTo>
                      <a:pt x="356403" y="944388"/>
                    </a:lnTo>
                    <a:lnTo>
                      <a:pt x="663111" y="0"/>
                    </a:lnTo>
                    <a:lnTo>
                      <a:pt x="86503" y="187427"/>
                    </a:lnTo>
                    <a:lnTo>
                      <a:pt x="0" y="453661"/>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B3F177A6-0E01-9C20-FBFC-9378F8DAC283}"/>
                  </a:ext>
                </a:extLst>
              </p:cNvPr>
              <p:cNvSpPr/>
              <p:nvPr/>
            </p:nvSpPr>
            <p:spPr>
              <a:xfrm>
                <a:off x="6390125" y="749427"/>
                <a:ext cx="804785" cy="772431"/>
              </a:xfrm>
              <a:custGeom>
                <a:avLst/>
                <a:gdLst>
                  <a:gd name="connsiteX0" fmla="*/ 228178 w 804785"/>
                  <a:gd name="connsiteY0" fmla="*/ 772432 h 772431"/>
                  <a:gd name="connsiteX1" fmla="*/ 804786 w 804785"/>
                  <a:gd name="connsiteY1" fmla="*/ 585005 h 772431"/>
                  <a:gd name="connsiteX2" fmla="*/ 0 w 804785"/>
                  <a:gd name="connsiteY2" fmla="*/ 0 h 772431"/>
                  <a:gd name="connsiteX3" fmla="*/ 0 w 804785"/>
                  <a:gd name="connsiteY3" fmla="*/ 606600 h 772431"/>
                  <a:gd name="connsiteX4" fmla="*/ 228178 w 804785"/>
                  <a:gd name="connsiteY4" fmla="*/ 772432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228178" y="772432"/>
                    </a:moveTo>
                    <a:lnTo>
                      <a:pt x="804786" y="585005"/>
                    </a:lnTo>
                    <a:lnTo>
                      <a:pt x="0" y="0"/>
                    </a:lnTo>
                    <a:lnTo>
                      <a:pt x="0" y="606600"/>
                    </a:lnTo>
                    <a:lnTo>
                      <a:pt x="228178" y="772432"/>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3063D270-6D87-F088-7B87-6968CCCB83D6}"/>
                  </a:ext>
                </a:extLst>
              </p:cNvPr>
              <p:cNvSpPr/>
              <p:nvPr/>
            </p:nvSpPr>
            <p:spPr>
              <a:xfrm>
                <a:off x="5517924" y="1385358"/>
                <a:ext cx="663110" cy="944387"/>
              </a:xfrm>
              <a:custGeom>
                <a:avLst/>
                <a:gdLst>
                  <a:gd name="connsiteX0" fmla="*/ 576608 w 663110"/>
                  <a:gd name="connsiteY0" fmla="*/ 187427 h 944387"/>
                  <a:gd name="connsiteX1" fmla="*/ 0 w 663110"/>
                  <a:gd name="connsiteY1" fmla="*/ 0 h 944387"/>
                  <a:gd name="connsiteX2" fmla="*/ 306708 w 663110"/>
                  <a:gd name="connsiteY2" fmla="*/ 944388 h 944387"/>
                  <a:gd name="connsiteX3" fmla="*/ 663111 w 663110"/>
                  <a:gd name="connsiteY3" fmla="*/ 453661 h 944387"/>
                  <a:gd name="connsiteX4" fmla="*/ 576608 w 663110"/>
                  <a:gd name="connsiteY4" fmla="*/ 187427 h 944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10" h="944387">
                    <a:moveTo>
                      <a:pt x="576608" y="187427"/>
                    </a:moveTo>
                    <a:lnTo>
                      <a:pt x="0" y="0"/>
                    </a:lnTo>
                    <a:lnTo>
                      <a:pt x="306708" y="944388"/>
                    </a:lnTo>
                    <a:lnTo>
                      <a:pt x="663111" y="453661"/>
                    </a:lnTo>
                    <a:lnTo>
                      <a:pt x="576608" y="18742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90D87BBE-299A-DB19-240B-B8DE5E20D388}"/>
                  </a:ext>
                </a:extLst>
              </p:cNvPr>
              <p:cNvSpPr/>
              <p:nvPr/>
            </p:nvSpPr>
            <p:spPr>
              <a:xfrm>
                <a:off x="5532502" y="749427"/>
                <a:ext cx="804785" cy="772431"/>
              </a:xfrm>
              <a:custGeom>
                <a:avLst/>
                <a:gdLst>
                  <a:gd name="connsiteX0" fmla="*/ 804786 w 804785"/>
                  <a:gd name="connsiteY0" fmla="*/ 606600 h 772431"/>
                  <a:gd name="connsiteX1" fmla="*/ 804786 w 804785"/>
                  <a:gd name="connsiteY1" fmla="*/ 0 h 772431"/>
                  <a:gd name="connsiteX2" fmla="*/ 0 w 804785"/>
                  <a:gd name="connsiteY2" fmla="*/ 585005 h 772431"/>
                  <a:gd name="connsiteX3" fmla="*/ 576608 w 804785"/>
                  <a:gd name="connsiteY3" fmla="*/ 772432 h 772431"/>
                  <a:gd name="connsiteX4" fmla="*/ 804786 w 804785"/>
                  <a:gd name="connsiteY4" fmla="*/ 606600 h 772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785" h="772431">
                    <a:moveTo>
                      <a:pt x="804786" y="606600"/>
                    </a:moveTo>
                    <a:lnTo>
                      <a:pt x="804786" y="0"/>
                    </a:lnTo>
                    <a:lnTo>
                      <a:pt x="0" y="585005"/>
                    </a:lnTo>
                    <a:lnTo>
                      <a:pt x="576608" y="772432"/>
                    </a:lnTo>
                    <a:lnTo>
                      <a:pt x="804786" y="60660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55" name="Text Placeholder 49">
            <a:extLst>
              <a:ext uri="{FF2B5EF4-FFF2-40B4-BE49-F238E27FC236}">
                <a16:creationId xmlns:a16="http://schemas.microsoft.com/office/drawing/2014/main" id="{065EAEF4-DD08-DC06-4CC6-70E3A855AF9E}"/>
              </a:ext>
            </a:extLst>
          </p:cNvPr>
          <p:cNvSpPr>
            <a:spLocks noGrp="1"/>
          </p:cNvSpPr>
          <p:nvPr>
            <p:ph type="body" sz="quarter" idx="23" hasCustomPrompt="1"/>
          </p:nvPr>
        </p:nvSpPr>
        <p:spPr>
          <a:xfrm>
            <a:off x="4267200" y="5524543"/>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57" name="Text Placeholder 49">
            <a:extLst>
              <a:ext uri="{FF2B5EF4-FFF2-40B4-BE49-F238E27FC236}">
                <a16:creationId xmlns:a16="http://schemas.microsoft.com/office/drawing/2014/main" id="{D7B2150D-3C24-DF90-F494-72C8594F2027}"/>
              </a:ext>
            </a:extLst>
          </p:cNvPr>
          <p:cNvSpPr>
            <a:spLocks noGrp="1"/>
          </p:cNvSpPr>
          <p:nvPr>
            <p:ph type="body" sz="quarter" idx="25" hasCustomPrompt="1"/>
          </p:nvPr>
        </p:nvSpPr>
        <p:spPr>
          <a:xfrm>
            <a:off x="914400" y="2595382"/>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59" name="Text Placeholder 49">
            <a:extLst>
              <a:ext uri="{FF2B5EF4-FFF2-40B4-BE49-F238E27FC236}">
                <a16:creationId xmlns:a16="http://schemas.microsoft.com/office/drawing/2014/main" id="{E0192D6A-04A8-297B-1B08-F66247B573CD}"/>
              </a:ext>
            </a:extLst>
          </p:cNvPr>
          <p:cNvSpPr>
            <a:spLocks noGrp="1"/>
          </p:cNvSpPr>
          <p:nvPr>
            <p:ph type="body" sz="quarter" idx="27" hasCustomPrompt="1"/>
          </p:nvPr>
        </p:nvSpPr>
        <p:spPr>
          <a:xfrm>
            <a:off x="914400" y="4051738"/>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1" name="Text Placeholder 49">
            <a:extLst>
              <a:ext uri="{FF2B5EF4-FFF2-40B4-BE49-F238E27FC236}">
                <a16:creationId xmlns:a16="http://schemas.microsoft.com/office/drawing/2014/main" id="{4EC3D775-4734-E994-CAEC-41BE91C51517}"/>
              </a:ext>
            </a:extLst>
          </p:cNvPr>
          <p:cNvSpPr>
            <a:spLocks noGrp="1"/>
          </p:cNvSpPr>
          <p:nvPr>
            <p:ph type="body" sz="quarter" idx="29" hasCustomPrompt="1"/>
          </p:nvPr>
        </p:nvSpPr>
        <p:spPr>
          <a:xfrm>
            <a:off x="7696200" y="2595382"/>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3" name="Text Placeholder 49">
            <a:extLst>
              <a:ext uri="{FF2B5EF4-FFF2-40B4-BE49-F238E27FC236}">
                <a16:creationId xmlns:a16="http://schemas.microsoft.com/office/drawing/2014/main" id="{D2168063-C5AE-D59C-DE7C-17B224056CDD}"/>
              </a:ext>
            </a:extLst>
          </p:cNvPr>
          <p:cNvSpPr>
            <a:spLocks noGrp="1"/>
          </p:cNvSpPr>
          <p:nvPr>
            <p:ph type="body" sz="quarter" idx="31" hasCustomPrompt="1"/>
          </p:nvPr>
        </p:nvSpPr>
        <p:spPr>
          <a:xfrm>
            <a:off x="7696200" y="4051738"/>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3" name="Content Placeholder 17">
            <a:extLst>
              <a:ext uri="{FF2B5EF4-FFF2-40B4-BE49-F238E27FC236}">
                <a16:creationId xmlns:a16="http://schemas.microsoft.com/office/drawing/2014/main" id="{0F3C5750-999E-8492-E767-548AC74AC1C4}"/>
              </a:ext>
            </a:extLst>
          </p:cNvPr>
          <p:cNvSpPr>
            <a:spLocks noGrp="1"/>
          </p:cNvSpPr>
          <p:nvPr>
            <p:ph sz="quarter" idx="63"/>
          </p:nvPr>
        </p:nvSpPr>
        <p:spPr>
          <a:xfrm>
            <a:off x="9144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075E05A-D203-024D-A2A2-A35D946715BA}"/>
              </a:ext>
            </a:extLst>
          </p:cNvPr>
          <p:cNvSpPr>
            <a:spLocks noGrp="1"/>
          </p:cNvSpPr>
          <p:nvPr>
            <p:ph sz="quarter" idx="65"/>
          </p:nvPr>
        </p:nvSpPr>
        <p:spPr>
          <a:xfrm>
            <a:off x="7696200" y="2971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0AAA2600-1C1B-C69E-B3BA-B89A0ADAEBE4}"/>
              </a:ext>
            </a:extLst>
          </p:cNvPr>
          <p:cNvSpPr>
            <a:spLocks noGrp="1"/>
          </p:cNvSpPr>
          <p:nvPr>
            <p:ph sz="quarter" idx="66"/>
          </p:nvPr>
        </p:nvSpPr>
        <p:spPr>
          <a:xfrm>
            <a:off x="9144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F00730-FCDD-B79A-94E7-BD4AFBDB145F}"/>
              </a:ext>
            </a:extLst>
          </p:cNvPr>
          <p:cNvSpPr>
            <a:spLocks noGrp="1"/>
          </p:cNvSpPr>
          <p:nvPr>
            <p:ph sz="quarter" idx="67"/>
          </p:nvPr>
        </p:nvSpPr>
        <p:spPr>
          <a:xfrm>
            <a:off x="7696200" y="4419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946AC224-FDB3-4048-3D0F-EB1A4A4DF9DC}"/>
              </a:ext>
            </a:extLst>
          </p:cNvPr>
          <p:cNvSpPr>
            <a:spLocks noGrp="1"/>
          </p:cNvSpPr>
          <p:nvPr>
            <p:ph sz="quarter" idx="68"/>
          </p:nvPr>
        </p:nvSpPr>
        <p:spPr>
          <a:xfrm>
            <a:off x="4267200" y="58674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269125388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Six point hexagon">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marL="0" indent="0">
              <a:buFont typeface="Arial" panose="020B0604020202020204" pitchFamily="34" charset="0"/>
              <a:buNone/>
              <a:defRPr baseline="0"/>
            </a:lvl1pPr>
          </a:lstStyle>
          <a:p>
            <a:r>
              <a:rPr lang="en-US"/>
              <a:t>Six points - hexagon</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marL="0" indent="0">
              <a:spcBef>
                <a:spcPts val="0"/>
              </a:spcBef>
              <a:buNone/>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indent="0">
                <a:buFont typeface="Arial" panose="020B0604020202020204" pitchFamily="34" charset="0"/>
                <a:buNone/>
              </a:pPr>
              <a:endParaRPr lang="en-US"/>
            </a:p>
          </p:txBody>
        </p:sp>
      </p:grpSp>
      <p:grpSp>
        <p:nvGrpSpPr>
          <p:cNvPr id="32" name="Group 31">
            <a:extLst>
              <a:ext uri="{FF2B5EF4-FFF2-40B4-BE49-F238E27FC236}">
                <a16:creationId xmlns:a16="http://schemas.microsoft.com/office/drawing/2014/main" id="{529A6C24-BAAB-0684-EBE2-6759201829BB}"/>
              </a:ext>
            </a:extLst>
          </p:cNvPr>
          <p:cNvGrpSpPr/>
          <p:nvPr/>
        </p:nvGrpSpPr>
        <p:grpSpPr>
          <a:xfrm>
            <a:off x="815975" y="2337351"/>
            <a:ext cx="10620375" cy="3331825"/>
            <a:chOff x="815975" y="2032551"/>
            <a:chExt cx="10620375" cy="3331825"/>
          </a:xfrm>
        </p:grpSpPr>
        <p:cxnSp>
          <p:nvCxnSpPr>
            <p:cNvPr id="56" name="Straight Connector 55">
              <a:extLst>
                <a:ext uri="{FF2B5EF4-FFF2-40B4-BE49-F238E27FC236}">
                  <a16:creationId xmlns:a16="http://schemas.microsoft.com/office/drawing/2014/main" id="{84549077-8C63-7ADD-8836-74348AB7C9B1}"/>
                </a:ext>
              </a:extLst>
            </p:cNvPr>
            <p:cNvCxnSpPr>
              <a:cxnSpLocks/>
            </p:cNvCxnSpPr>
            <p:nvPr/>
          </p:nvCxnSpPr>
          <p:spPr>
            <a:xfrm flipV="1">
              <a:off x="6125454" y="2032551"/>
              <a:ext cx="0" cy="84734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0B41AAA-CBBE-6DFA-984F-71E63893EFC9}"/>
                </a:ext>
              </a:extLst>
            </p:cNvPr>
            <p:cNvCxnSpPr>
              <a:cxnSpLocks/>
            </p:cNvCxnSpPr>
            <p:nvPr/>
          </p:nvCxnSpPr>
          <p:spPr>
            <a:xfrm>
              <a:off x="6995461" y="2977499"/>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A28389-8E31-2964-B966-7D40D456A575}"/>
                </a:ext>
              </a:extLst>
            </p:cNvPr>
            <p:cNvCxnSpPr>
              <a:cxnSpLocks/>
            </p:cNvCxnSpPr>
            <p:nvPr/>
          </p:nvCxnSpPr>
          <p:spPr>
            <a:xfrm flipH="1">
              <a:off x="815975" y="2963468"/>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CA30902-AB6E-3782-F9D4-4F41087E663B}"/>
                </a:ext>
              </a:extLst>
            </p:cNvPr>
            <p:cNvCxnSpPr>
              <a:cxnSpLocks/>
            </p:cNvCxnSpPr>
            <p:nvPr/>
          </p:nvCxnSpPr>
          <p:spPr>
            <a:xfrm>
              <a:off x="6145778" y="4268986"/>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6C31BE-013C-8689-C9DB-6BDA3EE6E339}"/>
                </a:ext>
              </a:extLst>
            </p:cNvPr>
            <p:cNvCxnSpPr>
              <a:cxnSpLocks/>
            </p:cNvCxnSpPr>
            <p:nvPr/>
          </p:nvCxnSpPr>
          <p:spPr>
            <a:xfrm>
              <a:off x="6995461" y="44095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BB17F0-0023-5B1E-E111-1BD43FF4F82A}"/>
                </a:ext>
              </a:extLst>
            </p:cNvPr>
            <p:cNvCxnSpPr>
              <a:cxnSpLocks/>
            </p:cNvCxnSpPr>
            <p:nvPr/>
          </p:nvCxnSpPr>
          <p:spPr>
            <a:xfrm flipH="1">
              <a:off x="815975" y="43955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5C5DA5BD-5C15-9FA7-6A21-DE4BCDEEBCC7}"/>
                </a:ext>
              </a:extLst>
            </p:cNvPr>
            <p:cNvGrpSpPr/>
            <p:nvPr/>
          </p:nvGrpSpPr>
          <p:grpSpPr>
            <a:xfrm>
              <a:off x="4561708" y="2277806"/>
              <a:ext cx="3168140" cy="2782036"/>
              <a:chOff x="7397879" y="730250"/>
              <a:chExt cx="1866261" cy="1638818"/>
            </a:xfrm>
          </p:grpSpPr>
          <p:sp>
            <p:nvSpPr>
              <p:cNvPr id="50" name="Freeform 49">
                <a:extLst>
                  <a:ext uri="{FF2B5EF4-FFF2-40B4-BE49-F238E27FC236}">
                    <a16:creationId xmlns:a16="http://schemas.microsoft.com/office/drawing/2014/main" id="{BF7E2AB7-E273-7D11-FF1E-686D88BB8DA2}"/>
                  </a:ext>
                </a:extLst>
              </p:cNvPr>
              <p:cNvSpPr/>
              <p:nvPr/>
            </p:nvSpPr>
            <p:spPr>
              <a:xfrm>
                <a:off x="8502365" y="752167"/>
                <a:ext cx="753882" cy="765743"/>
              </a:xfrm>
              <a:custGeom>
                <a:avLst/>
                <a:gdLst>
                  <a:gd name="connsiteX0" fmla="*/ 127258 w 753882"/>
                  <a:gd name="connsiteY0" fmla="*/ 765744 h 765743"/>
                  <a:gd name="connsiteX1" fmla="*/ 753882 w 753882"/>
                  <a:gd name="connsiteY1" fmla="*/ 764213 h 765743"/>
                  <a:gd name="connsiteX2" fmla="*/ 312909 w 753882"/>
                  <a:gd name="connsiteY2" fmla="*/ 0 h 765743"/>
                  <a:gd name="connsiteX3" fmla="*/ 0 w 753882"/>
                  <a:gd name="connsiteY3" fmla="*/ 545199 h 765743"/>
                  <a:gd name="connsiteX4" fmla="*/ 127258 w 753882"/>
                  <a:gd name="connsiteY4" fmla="*/ 765744 h 76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882" h="765743">
                    <a:moveTo>
                      <a:pt x="127258" y="765744"/>
                    </a:moveTo>
                    <a:lnTo>
                      <a:pt x="753882" y="764213"/>
                    </a:lnTo>
                    <a:lnTo>
                      <a:pt x="312909" y="0"/>
                    </a:lnTo>
                    <a:lnTo>
                      <a:pt x="0" y="545199"/>
                    </a:lnTo>
                    <a:lnTo>
                      <a:pt x="127258" y="765744"/>
                    </a:lnTo>
                    <a:close/>
                  </a:path>
                </a:pathLst>
              </a:custGeom>
              <a:solidFill>
                <a:schemeClr val="bg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1" name="Freeform 50">
                <a:extLst>
                  <a:ext uri="{FF2B5EF4-FFF2-40B4-BE49-F238E27FC236}">
                    <a16:creationId xmlns:a16="http://schemas.microsoft.com/office/drawing/2014/main" id="{DB611C49-D140-F25F-F43F-56E0012052A1}"/>
                  </a:ext>
                </a:extLst>
              </p:cNvPr>
              <p:cNvSpPr/>
              <p:nvPr/>
            </p:nvSpPr>
            <p:spPr>
              <a:xfrm>
                <a:off x="7400617" y="756679"/>
                <a:ext cx="755573" cy="764212"/>
              </a:xfrm>
              <a:custGeom>
                <a:avLst/>
                <a:gdLst>
                  <a:gd name="connsiteX0" fmla="*/ 755574 w 755573"/>
                  <a:gd name="connsiteY0" fmla="*/ 542137 h 764212"/>
                  <a:gd name="connsiteX1" fmla="*/ 440973 w 755573"/>
                  <a:gd name="connsiteY1" fmla="*/ 0 h 764212"/>
                  <a:gd name="connsiteX2" fmla="*/ 0 w 755573"/>
                  <a:gd name="connsiteY2" fmla="*/ 764213 h 764212"/>
                  <a:gd name="connsiteX3" fmla="*/ 628316 w 755573"/>
                  <a:gd name="connsiteY3" fmla="*/ 762682 h 764212"/>
                  <a:gd name="connsiteX4" fmla="*/ 755574 w 755573"/>
                  <a:gd name="connsiteY4" fmla="*/ 542137 h 764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573" h="764212">
                    <a:moveTo>
                      <a:pt x="755574" y="542137"/>
                    </a:moveTo>
                    <a:lnTo>
                      <a:pt x="440973" y="0"/>
                    </a:lnTo>
                    <a:lnTo>
                      <a:pt x="0" y="764213"/>
                    </a:lnTo>
                    <a:lnTo>
                      <a:pt x="628316" y="762682"/>
                    </a:lnTo>
                    <a:lnTo>
                      <a:pt x="755574" y="542137"/>
                    </a:lnTo>
                    <a:close/>
                  </a:path>
                </a:pathLst>
              </a:custGeom>
              <a:solidFill>
                <a:schemeClr val="accent4"/>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2" name="Freeform 51">
                <a:extLst>
                  <a:ext uri="{FF2B5EF4-FFF2-40B4-BE49-F238E27FC236}">
                    <a16:creationId xmlns:a16="http://schemas.microsoft.com/office/drawing/2014/main" id="{9A3FD2F2-AC0C-F3EA-5956-6E969BC4963B}"/>
                  </a:ext>
                </a:extLst>
              </p:cNvPr>
              <p:cNvSpPr/>
              <p:nvPr/>
            </p:nvSpPr>
            <p:spPr>
              <a:xfrm>
                <a:off x="7887338" y="1825401"/>
                <a:ext cx="890000" cy="543667"/>
              </a:xfrm>
              <a:custGeom>
                <a:avLst/>
                <a:gdLst>
                  <a:gd name="connsiteX0" fmla="*/ 312024 w 890000"/>
                  <a:gd name="connsiteY0" fmla="*/ 0 h 543667"/>
                  <a:gd name="connsiteX1" fmla="*/ 0 w 890000"/>
                  <a:gd name="connsiteY1" fmla="*/ 543668 h 543667"/>
                  <a:gd name="connsiteX2" fmla="*/ 890000 w 890000"/>
                  <a:gd name="connsiteY2" fmla="*/ 543668 h 543667"/>
                  <a:gd name="connsiteX3" fmla="*/ 574513 w 890000"/>
                  <a:gd name="connsiteY3" fmla="*/ 0 h 543667"/>
                  <a:gd name="connsiteX4" fmla="*/ 312024 w 890000"/>
                  <a:gd name="connsiteY4" fmla="*/ 0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00" h="543667">
                    <a:moveTo>
                      <a:pt x="312024" y="0"/>
                    </a:moveTo>
                    <a:lnTo>
                      <a:pt x="0" y="543668"/>
                    </a:lnTo>
                    <a:lnTo>
                      <a:pt x="890000" y="543668"/>
                    </a:lnTo>
                    <a:lnTo>
                      <a:pt x="574513" y="0"/>
                    </a:lnTo>
                    <a:lnTo>
                      <a:pt x="312024" y="0"/>
                    </a:lnTo>
                    <a:close/>
                  </a:path>
                </a:pathLst>
              </a:custGeom>
              <a:solidFill>
                <a:schemeClr val="accent5"/>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3" name="Freeform 52">
                <a:extLst>
                  <a:ext uri="{FF2B5EF4-FFF2-40B4-BE49-F238E27FC236}">
                    <a16:creationId xmlns:a16="http://schemas.microsoft.com/office/drawing/2014/main" id="{71D90DE7-F2BF-D3B6-8ABA-753BB64C7217}"/>
                  </a:ext>
                </a:extLst>
              </p:cNvPr>
              <p:cNvSpPr/>
              <p:nvPr/>
            </p:nvSpPr>
            <p:spPr>
              <a:xfrm>
                <a:off x="7887419" y="730250"/>
                <a:ext cx="879449" cy="543667"/>
              </a:xfrm>
              <a:custGeom>
                <a:avLst/>
                <a:gdLst>
                  <a:gd name="connsiteX0" fmla="*/ 567426 w 879449"/>
                  <a:gd name="connsiteY0" fmla="*/ 543668 h 543667"/>
                  <a:gd name="connsiteX1" fmla="*/ 879449 w 879449"/>
                  <a:gd name="connsiteY1" fmla="*/ 0 h 543667"/>
                  <a:gd name="connsiteX2" fmla="*/ 0 w 879449"/>
                  <a:gd name="connsiteY2" fmla="*/ 0 h 543667"/>
                  <a:gd name="connsiteX3" fmla="*/ 315487 w 879449"/>
                  <a:gd name="connsiteY3" fmla="*/ 543668 h 543667"/>
                  <a:gd name="connsiteX4" fmla="*/ 567426 w 879449"/>
                  <a:gd name="connsiteY4" fmla="*/ 543668 h 54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449" h="543667">
                    <a:moveTo>
                      <a:pt x="567426" y="543668"/>
                    </a:moveTo>
                    <a:lnTo>
                      <a:pt x="879449" y="0"/>
                    </a:lnTo>
                    <a:lnTo>
                      <a:pt x="0" y="0"/>
                    </a:lnTo>
                    <a:lnTo>
                      <a:pt x="315487" y="543668"/>
                    </a:lnTo>
                    <a:lnTo>
                      <a:pt x="567426" y="543668"/>
                    </a:lnTo>
                    <a:close/>
                  </a:path>
                </a:pathLst>
              </a:custGeom>
              <a:solidFill>
                <a:schemeClr val="accent1"/>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4" name="Freeform 53">
                <a:extLst>
                  <a:ext uri="{FF2B5EF4-FFF2-40B4-BE49-F238E27FC236}">
                    <a16:creationId xmlns:a16="http://schemas.microsoft.com/office/drawing/2014/main" id="{5416BCBB-81E0-E746-F180-1105A68A77D8}"/>
                  </a:ext>
                </a:extLst>
              </p:cNvPr>
              <p:cNvSpPr/>
              <p:nvPr/>
            </p:nvSpPr>
            <p:spPr>
              <a:xfrm>
                <a:off x="7397879" y="1572302"/>
                <a:ext cx="756540" cy="770256"/>
              </a:xfrm>
              <a:custGeom>
                <a:avLst/>
                <a:gdLst>
                  <a:gd name="connsiteX0" fmla="*/ 626625 w 756540"/>
                  <a:gd name="connsiteY0" fmla="*/ 0 h 770256"/>
                  <a:gd name="connsiteX1" fmla="*/ 0 w 756540"/>
                  <a:gd name="connsiteY1" fmla="*/ 1531 h 770256"/>
                  <a:gd name="connsiteX2" fmla="*/ 443711 w 756540"/>
                  <a:gd name="connsiteY2" fmla="*/ 770256 h 770256"/>
                  <a:gd name="connsiteX3" fmla="*/ 756540 w 756540"/>
                  <a:gd name="connsiteY3" fmla="*/ 225138 h 770256"/>
                  <a:gd name="connsiteX4" fmla="*/ 626625 w 756540"/>
                  <a:gd name="connsiteY4" fmla="*/ 0 h 770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540" h="770256">
                    <a:moveTo>
                      <a:pt x="626625" y="0"/>
                    </a:moveTo>
                    <a:lnTo>
                      <a:pt x="0" y="1531"/>
                    </a:lnTo>
                    <a:lnTo>
                      <a:pt x="443711" y="770256"/>
                    </a:lnTo>
                    <a:lnTo>
                      <a:pt x="756540" y="225138"/>
                    </a:lnTo>
                    <a:lnTo>
                      <a:pt x="626625" y="0"/>
                    </a:lnTo>
                    <a:close/>
                  </a:path>
                </a:pathLst>
              </a:custGeom>
              <a:solidFill>
                <a:schemeClr val="tx2"/>
              </a:solidFill>
              <a:ln w="8054" cap="flat">
                <a:noFill/>
                <a:prstDash val="solid"/>
                <a:miter/>
              </a:ln>
            </p:spPr>
            <p:txBody>
              <a:bodyPr rtlCol="0" anchor="ctr"/>
              <a:lstStyle/>
              <a:p>
                <a:pPr marL="0" indent="0">
                  <a:buFont typeface="Arial" panose="020B0604020202020204" pitchFamily="34" charset="0"/>
                  <a:buNone/>
                </a:pPr>
                <a:endParaRPr lang="en-US"/>
              </a:p>
            </p:txBody>
          </p:sp>
          <p:sp>
            <p:nvSpPr>
              <p:cNvPr id="55" name="Freeform 54">
                <a:extLst>
                  <a:ext uri="{FF2B5EF4-FFF2-40B4-BE49-F238E27FC236}">
                    <a16:creationId xmlns:a16="http://schemas.microsoft.com/office/drawing/2014/main" id="{EF22FEBA-171F-5F35-FF8B-AEA93595A3A0}"/>
                  </a:ext>
                </a:extLst>
              </p:cNvPr>
              <p:cNvSpPr/>
              <p:nvPr/>
            </p:nvSpPr>
            <p:spPr>
              <a:xfrm>
                <a:off x="8505828" y="1569240"/>
                <a:ext cx="758312" cy="768805"/>
              </a:xfrm>
              <a:custGeom>
                <a:avLst/>
                <a:gdLst>
                  <a:gd name="connsiteX0" fmla="*/ 0 w 758312"/>
                  <a:gd name="connsiteY0" fmla="*/ 226669 h 768805"/>
                  <a:gd name="connsiteX1" fmla="*/ 314682 w 758312"/>
                  <a:gd name="connsiteY1" fmla="*/ 768806 h 768805"/>
                  <a:gd name="connsiteX2" fmla="*/ 758312 w 758312"/>
                  <a:gd name="connsiteY2" fmla="*/ 0 h 768805"/>
                  <a:gd name="connsiteX3" fmla="*/ 129916 w 758312"/>
                  <a:gd name="connsiteY3" fmla="*/ 1531 h 768805"/>
                  <a:gd name="connsiteX4" fmla="*/ 0 w 758312"/>
                  <a:gd name="connsiteY4" fmla="*/ 226669 h 768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12" h="768805">
                    <a:moveTo>
                      <a:pt x="0" y="226669"/>
                    </a:moveTo>
                    <a:lnTo>
                      <a:pt x="314682" y="768806"/>
                    </a:lnTo>
                    <a:lnTo>
                      <a:pt x="758312" y="0"/>
                    </a:lnTo>
                    <a:lnTo>
                      <a:pt x="129916" y="1531"/>
                    </a:lnTo>
                    <a:lnTo>
                      <a:pt x="0" y="226669"/>
                    </a:lnTo>
                    <a:close/>
                  </a:path>
                </a:pathLst>
              </a:custGeom>
              <a:solidFill>
                <a:schemeClr val="tx1"/>
              </a:solidFill>
              <a:ln w="8054" cap="flat">
                <a:noFill/>
                <a:prstDash val="solid"/>
                <a:miter/>
              </a:ln>
            </p:spPr>
            <p:txBody>
              <a:bodyPr rtlCol="0" anchor="ctr"/>
              <a:lstStyle/>
              <a:p>
                <a:pPr marL="0" indent="0">
                  <a:buFont typeface="Arial" panose="020B0604020202020204" pitchFamily="34" charset="0"/>
                  <a:buNone/>
                </a:pPr>
                <a:endParaRPr lang="en-US"/>
              </a:p>
            </p:txBody>
          </p:sp>
        </p:grpSp>
      </p:grpSp>
      <p:sp>
        <p:nvSpPr>
          <p:cNvPr id="60" name="Text Placeholder 49">
            <a:extLst>
              <a:ext uri="{FF2B5EF4-FFF2-40B4-BE49-F238E27FC236}">
                <a16:creationId xmlns:a16="http://schemas.microsoft.com/office/drawing/2014/main" id="{1A3EB3BA-2E32-CE01-73B6-7B1747104B14}"/>
              </a:ext>
            </a:extLst>
          </p:cNvPr>
          <p:cNvSpPr>
            <a:spLocks noGrp="1"/>
          </p:cNvSpPr>
          <p:nvPr>
            <p:ph type="body" sz="quarter" idx="25" hasCustomPrompt="1"/>
          </p:nvPr>
        </p:nvSpPr>
        <p:spPr>
          <a:xfrm>
            <a:off x="914400" y="2992363"/>
            <a:ext cx="3657600" cy="282497"/>
          </a:xfrm>
        </p:spPr>
        <p:txBody>
          <a:bodyPr>
            <a:normAutofit/>
          </a:bodyPr>
          <a:lstStyle>
            <a:lvl1pPr marL="0" indent="0" algn="l">
              <a:buNone/>
              <a:defRPr sz="1400" b="1">
                <a:solidFill>
                  <a:schemeClr val="accent4">
                    <a:lumMod val="75000"/>
                  </a:schemeClr>
                </a:solidFill>
              </a:defRPr>
            </a:lvl1pPr>
          </a:lstStyle>
          <a:p>
            <a:pPr lvl="0"/>
            <a:r>
              <a:rPr lang="en-US"/>
              <a:t>Lorem ipsum dolor</a:t>
            </a:r>
          </a:p>
        </p:txBody>
      </p:sp>
      <p:sp>
        <p:nvSpPr>
          <p:cNvPr id="62" name="Text Placeholder 49">
            <a:extLst>
              <a:ext uri="{FF2B5EF4-FFF2-40B4-BE49-F238E27FC236}">
                <a16:creationId xmlns:a16="http://schemas.microsoft.com/office/drawing/2014/main" id="{A67F4953-ED25-FC75-A20A-7F3BC4396EF0}"/>
              </a:ext>
            </a:extLst>
          </p:cNvPr>
          <p:cNvSpPr>
            <a:spLocks noGrp="1"/>
          </p:cNvSpPr>
          <p:nvPr>
            <p:ph type="body" sz="quarter" idx="27" hasCustomPrompt="1"/>
          </p:nvPr>
        </p:nvSpPr>
        <p:spPr>
          <a:xfrm>
            <a:off x="914400" y="4448719"/>
            <a:ext cx="3657600" cy="282497"/>
          </a:xfrm>
        </p:spPr>
        <p:txBody>
          <a:bodyPr>
            <a:normAutofit/>
          </a:bodyPr>
          <a:lstStyle>
            <a:lvl1pPr marL="0" indent="0" algn="l">
              <a:buNone/>
              <a:defRPr sz="1400" b="1">
                <a:solidFill>
                  <a:schemeClr val="tx2"/>
                </a:solidFill>
              </a:defRPr>
            </a:lvl1pPr>
          </a:lstStyle>
          <a:p>
            <a:pPr lvl="0"/>
            <a:r>
              <a:rPr lang="en-US"/>
              <a:t>Lorem ipsum dolor</a:t>
            </a:r>
          </a:p>
        </p:txBody>
      </p:sp>
      <p:sp>
        <p:nvSpPr>
          <p:cNvPr id="64" name="Text Placeholder 49">
            <a:extLst>
              <a:ext uri="{FF2B5EF4-FFF2-40B4-BE49-F238E27FC236}">
                <a16:creationId xmlns:a16="http://schemas.microsoft.com/office/drawing/2014/main" id="{00C17830-FBA9-2FD8-515E-EEAB08573018}"/>
              </a:ext>
            </a:extLst>
          </p:cNvPr>
          <p:cNvSpPr>
            <a:spLocks noGrp="1"/>
          </p:cNvSpPr>
          <p:nvPr>
            <p:ph type="body" sz="quarter" idx="29" hasCustomPrompt="1"/>
          </p:nvPr>
        </p:nvSpPr>
        <p:spPr>
          <a:xfrm>
            <a:off x="7696200" y="2992363"/>
            <a:ext cx="3657600" cy="282497"/>
          </a:xfrm>
        </p:spPr>
        <p:txBody>
          <a:bodyPr>
            <a:normAutofit/>
          </a:bodyPr>
          <a:lstStyle>
            <a:lvl1pPr marL="0" indent="0" algn="r">
              <a:buNone/>
              <a:defRPr sz="1400" b="1">
                <a:solidFill>
                  <a:schemeClr val="accent4"/>
                </a:solidFill>
              </a:defRPr>
            </a:lvl1pPr>
          </a:lstStyle>
          <a:p>
            <a:pPr lvl="0"/>
            <a:r>
              <a:rPr lang="en-US"/>
              <a:t>Lorem ipsum dolor</a:t>
            </a:r>
          </a:p>
        </p:txBody>
      </p:sp>
      <p:sp>
        <p:nvSpPr>
          <p:cNvPr id="66" name="Text Placeholder 49">
            <a:extLst>
              <a:ext uri="{FF2B5EF4-FFF2-40B4-BE49-F238E27FC236}">
                <a16:creationId xmlns:a16="http://schemas.microsoft.com/office/drawing/2014/main" id="{C224497E-4393-BB1D-F792-E204F622C57B}"/>
              </a:ext>
            </a:extLst>
          </p:cNvPr>
          <p:cNvSpPr>
            <a:spLocks noGrp="1"/>
          </p:cNvSpPr>
          <p:nvPr>
            <p:ph type="body" sz="quarter" idx="31" hasCustomPrompt="1"/>
          </p:nvPr>
        </p:nvSpPr>
        <p:spPr>
          <a:xfrm>
            <a:off x="7696200" y="4448719"/>
            <a:ext cx="3657600" cy="282497"/>
          </a:xfrm>
        </p:spPr>
        <p:txBody>
          <a:bodyPr>
            <a:normAutofit/>
          </a:bodyPr>
          <a:lstStyle>
            <a:lvl1pPr marL="0" indent="0" algn="r">
              <a:buNone/>
              <a:defRPr sz="1400" b="1">
                <a:solidFill>
                  <a:schemeClr val="tx1"/>
                </a:solidFill>
              </a:defRPr>
            </a:lvl1pPr>
          </a:lstStyle>
          <a:p>
            <a:pPr lvl="0"/>
            <a:r>
              <a:rPr lang="en-US"/>
              <a:t>Lorem ipsum dolor</a:t>
            </a:r>
          </a:p>
        </p:txBody>
      </p:sp>
      <p:sp>
        <p:nvSpPr>
          <p:cNvPr id="68" name="Text Placeholder 49">
            <a:extLst>
              <a:ext uri="{FF2B5EF4-FFF2-40B4-BE49-F238E27FC236}">
                <a16:creationId xmlns:a16="http://schemas.microsoft.com/office/drawing/2014/main" id="{53EE0B44-7239-F56A-C82D-9B26C7A3DD48}"/>
              </a:ext>
            </a:extLst>
          </p:cNvPr>
          <p:cNvSpPr>
            <a:spLocks noGrp="1"/>
          </p:cNvSpPr>
          <p:nvPr>
            <p:ph type="body" sz="quarter" idx="33" hasCustomPrompt="1"/>
          </p:nvPr>
        </p:nvSpPr>
        <p:spPr>
          <a:xfrm>
            <a:off x="4297362" y="5773793"/>
            <a:ext cx="3657600" cy="282497"/>
          </a:xfrm>
        </p:spPr>
        <p:txBody>
          <a:bodyPr>
            <a:normAutofit/>
          </a:bodyPr>
          <a:lstStyle>
            <a:lvl1pPr marL="0" indent="0" algn="ctr">
              <a:buNone/>
              <a:defRPr sz="1400" b="1">
                <a:solidFill>
                  <a:schemeClr val="accent4">
                    <a:lumMod val="40000"/>
                    <a:lumOff val="60000"/>
                  </a:schemeClr>
                </a:solidFill>
              </a:defRPr>
            </a:lvl1pPr>
          </a:lstStyle>
          <a:p>
            <a:pPr lvl="0"/>
            <a:r>
              <a:rPr lang="en-US"/>
              <a:t>Lorem ipsum dolor</a:t>
            </a:r>
          </a:p>
        </p:txBody>
      </p:sp>
      <p:sp>
        <p:nvSpPr>
          <p:cNvPr id="70" name="Text Placeholder 49">
            <a:extLst>
              <a:ext uri="{FF2B5EF4-FFF2-40B4-BE49-F238E27FC236}">
                <a16:creationId xmlns:a16="http://schemas.microsoft.com/office/drawing/2014/main" id="{65E30090-D797-F8A4-3DAA-BF62BEC39ECA}"/>
              </a:ext>
            </a:extLst>
          </p:cNvPr>
          <p:cNvSpPr>
            <a:spLocks noGrp="1"/>
          </p:cNvSpPr>
          <p:nvPr>
            <p:ph type="body" sz="quarter" idx="35" hasCustomPrompt="1"/>
          </p:nvPr>
        </p:nvSpPr>
        <p:spPr>
          <a:xfrm>
            <a:off x="4297362" y="1676400"/>
            <a:ext cx="3657600" cy="282497"/>
          </a:xfrm>
        </p:spPr>
        <p:txBody>
          <a:bodyPr>
            <a:normAutofit/>
          </a:bodyPr>
          <a:lstStyle>
            <a:lvl1pPr marL="0" indent="0" algn="ctr">
              <a:buNone/>
              <a:defRPr sz="1400" b="1">
                <a:solidFill>
                  <a:schemeClr val="accent1"/>
                </a:solidFill>
              </a:defRPr>
            </a:lvl1pPr>
          </a:lstStyle>
          <a:p>
            <a:pPr lvl="0"/>
            <a:r>
              <a:rPr lang="en-US"/>
              <a:t>Lorem ipsum dolor</a:t>
            </a:r>
          </a:p>
        </p:txBody>
      </p:sp>
      <p:sp>
        <p:nvSpPr>
          <p:cNvPr id="3" name="Content Placeholder 17">
            <a:extLst>
              <a:ext uri="{FF2B5EF4-FFF2-40B4-BE49-F238E27FC236}">
                <a16:creationId xmlns:a16="http://schemas.microsoft.com/office/drawing/2014/main" id="{8018D6FB-84B8-6656-1958-EC93B6BB6A81}"/>
              </a:ext>
            </a:extLst>
          </p:cNvPr>
          <p:cNvSpPr>
            <a:spLocks noGrp="1"/>
          </p:cNvSpPr>
          <p:nvPr>
            <p:ph sz="quarter" idx="63"/>
          </p:nvPr>
        </p:nvSpPr>
        <p:spPr>
          <a:xfrm>
            <a:off x="9144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0" name="Content Placeholder 17">
            <a:extLst>
              <a:ext uri="{FF2B5EF4-FFF2-40B4-BE49-F238E27FC236}">
                <a16:creationId xmlns:a16="http://schemas.microsoft.com/office/drawing/2014/main" id="{039F294F-4697-EA60-326C-0313625DD9E4}"/>
              </a:ext>
            </a:extLst>
          </p:cNvPr>
          <p:cNvSpPr>
            <a:spLocks noGrp="1"/>
          </p:cNvSpPr>
          <p:nvPr>
            <p:ph sz="quarter" idx="65"/>
          </p:nvPr>
        </p:nvSpPr>
        <p:spPr>
          <a:xfrm>
            <a:off x="7696200" y="33528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6" name="Content Placeholder 17">
            <a:extLst>
              <a:ext uri="{FF2B5EF4-FFF2-40B4-BE49-F238E27FC236}">
                <a16:creationId xmlns:a16="http://schemas.microsoft.com/office/drawing/2014/main" id="{E4EF4A07-04A9-4C41-85C0-9AAEA2AA9F79}"/>
              </a:ext>
            </a:extLst>
          </p:cNvPr>
          <p:cNvSpPr>
            <a:spLocks noGrp="1"/>
          </p:cNvSpPr>
          <p:nvPr>
            <p:ph sz="quarter" idx="66"/>
          </p:nvPr>
        </p:nvSpPr>
        <p:spPr>
          <a:xfrm>
            <a:off x="9144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7" name="Content Placeholder 17">
            <a:extLst>
              <a:ext uri="{FF2B5EF4-FFF2-40B4-BE49-F238E27FC236}">
                <a16:creationId xmlns:a16="http://schemas.microsoft.com/office/drawing/2014/main" id="{508C45EF-EC43-18A8-EFCC-A3D16F4BD3BC}"/>
              </a:ext>
            </a:extLst>
          </p:cNvPr>
          <p:cNvSpPr>
            <a:spLocks noGrp="1"/>
          </p:cNvSpPr>
          <p:nvPr>
            <p:ph sz="quarter" idx="67"/>
          </p:nvPr>
        </p:nvSpPr>
        <p:spPr>
          <a:xfrm>
            <a:off x="7696200" y="4800600"/>
            <a:ext cx="3657600" cy="838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BE020CF3-9BAB-B221-CD07-5F51CBC44D0D}"/>
              </a:ext>
            </a:extLst>
          </p:cNvPr>
          <p:cNvSpPr>
            <a:spLocks noGrp="1"/>
          </p:cNvSpPr>
          <p:nvPr>
            <p:ph sz="quarter" idx="68"/>
          </p:nvPr>
        </p:nvSpPr>
        <p:spPr>
          <a:xfrm>
            <a:off x="4297362" y="19812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
        <p:nvSpPr>
          <p:cNvPr id="19" name="Content Placeholder 17">
            <a:extLst>
              <a:ext uri="{FF2B5EF4-FFF2-40B4-BE49-F238E27FC236}">
                <a16:creationId xmlns:a16="http://schemas.microsoft.com/office/drawing/2014/main" id="{65A92143-8E2C-FEB0-63C4-184A9BF6D99D}"/>
              </a:ext>
            </a:extLst>
          </p:cNvPr>
          <p:cNvSpPr>
            <a:spLocks noGrp="1"/>
          </p:cNvSpPr>
          <p:nvPr>
            <p:ph sz="quarter" idx="69"/>
          </p:nvPr>
        </p:nvSpPr>
        <p:spPr>
          <a:xfrm>
            <a:off x="4297362" y="6096000"/>
            <a:ext cx="3657600" cy="457200"/>
          </a:xfrm>
        </p:spPr>
        <p:txBody>
          <a:bodyPr>
            <a:normAutofit/>
          </a:bodyPr>
          <a:lstStyle>
            <a:lvl1pPr>
              <a:defRPr sz="1400">
                <a:solidFill>
                  <a:schemeClr val="accent4"/>
                </a:solidFill>
              </a:defRPr>
            </a:lvl1pPr>
            <a:lvl3pPr>
              <a:defRPr sz="1400">
                <a:solidFill>
                  <a:schemeClr val="accent4"/>
                </a:solidFill>
              </a:defRPr>
            </a:lvl3pPr>
            <a:lvl4pPr>
              <a:defRPr sz="1400">
                <a:solidFill>
                  <a:schemeClr val="bg2"/>
                </a:solidFill>
              </a:defRPr>
            </a:lvl4pPr>
            <a:lvl5pPr>
              <a:defRPr sz="14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2591030646"/>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1_Thank you layout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839025" y="1391950"/>
            <a:ext cx="10393300" cy="1015663"/>
          </a:xfrm>
          <a:prstGeom prst="rect">
            <a:avLst/>
          </a:prstGeom>
        </p:spPr>
        <p:txBody>
          <a:bodyPr wrap="square" anchor="ctr">
            <a:spAutoFit/>
          </a:bodyPr>
          <a:lstStyle>
            <a:lvl1pPr marL="0" indent="0">
              <a:buNone/>
              <a:defRPr sz="6600" b="0" cap="none" baseline="0">
                <a:solidFill>
                  <a:schemeClr val="tx2"/>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68442" y="650876"/>
            <a:ext cx="1232678" cy="518322"/>
          </a:xfrm>
          <a:prstGeom prst="rect">
            <a:avLst/>
          </a:prstGeom>
        </p:spPr>
      </p:pic>
      <p:sp>
        <p:nvSpPr>
          <p:cNvPr id="5" name="Text Placeholder 4">
            <a:extLst>
              <a:ext uri="{FF2B5EF4-FFF2-40B4-BE49-F238E27FC236}">
                <a16:creationId xmlns:a16="http://schemas.microsoft.com/office/drawing/2014/main" id="{3EEB8C43-C848-DE90-1566-2D3E4C5123AB}"/>
              </a:ext>
            </a:extLst>
          </p:cNvPr>
          <p:cNvSpPr>
            <a:spLocks noGrp="1"/>
          </p:cNvSpPr>
          <p:nvPr>
            <p:ph type="body" sz="quarter" idx="11" hasCustomPrompt="1"/>
          </p:nvPr>
        </p:nvSpPr>
        <p:spPr>
          <a:xfrm>
            <a:off x="932797" y="2842932"/>
            <a:ext cx="8065706" cy="355854"/>
          </a:xfrm>
        </p:spPr>
        <p:txBody>
          <a:bodyPr anchor="ctr"/>
          <a:lstStyle>
            <a:lvl1pPr marL="0" indent="0">
              <a:buNone/>
              <a:defRPr b="1">
                <a:solidFill>
                  <a:schemeClr val="bg1"/>
                </a:solidFill>
              </a:defRPr>
            </a:lvl1pPr>
          </a:lstStyle>
          <a:p>
            <a:pPr lvl="0"/>
            <a:r>
              <a:rPr lang="en-US"/>
              <a:t>Name</a:t>
            </a:r>
          </a:p>
        </p:txBody>
      </p:sp>
      <p:sp>
        <p:nvSpPr>
          <p:cNvPr id="6" name="Text Placeholder 4">
            <a:extLst>
              <a:ext uri="{FF2B5EF4-FFF2-40B4-BE49-F238E27FC236}">
                <a16:creationId xmlns:a16="http://schemas.microsoft.com/office/drawing/2014/main" id="{8041476A-8FF9-4034-8FB0-F3D7A6A135EC}"/>
              </a:ext>
            </a:extLst>
          </p:cNvPr>
          <p:cNvSpPr>
            <a:spLocks noGrp="1"/>
          </p:cNvSpPr>
          <p:nvPr>
            <p:ph type="body" sz="quarter" idx="12" hasCustomPrompt="1"/>
          </p:nvPr>
        </p:nvSpPr>
        <p:spPr>
          <a:xfrm>
            <a:off x="920605" y="3315372"/>
            <a:ext cx="8065706" cy="355854"/>
          </a:xfrm>
        </p:spPr>
        <p:txBody>
          <a:bodyPr anchor="ctr"/>
          <a:lstStyle>
            <a:lvl1pPr marL="0" indent="0">
              <a:buNone/>
              <a:defRPr>
                <a:solidFill>
                  <a:schemeClr val="bg1"/>
                </a:solidFill>
              </a:defRPr>
            </a:lvl1pPr>
          </a:lstStyle>
          <a:p>
            <a:pPr lvl="0"/>
            <a:r>
              <a:rPr lang="en-US"/>
              <a:t>Title</a:t>
            </a:r>
          </a:p>
        </p:txBody>
      </p:sp>
      <p:sp>
        <p:nvSpPr>
          <p:cNvPr id="8" name="Text Placeholder 4">
            <a:extLst>
              <a:ext uri="{FF2B5EF4-FFF2-40B4-BE49-F238E27FC236}">
                <a16:creationId xmlns:a16="http://schemas.microsoft.com/office/drawing/2014/main" id="{C15B972D-114C-6199-6A8D-0BF0E48C2C11}"/>
              </a:ext>
            </a:extLst>
          </p:cNvPr>
          <p:cNvSpPr>
            <a:spLocks noGrp="1"/>
          </p:cNvSpPr>
          <p:nvPr>
            <p:ph type="body" sz="quarter" idx="13" hasCustomPrompt="1"/>
          </p:nvPr>
        </p:nvSpPr>
        <p:spPr>
          <a:xfrm>
            <a:off x="908413" y="3742092"/>
            <a:ext cx="8065706" cy="736854"/>
          </a:xfrm>
        </p:spPr>
        <p:txBody>
          <a:bodyPr anchor="ctr"/>
          <a:lstStyle>
            <a:lvl1pPr marL="0" indent="0">
              <a:buNone/>
              <a:defRPr>
                <a:solidFill>
                  <a:schemeClr val="bg1"/>
                </a:solidFill>
              </a:defRPr>
            </a:lvl1pPr>
          </a:lstStyle>
          <a:p>
            <a:pPr lvl="0"/>
            <a:r>
              <a:rPr lang="en-US"/>
              <a:t>Address Line 1</a:t>
            </a:r>
          </a:p>
          <a:p>
            <a:pPr lvl="0"/>
            <a:r>
              <a:rPr lang="en-US"/>
              <a:t>Address Line 2</a:t>
            </a:r>
          </a:p>
        </p:txBody>
      </p:sp>
      <p:sp>
        <p:nvSpPr>
          <p:cNvPr id="10" name="Text Placeholder 4">
            <a:extLst>
              <a:ext uri="{FF2B5EF4-FFF2-40B4-BE49-F238E27FC236}">
                <a16:creationId xmlns:a16="http://schemas.microsoft.com/office/drawing/2014/main" id="{4E3DDED4-B3C0-E201-4CAB-7178200F3015}"/>
              </a:ext>
            </a:extLst>
          </p:cNvPr>
          <p:cNvSpPr>
            <a:spLocks noGrp="1"/>
          </p:cNvSpPr>
          <p:nvPr>
            <p:ph type="body" sz="quarter" idx="14" hasCustomPrompt="1"/>
          </p:nvPr>
        </p:nvSpPr>
        <p:spPr>
          <a:xfrm>
            <a:off x="902317" y="4558956"/>
            <a:ext cx="8065706" cy="355854"/>
          </a:xfrm>
        </p:spPr>
        <p:txBody>
          <a:bodyPr anchor="ctr"/>
          <a:lstStyle>
            <a:lvl1pPr marL="0" indent="0">
              <a:buNone/>
              <a:defRPr>
                <a:solidFill>
                  <a:schemeClr val="bg1"/>
                </a:solidFill>
              </a:defRPr>
            </a:lvl1pPr>
          </a:lstStyle>
          <a:p>
            <a:pPr lvl="0"/>
            <a:r>
              <a:rPr lang="en-US"/>
              <a:t>Cell</a:t>
            </a:r>
          </a:p>
        </p:txBody>
      </p:sp>
      <p:sp>
        <p:nvSpPr>
          <p:cNvPr id="11" name="Text Placeholder 4">
            <a:extLst>
              <a:ext uri="{FF2B5EF4-FFF2-40B4-BE49-F238E27FC236}">
                <a16:creationId xmlns:a16="http://schemas.microsoft.com/office/drawing/2014/main" id="{A1A10785-2503-6F3A-998A-965A0E2EC2C4}"/>
              </a:ext>
            </a:extLst>
          </p:cNvPr>
          <p:cNvSpPr>
            <a:spLocks noGrp="1"/>
          </p:cNvSpPr>
          <p:nvPr>
            <p:ph type="body" sz="quarter" idx="15" hasCustomPrompt="1"/>
          </p:nvPr>
        </p:nvSpPr>
        <p:spPr>
          <a:xfrm>
            <a:off x="890125" y="5031396"/>
            <a:ext cx="8065706" cy="355854"/>
          </a:xfrm>
        </p:spPr>
        <p:txBody>
          <a:bodyPr anchor="ctr"/>
          <a:lstStyle>
            <a:lvl1pPr marL="0" indent="0">
              <a:buNone/>
              <a:defRPr>
                <a:solidFill>
                  <a:schemeClr val="bg1"/>
                </a:solidFill>
              </a:defRPr>
            </a:lvl1pPr>
          </a:lstStyle>
          <a:p>
            <a:pPr lvl="0"/>
            <a:r>
              <a:rPr lang="en-US"/>
              <a:t>Email</a:t>
            </a:r>
          </a:p>
        </p:txBody>
      </p:sp>
      <p:pic>
        <p:nvPicPr>
          <p:cNvPr id="9" name="Graphic 8">
            <a:extLst>
              <a:ext uri="{FF2B5EF4-FFF2-40B4-BE49-F238E27FC236}">
                <a16:creationId xmlns:a16="http://schemas.microsoft.com/office/drawing/2014/main" id="{4777379C-2BE8-9CB4-109E-C35E6670B9C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49" y="18981"/>
            <a:ext cx="12188351" cy="6839019"/>
          </a:xfrm>
          <a:prstGeom prst="rect">
            <a:avLst/>
          </a:prstGeom>
        </p:spPr>
      </p:pic>
    </p:spTree>
    <p:extLst>
      <p:ext uri="{BB962C8B-B14F-4D97-AF65-F5344CB8AC3E}">
        <p14:creationId xmlns:p14="http://schemas.microsoft.com/office/powerpoint/2010/main" val="1199645301"/>
      </p:ext>
    </p:extLst>
  </p:cSld>
  <p:clrMapOvr>
    <a:masterClrMapping/>
  </p:clrMapOvr>
  <p:extLst>
    <p:ext uri="{DCECCB84-F9BA-43D5-87BE-67443E8EF086}">
      <p15:sldGuideLst xmlns:p15="http://schemas.microsoft.com/office/powerpoint/2012/main"/>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p:cSld name="Thank you layout 2">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2032832285"/>
      </p:ext>
    </p:extLst>
  </p:cSld>
  <p:clrMapOvr>
    <a:masterClrMapping/>
  </p:clrMapOvr>
  <p:extLst>
    <p:ext uri="{DCECCB84-F9BA-43D5-87BE-67443E8EF086}">
      <p15:sldGuideLst xmlns:p15="http://schemas.microsoft.com/office/powerpoint/2012/main"/>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preserve="1">
  <p:cSld name="1_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a:t>
            </a:r>
            <a:r>
              <a:rPr lang="en-US" sz="800" err="1">
                <a:solidFill>
                  <a:schemeClr val="bg1"/>
                </a:solidFill>
                <a:latin typeface="Arial" panose="020B0604020202020204" pitchFamily="34" charset="0"/>
                <a:cs typeface="Arial" panose="020B0604020202020204" pitchFamily="34" charset="0"/>
              </a:rPr>
              <a:t>rsmus.com</a:t>
            </a:r>
            <a:r>
              <a:rPr lang="en-US" sz="800">
                <a:solidFill>
                  <a:schemeClr val="bg1"/>
                </a:solidFill>
                <a:latin typeface="Arial" panose="020B0604020202020204" pitchFamily="34" charset="0"/>
                <a:cs typeface="Arial" panose="020B0604020202020204" pitchFamily="34" charset="0"/>
              </a:rPr>
              <a:t>/</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4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4" name="Graphic 3">
            <a:extLst>
              <a:ext uri="{FF2B5EF4-FFF2-40B4-BE49-F238E27FC236}">
                <a16:creationId xmlns:a16="http://schemas.microsoft.com/office/drawing/2014/main" id="{CBA31D15-6615-B25D-66EC-476A1ED3F4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960" y="4343400"/>
            <a:ext cx="2264219" cy="273593"/>
          </a:xfrm>
          <a:prstGeom prst="rect">
            <a:avLst/>
          </a:prstGeom>
        </p:spPr>
      </p:pic>
    </p:spTree>
    <p:extLst>
      <p:ext uri="{BB962C8B-B14F-4D97-AF65-F5344CB8AC3E}">
        <p14:creationId xmlns:p14="http://schemas.microsoft.com/office/powerpoint/2010/main" val="3646835366"/>
      </p:ext>
    </p:extLst>
  </p:cSld>
  <p:clrMapOvr>
    <a:masterClrMapping/>
  </p:clrMapOvr>
  <p:extLst>
    <p:ext uri="{DCECCB84-F9BA-43D5-87BE-67443E8EF086}">
      <p15:sldGuideLst xmlns:p15="http://schemas.microsoft.com/office/powerpoint/2012/main"/>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matchingName="Agenda, 3 sections">
  <p:cSld name="Agenda, 3 sections">
    <p:spTree>
      <p:nvGrpSpPr>
        <p:cNvPr id="1" name="Shape 2343"/>
        <p:cNvGrpSpPr/>
        <p:nvPr/>
      </p:nvGrpSpPr>
      <p:grpSpPr>
        <a:xfrm>
          <a:off x="0" y="0"/>
          <a:ext cx="0" cy="0"/>
          <a:chOff x="0" y="0"/>
          <a:chExt cx="0" cy="0"/>
        </a:xfrm>
      </p:grpSpPr>
      <p:sp>
        <p:nvSpPr>
          <p:cNvPr id="2344" name="Google Shape;2344;p222"/>
          <p:cNvSpPr txBox="1">
            <a:spLocks noGrp="1"/>
          </p:cNvSpPr>
          <p:nvPr>
            <p:ph type="title"/>
          </p:nvPr>
        </p:nvSpPr>
        <p:spPr>
          <a:xfrm>
            <a:off x="677473" y="3260815"/>
            <a:ext cx="4550400" cy="5008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grpSp>
        <p:nvGrpSpPr>
          <p:cNvPr id="2345" name="Google Shape;2345;p222"/>
          <p:cNvGrpSpPr/>
          <p:nvPr/>
        </p:nvGrpSpPr>
        <p:grpSpPr>
          <a:xfrm>
            <a:off x="5426367" y="1994898"/>
            <a:ext cx="952499" cy="2863540"/>
            <a:chOff x="5426367" y="1960607"/>
            <a:chExt cx="952499" cy="2863540"/>
          </a:xfrm>
        </p:grpSpPr>
        <p:grpSp>
          <p:nvGrpSpPr>
            <p:cNvPr id="2346" name="Google Shape;2346;p222"/>
            <p:cNvGrpSpPr/>
            <p:nvPr/>
          </p:nvGrpSpPr>
          <p:grpSpPr>
            <a:xfrm>
              <a:off x="5434239" y="1960607"/>
              <a:ext cx="750192" cy="607594"/>
              <a:chOff x="5434239" y="1960607"/>
              <a:chExt cx="750192" cy="607594"/>
            </a:xfrm>
          </p:grpSpPr>
          <p:sp>
            <p:nvSpPr>
              <p:cNvPr id="2347" name="Google Shape;2347;p222"/>
              <p:cNvSpPr/>
              <p:nvPr/>
            </p:nvSpPr>
            <p:spPr>
              <a:xfrm>
                <a:off x="5434239" y="1960607"/>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7992" y="474220"/>
                      <a:pt x="231434" y="474220"/>
                    </a:cubicBezTo>
                    <a:cubicBezTo>
                      <a:pt x="314876" y="47422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48" name="Google Shape;2348;p222"/>
              <p:cNvSpPr/>
              <p:nvPr/>
            </p:nvSpPr>
            <p:spPr>
              <a:xfrm>
                <a:off x="5956146" y="1972306"/>
                <a:ext cx="228285" cy="595895"/>
              </a:xfrm>
              <a:custGeom>
                <a:avLst/>
                <a:gdLst/>
                <a:ahLst/>
                <a:cxnLst/>
                <a:rect l="l" t="t" r="r" b="b"/>
                <a:pathLst>
                  <a:path w="228285" h="595895" extrusionOk="0">
                    <a:moveTo>
                      <a:pt x="81081" y="130255"/>
                    </a:moveTo>
                    <a:lnTo>
                      <a:pt x="0" y="130255"/>
                    </a:lnTo>
                    <a:lnTo>
                      <a:pt x="0" y="0"/>
                    </a:lnTo>
                    <a:lnTo>
                      <a:pt x="228285" y="0"/>
                    </a:lnTo>
                    <a:lnTo>
                      <a:pt x="228285" y="595895"/>
                    </a:lnTo>
                    <a:lnTo>
                      <a:pt x="81081" y="595895"/>
                    </a:lnTo>
                    <a:lnTo>
                      <a:pt x="81081" y="130255"/>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49" name="Google Shape;2349;p222"/>
            <p:cNvGrpSpPr/>
            <p:nvPr/>
          </p:nvGrpSpPr>
          <p:grpSpPr>
            <a:xfrm>
              <a:off x="5430303" y="3085460"/>
              <a:ext cx="945414" cy="606035"/>
              <a:chOff x="5430303" y="3085460"/>
              <a:chExt cx="945414" cy="606035"/>
            </a:xfrm>
          </p:grpSpPr>
          <p:sp>
            <p:nvSpPr>
              <p:cNvPr id="2350" name="Google Shape;2350;p222"/>
              <p:cNvSpPr/>
              <p:nvPr/>
            </p:nvSpPr>
            <p:spPr>
              <a:xfrm>
                <a:off x="5430303" y="3086240"/>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60614" y="605255"/>
                      <a:pt x="0" y="478120"/>
                      <a:pt x="0" y="301848"/>
                    </a:cubicBezTo>
                    <a:cubicBezTo>
                      <a:pt x="0" y="127135"/>
                      <a:pt x="60614"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7004"/>
                      <a:pt x="324322" y="301848"/>
                    </a:cubicBezTo>
                    <a:cubicBezTo>
                      <a:pt x="324322" y="210591"/>
                      <a:pt x="314876"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1" name="Google Shape;2351;p222"/>
              <p:cNvSpPr/>
              <p:nvPr/>
            </p:nvSpPr>
            <p:spPr>
              <a:xfrm>
                <a:off x="5960869" y="3085460"/>
                <a:ext cx="414848" cy="599795"/>
              </a:xfrm>
              <a:custGeom>
                <a:avLst/>
                <a:gdLst/>
                <a:ahLst/>
                <a:cxnLst/>
                <a:rect l="l" t="t" r="r" b="b"/>
                <a:pathLst>
                  <a:path w="414848" h="599795" extrusionOk="0">
                    <a:moveTo>
                      <a:pt x="1574" y="496840"/>
                    </a:moveTo>
                    <a:cubicBezTo>
                      <a:pt x="129099" y="392324"/>
                      <a:pt x="265283" y="288588"/>
                      <a:pt x="265283" y="188752"/>
                    </a:cubicBezTo>
                    <a:cubicBezTo>
                      <a:pt x="265283" y="145854"/>
                      <a:pt x="245603" y="117775"/>
                      <a:pt x="203095" y="117775"/>
                    </a:cubicBezTo>
                    <a:cubicBezTo>
                      <a:pt x="161374" y="117775"/>
                      <a:pt x="136184" y="150534"/>
                      <a:pt x="136184" y="206691"/>
                    </a:cubicBezTo>
                    <a:lnTo>
                      <a:pt x="0" y="206691"/>
                    </a:lnTo>
                    <a:cubicBezTo>
                      <a:pt x="3936" y="62397"/>
                      <a:pt x="99186" y="0"/>
                      <a:pt x="208605" y="0"/>
                    </a:cubicBezTo>
                    <a:cubicBezTo>
                      <a:pt x="345576" y="0"/>
                      <a:pt x="406190" y="78777"/>
                      <a:pt x="406190" y="179393"/>
                    </a:cubicBezTo>
                    <a:cubicBezTo>
                      <a:pt x="406190" y="309647"/>
                      <a:pt x="288111" y="414163"/>
                      <a:pt x="192861" y="486700"/>
                    </a:cubicBezTo>
                    <a:lnTo>
                      <a:pt x="414849" y="486700"/>
                    </a:lnTo>
                    <a:lnTo>
                      <a:pt x="414849" y="599795"/>
                    </a:lnTo>
                    <a:lnTo>
                      <a:pt x="1574" y="599795"/>
                    </a:lnTo>
                    <a:lnTo>
                      <a:pt x="1574" y="496840"/>
                    </a:ln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nvGrpSpPr>
            <p:cNvPr id="2352" name="Google Shape;2352;p222"/>
            <p:cNvGrpSpPr/>
            <p:nvPr/>
          </p:nvGrpSpPr>
          <p:grpSpPr>
            <a:xfrm>
              <a:off x="5426367" y="4209533"/>
              <a:ext cx="952499" cy="614614"/>
              <a:chOff x="5426367" y="4209533"/>
              <a:chExt cx="952499" cy="614614"/>
            </a:xfrm>
          </p:grpSpPr>
          <p:sp>
            <p:nvSpPr>
              <p:cNvPr id="2353" name="Google Shape;2353;p222"/>
              <p:cNvSpPr/>
              <p:nvPr/>
            </p:nvSpPr>
            <p:spPr>
              <a:xfrm>
                <a:off x="5426367" y="4211093"/>
                <a:ext cx="462867" cy="605255"/>
              </a:xfrm>
              <a:custGeom>
                <a:avLst/>
                <a:gdLst/>
                <a:ahLst/>
                <a:cxnLst/>
                <a:rect l="l" t="t" r="r" b="b"/>
                <a:pathLst>
                  <a:path w="462867" h="605255" extrusionOk="0">
                    <a:moveTo>
                      <a:pt x="231434" y="0"/>
                    </a:moveTo>
                    <a:cubicBezTo>
                      <a:pt x="403041" y="0"/>
                      <a:pt x="462868" y="127135"/>
                      <a:pt x="462868" y="301848"/>
                    </a:cubicBezTo>
                    <a:cubicBezTo>
                      <a:pt x="462868" y="478120"/>
                      <a:pt x="403041" y="605255"/>
                      <a:pt x="231434" y="605255"/>
                    </a:cubicBezTo>
                    <a:cubicBezTo>
                      <a:pt x="59826" y="605255"/>
                      <a:pt x="0" y="478120"/>
                      <a:pt x="0" y="301848"/>
                    </a:cubicBezTo>
                    <a:cubicBezTo>
                      <a:pt x="0" y="127135"/>
                      <a:pt x="59826" y="0"/>
                      <a:pt x="231434" y="0"/>
                    </a:cubicBezTo>
                    <a:close/>
                    <a:moveTo>
                      <a:pt x="231434" y="130255"/>
                    </a:moveTo>
                    <a:cubicBezTo>
                      <a:pt x="147992" y="130255"/>
                      <a:pt x="138545" y="210591"/>
                      <a:pt x="138545" y="301848"/>
                    </a:cubicBezTo>
                    <a:cubicBezTo>
                      <a:pt x="138545" y="396224"/>
                      <a:pt x="148779" y="475000"/>
                      <a:pt x="231434" y="475000"/>
                    </a:cubicBezTo>
                    <a:cubicBezTo>
                      <a:pt x="314089" y="475000"/>
                      <a:pt x="324322" y="396224"/>
                      <a:pt x="324322" y="301848"/>
                    </a:cubicBezTo>
                    <a:cubicBezTo>
                      <a:pt x="324322" y="210591"/>
                      <a:pt x="314089" y="130255"/>
                      <a:pt x="231434" y="130255"/>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sp>
            <p:nvSpPr>
              <p:cNvPr id="2354" name="Google Shape;2354;p222"/>
              <p:cNvSpPr/>
              <p:nvPr/>
            </p:nvSpPr>
            <p:spPr>
              <a:xfrm>
                <a:off x="5960869" y="4209533"/>
                <a:ext cx="417997" cy="614614"/>
              </a:xfrm>
              <a:custGeom>
                <a:avLst/>
                <a:gdLst/>
                <a:ahLst/>
                <a:cxnLst/>
                <a:rect l="l" t="t" r="r" b="b"/>
                <a:pathLst>
                  <a:path w="417997" h="614614" extrusionOk="0">
                    <a:moveTo>
                      <a:pt x="211754" y="0"/>
                    </a:moveTo>
                    <a:cubicBezTo>
                      <a:pt x="338492" y="0"/>
                      <a:pt x="406977" y="71757"/>
                      <a:pt x="406977" y="161453"/>
                    </a:cubicBezTo>
                    <a:cubicBezTo>
                      <a:pt x="406977" y="239450"/>
                      <a:pt x="357384" y="281568"/>
                      <a:pt x="316450" y="295608"/>
                    </a:cubicBezTo>
                    <a:lnTo>
                      <a:pt x="316450" y="298728"/>
                    </a:lnTo>
                    <a:cubicBezTo>
                      <a:pt x="376277" y="318227"/>
                      <a:pt x="417998" y="364245"/>
                      <a:pt x="417998" y="442242"/>
                    </a:cubicBezTo>
                    <a:cubicBezTo>
                      <a:pt x="417998" y="542858"/>
                      <a:pt x="345576" y="614615"/>
                      <a:pt x="219626" y="614615"/>
                    </a:cubicBezTo>
                    <a:cubicBezTo>
                      <a:pt x="94463" y="614615"/>
                      <a:pt x="3936" y="556117"/>
                      <a:pt x="0" y="421183"/>
                    </a:cubicBezTo>
                    <a:lnTo>
                      <a:pt x="136184" y="421183"/>
                    </a:lnTo>
                    <a:cubicBezTo>
                      <a:pt x="136971" y="467981"/>
                      <a:pt x="162161" y="498399"/>
                      <a:pt x="214116" y="498399"/>
                    </a:cubicBezTo>
                    <a:cubicBezTo>
                      <a:pt x="257411" y="498399"/>
                      <a:pt x="281814" y="470321"/>
                      <a:pt x="281814" y="431322"/>
                    </a:cubicBezTo>
                    <a:cubicBezTo>
                      <a:pt x="281814" y="378284"/>
                      <a:pt x="249539" y="357225"/>
                      <a:pt x="176331" y="357225"/>
                    </a:cubicBezTo>
                    <a:lnTo>
                      <a:pt x="150353" y="357225"/>
                    </a:lnTo>
                    <a:lnTo>
                      <a:pt x="150353" y="243350"/>
                    </a:lnTo>
                    <a:lnTo>
                      <a:pt x="176331" y="243350"/>
                    </a:lnTo>
                    <a:cubicBezTo>
                      <a:pt x="224349" y="243350"/>
                      <a:pt x="270006" y="231650"/>
                      <a:pt x="270006" y="177833"/>
                    </a:cubicBezTo>
                    <a:cubicBezTo>
                      <a:pt x="270006" y="138054"/>
                      <a:pt x="246390" y="116215"/>
                      <a:pt x="208605" y="116215"/>
                    </a:cubicBezTo>
                    <a:cubicBezTo>
                      <a:pt x="162948" y="116215"/>
                      <a:pt x="147205" y="148974"/>
                      <a:pt x="144056" y="181733"/>
                    </a:cubicBezTo>
                    <a:lnTo>
                      <a:pt x="7085" y="181733"/>
                    </a:lnTo>
                    <a:cubicBezTo>
                      <a:pt x="11808" y="63957"/>
                      <a:pt x="88952" y="0"/>
                      <a:pt x="211754" y="0"/>
                    </a:cubicBezTo>
                    <a:close/>
                  </a:path>
                </a:pathLst>
              </a:custGeom>
              <a:gradFill>
                <a:gsLst>
                  <a:gs pos="0">
                    <a:schemeClr val="accent2"/>
                  </a:gs>
                  <a:gs pos="32000">
                    <a:schemeClr val="accent2"/>
                  </a:gs>
                  <a:gs pos="100000">
                    <a:schemeClr val="accent1"/>
                  </a:gs>
                </a:gsLst>
                <a:lin ang="18599929"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Arial"/>
                  <a:ea typeface="Arial"/>
                  <a:cs typeface="Arial"/>
                  <a:sym typeface="Arial"/>
                </a:endParaRPr>
              </a:p>
            </p:txBody>
          </p:sp>
        </p:grpSp>
      </p:grpSp>
      <p:sp>
        <p:nvSpPr>
          <p:cNvPr id="2355" name="Google Shape;2355;p222"/>
          <p:cNvSpPr/>
          <p:nvPr/>
        </p:nvSpPr>
        <p:spPr>
          <a:xfrm rot="-5400000">
            <a:off x="801433" y="2992200"/>
            <a:ext cx="76000" cy="409600"/>
          </a:xfrm>
          <a:prstGeom prst="roundRect">
            <a:avLst>
              <a:gd name="adj" fmla="val 50000"/>
            </a:avLst>
          </a:prstGeom>
          <a:gradFill>
            <a:gsLst>
              <a:gs pos="0">
                <a:schemeClr val="accent2"/>
              </a:gs>
              <a:gs pos="100000">
                <a:schemeClr val="accent1"/>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56" name="Google Shape;2356;p222"/>
          <p:cNvSpPr txBox="1">
            <a:spLocks noGrp="1"/>
          </p:cNvSpPr>
          <p:nvPr>
            <p:ph type="body" idx="1"/>
          </p:nvPr>
        </p:nvSpPr>
        <p:spPr>
          <a:xfrm>
            <a:off x="6656933" y="1890667"/>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7" name="Google Shape;2357;p222"/>
          <p:cNvSpPr txBox="1">
            <a:spLocks noGrp="1"/>
          </p:cNvSpPr>
          <p:nvPr>
            <p:ph type="body" idx="2"/>
          </p:nvPr>
        </p:nvSpPr>
        <p:spPr>
          <a:xfrm>
            <a:off x="6656933" y="3016788"/>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2358" name="Google Shape;2358;p222"/>
          <p:cNvSpPr txBox="1">
            <a:spLocks noGrp="1"/>
          </p:cNvSpPr>
          <p:nvPr>
            <p:ph type="body" idx="3"/>
          </p:nvPr>
        </p:nvSpPr>
        <p:spPr>
          <a:xfrm>
            <a:off x="6656933" y="4142911"/>
            <a:ext cx="4910400" cy="750800"/>
          </a:xfrm>
          <a:prstGeom prst="rect">
            <a:avLst/>
          </a:prstGeom>
          <a:noFill/>
          <a:ln>
            <a:noFill/>
          </a:ln>
        </p:spPr>
        <p:txBody>
          <a:bodyPr spcFirstLastPara="1" wrap="square" lIns="0" tIns="34275" rIns="68575" bIns="34275" anchor="ctr" anchorCtr="0">
            <a:noAutofit/>
          </a:bodyPr>
          <a:lstStyle>
            <a:lvl1pPr marL="609585" lvl="0" indent="-304792" algn="l" rtl="0">
              <a:lnSpc>
                <a:spcPct val="110000"/>
              </a:lnSpc>
              <a:spcBef>
                <a:spcPts val="1200"/>
              </a:spcBef>
              <a:spcAft>
                <a:spcPts val="0"/>
              </a:spcAft>
              <a:buSzPts val="1700"/>
              <a:buNone/>
              <a:defRPr sz="2267"/>
            </a:lvl1pPr>
            <a:lvl2pPr marL="1219170" lvl="1" indent="-423323" algn="l" rtl="0">
              <a:lnSpc>
                <a:spcPct val="100000"/>
              </a:lnSpc>
              <a:spcBef>
                <a:spcPts val="1200"/>
              </a:spcBef>
              <a:spcAft>
                <a:spcPts val="0"/>
              </a:spcAft>
              <a:buSzPts val="1400"/>
              <a:buChar char="•"/>
              <a:defRPr/>
            </a:lvl2pPr>
            <a:lvl3pPr marL="1828754" lvl="2" indent="-423323" algn="l" rtl="0">
              <a:lnSpc>
                <a:spcPct val="100000"/>
              </a:lnSpc>
              <a:spcBef>
                <a:spcPts val="1200"/>
              </a:spcBef>
              <a:spcAft>
                <a:spcPts val="0"/>
              </a:spcAft>
              <a:buSzPts val="1400"/>
              <a:buChar char="•"/>
              <a:defRPr/>
            </a:lvl3pPr>
            <a:lvl4pPr marL="2438339" lvl="3" indent="-423323" algn="l" rtl="0">
              <a:lnSpc>
                <a:spcPct val="100000"/>
              </a:lnSpc>
              <a:spcBef>
                <a:spcPts val="1200"/>
              </a:spcBef>
              <a:spcAft>
                <a:spcPts val="0"/>
              </a:spcAft>
              <a:buSzPts val="1400"/>
              <a:buChar char="•"/>
              <a:defRPr/>
            </a:lvl4pPr>
            <a:lvl5pPr marL="3047924" lvl="4" indent="-423323" algn="l" rtl="0">
              <a:lnSpc>
                <a:spcPct val="9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269153654"/>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userDrawn="1">
  <p:cSld name="Blank">
    <p:bg>
      <p:bgRef idx="1001">
        <a:schemeClr val="bg1"/>
      </p:bgRef>
    </p:bg>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387084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slide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427027598"/>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47254711"/>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cSld name="3_Create Layou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0"/>
          </p:nvPr>
        </p:nvSpPr>
        <p:spPr/>
        <p:txBody>
          <a:bodyPr/>
          <a:lstStyle/>
          <a:p>
            <a:fld id="{59982661-8095-4F36-B003-38F8D9469F79}" type="slidenum">
              <a:rPr lang="en-GB" smtClean="0"/>
              <a:t>‹#›</a:t>
            </a:fld>
            <a:endParaRPr lang="en-GB"/>
          </a:p>
        </p:txBody>
      </p:sp>
      <p:sp>
        <p:nvSpPr>
          <p:cNvPr id="26" name="Content Placeholder 1"/>
          <p:cNvSpPr>
            <a:spLocks noGrp="1"/>
          </p:cNvSpPr>
          <p:nvPr>
            <p:ph idx="31"/>
            <p:custDataLst>
              <p:tags r:id="rId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2"/>
          <p:cNvSpPr>
            <a:spLocks noGrp="1"/>
          </p:cNvSpPr>
          <p:nvPr>
            <p:ph idx="11"/>
            <p:custDataLst>
              <p:tags r:id="rId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idx="12"/>
            <p:custDataLst>
              <p:tags r:id="rId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p:cNvSpPr>
            <a:spLocks noGrp="1"/>
          </p:cNvSpPr>
          <p:nvPr>
            <p:ph idx="13"/>
            <p:custDataLst>
              <p:tags r:id="rId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5"/>
          <p:cNvSpPr>
            <a:spLocks noGrp="1"/>
          </p:cNvSpPr>
          <p:nvPr>
            <p:ph idx="14"/>
            <p:custDataLst>
              <p:tags r:id="rId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p:cNvSpPr>
            <a:spLocks noGrp="1"/>
          </p:cNvSpPr>
          <p:nvPr>
            <p:ph idx="15"/>
            <p:custDataLst>
              <p:tags r:id="rId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7"/>
          <p:cNvSpPr>
            <a:spLocks noGrp="1"/>
          </p:cNvSpPr>
          <p:nvPr>
            <p:ph idx="16"/>
            <p:custDataLst>
              <p:tags r:id="rId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8"/>
          <p:cNvSpPr>
            <a:spLocks noGrp="1"/>
          </p:cNvSpPr>
          <p:nvPr>
            <p:ph idx="17"/>
            <p:custDataLst>
              <p:tags r:id="rId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p:cNvSpPr>
            <a:spLocks noGrp="1"/>
          </p:cNvSpPr>
          <p:nvPr>
            <p:ph idx="18"/>
            <p:custDataLst>
              <p:tags r:id="rId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0"/>
          <p:cNvSpPr>
            <a:spLocks noGrp="1"/>
          </p:cNvSpPr>
          <p:nvPr>
            <p:ph idx="19"/>
            <p:custDataLst>
              <p:tags r:id="rId10"/>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1"/>
          <p:cNvSpPr>
            <a:spLocks noGrp="1"/>
          </p:cNvSpPr>
          <p:nvPr>
            <p:ph idx="20"/>
            <p:custDataLst>
              <p:tags r:id="rId11"/>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12"/>
          <p:cNvSpPr>
            <a:spLocks noGrp="1"/>
          </p:cNvSpPr>
          <p:nvPr>
            <p:ph idx="21"/>
            <p:custDataLst>
              <p:tags r:id="rId12"/>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3"/>
          <p:cNvSpPr>
            <a:spLocks noGrp="1"/>
          </p:cNvSpPr>
          <p:nvPr>
            <p:ph idx="22"/>
            <p:custDataLst>
              <p:tags r:id="rId13"/>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4"/>
          <p:cNvSpPr>
            <a:spLocks noGrp="1"/>
          </p:cNvSpPr>
          <p:nvPr>
            <p:ph idx="23"/>
            <p:custDataLst>
              <p:tags r:id="rId14"/>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5"/>
          <p:cNvSpPr>
            <a:spLocks noGrp="1"/>
          </p:cNvSpPr>
          <p:nvPr>
            <p:ph idx="24"/>
            <p:custDataLst>
              <p:tags r:id="rId15"/>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6"/>
          <p:cNvSpPr>
            <a:spLocks noGrp="1"/>
          </p:cNvSpPr>
          <p:nvPr>
            <p:ph idx="25"/>
            <p:custDataLst>
              <p:tags r:id="rId16"/>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7"/>
          <p:cNvSpPr>
            <a:spLocks noGrp="1"/>
          </p:cNvSpPr>
          <p:nvPr>
            <p:ph idx="26"/>
            <p:custDataLst>
              <p:tags r:id="rId17"/>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8"/>
          <p:cNvSpPr>
            <a:spLocks noGrp="1"/>
          </p:cNvSpPr>
          <p:nvPr>
            <p:ph idx="27"/>
            <p:custDataLst>
              <p:tags r:id="rId18"/>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9"/>
          <p:cNvSpPr>
            <a:spLocks noGrp="1"/>
          </p:cNvSpPr>
          <p:nvPr>
            <p:ph idx="28"/>
            <p:custDataLst>
              <p:tags r:id="rId19"/>
            </p:custDataLst>
          </p:nvPr>
        </p:nvSpPr>
        <p:spPr>
          <a:xfrm>
            <a:off x="12372623" y="1515533"/>
            <a:ext cx="480000" cy="3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p:cNvSpPr>
            <a:spLocks noGrp="1"/>
          </p:cNvSpPr>
          <p:nvPr>
            <p:ph idx="32"/>
            <p:custDataLst>
              <p:tags r:id="rId20"/>
            </p:custDataLst>
          </p:nvPr>
        </p:nvSpPr>
        <p:spPr>
          <a:xfrm>
            <a:off x="336063" y="1335600"/>
            <a:ext cx="11519879" cy="4838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5990421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2_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4" name="Rectangle 3">
            <a:extLst>
              <a:ext uri="{FF2B5EF4-FFF2-40B4-BE49-F238E27FC236}">
                <a16:creationId xmlns:a16="http://schemas.microsoft.com/office/drawing/2014/main" id="{52408627-7E4A-AE1F-9D3B-E2CFB1302B9D}"/>
              </a:ext>
            </a:extLst>
          </p:cNvPr>
          <p:cNvSpPr/>
          <p:nvPr userDrawn="1"/>
        </p:nvSpPr>
        <p:spPr>
          <a:xfrm>
            <a:off x="1" y="2"/>
            <a:ext cx="12192000" cy="114831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19"/>
          </a:p>
        </p:txBody>
      </p:sp>
      <p:pic>
        <p:nvPicPr>
          <p:cNvPr id="6" name="Picture 5">
            <a:extLst>
              <a:ext uri="{FF2B5EF4-FFF2-40B4-BE49-F238E27FC236}">
                <a16:creationId xmlns:a16="http://schemas.microsoft.com/office/drawing/2014/main" id="{A7BE00A2-4F44-C99F-80BF-49B79A8D4BA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145366" y="145676"/>
            <a:ext cx="953706" cy="400907"/>
          </a:xfrm>
          <a:prstGeom prst="rect">
            <a:avLst/>
          </a:prstGeom>
        </p:spPr>
      </p:pic>
      <p:pic>
        <p:nvPicPr>
          <p:cNvPr id="8" name="Picture 7">
            <a:extLst>
              <a:ext uri="{FF2B5EF4-FFF2-40B4-BE49-F238E27FC236}">
                <a16:creationId xmlns:a16="http://schemas.microsoft.com/office/drawing/2014/main" id="{2BCB36EC-6919-DDA7-DEF5-71FEB2AB23B4}"/>
              </a:ext>
            </a:extLst>
          </p:cNvPr>
          <p:cNvPicPr>
            <a:picLocks noChangeAspect="1"/>
          </p:cNvPicPr>
          <p:nvPr userDrawn="1"/>
        </p:nvPicPr>
        <p:blipFill>
          <a:blip r:embed="rId6"/>
          <a:srcRect t="18429" b="18429"/>
          <a:stretch/>
        </p:blipFill>
        <p:spPr>
          <a:xfrm>
            <a:off x="8227891" y="2"/>
            <a:ext cx="3964110" cy="1148314"/>
          </a:xfrm>
          <a:custGeom>
            <a:avLst/>
            <a:gdLst>
              <a:gd name="connsiteX0" fmla="*/ 1035847 w 5054240"/>
              <a:gd name="connsiteY0" fmla="*/ 1710657 h 2128225"/>
              <a:gd name="connsiteX1" fmla="*/ 1035847 w 5054240"/>
              <a:gd name="connsiteY1" fmla="*/ 1817977 h 2128225"/>
              <a:gd name="connsiteX2" fmla="*/ 1086228 w 5054240"/>
              <a:gd name="connsiteY2" fmla="*/ 1817977 h 2128225"/>
              <a:gd name="connsiteX3" fmla="*/ 1086228 w 5054240"/>
              <a:gd name="connsiteY3" fmla="*/ 1710657 h 2128225"/>
              <a:gd name="connsiteX4" fmla="*/ 407851 w 5054240"/>
              <a:gd name="connsiteY4" fmla="*/ 1710270 h 2128225"/>
              <a:gd name="connsiteX5" fmla="*/ 497431 w 5054240"/>
              <a:gd name="connsiteY5" fmla="*/ 1710270 h 2128225"/>
              <a:gd name="connsiteX6" fmla="*/ 497431 w 5054240"/>
              <a:gd name="connsiteY6" fmla="*/ 1817588 h 2128225"/>
              <a:gd name="connsiteX7" fmla="*/ 407851 w 5054240"/>
              <a:gd name="connsiteY7" fmla="*/ 1817588 h 2128225"/>
              <a:gd name="connsiteX8" fmla="*/ 1551304 w 5054240"/>
              <a:gd name="connsiteY8" fmla="*/ 1602717 h 2128225"/>
              <a:gd name="connsiteX9" fmla="*/ 1551304 w 5054240"/>
              <a:gd name="connsiteY9" fmla="*/ 1710037 h 2128225"/>
              <a:gd name="connsiteX10" fmla="*/ 1640885 w 5054240"/>
              <a:gd name="connsiteY10" fmla="*/ 1710037 h 2128225"/>
              <a:gd name="connsiteX11" fmla="*/ 1640885 w 5054240"/>
              <a:gd name="connsiteY11" fmla="*/ 1602717 h 2128225"/>
              <a:gd name="connsiteX12" fmla="*/ 1253272 w 5054240"/>
              <a:gd name="connsiteY12" fmla="*/ 1602717 h 2128225"/>
              <a:gd name="connsiteX13" fmla="*/ 1253357 w 5054240"/>
              <a:gd name="connsiteY13" fmla="*/ 1602794 h 2128225"/>
              <a:gd name="connsiteX14" fmla="*/ 1253144 w 5054240"/>
              <a:gd name="connsiteY14" fmla="*/ 1602988 h 2128225"/>
              <a:gd name="connsiteX15" fmla="*/ 1253102 w 5054240"/>
              <a:gd name="connsiteY15" fmla="*/ 1602988 h 2128225"/>
              <a:gd name="connsiteX16" fmla="*/ 1253102 w 5054240"/>
              <a:gd name="connsiteY16" fmla="*/ 1710657 h 2128225"/>
              <a:gd name="connsiteX17" fmla="*/ 1303100 w 5054240"/>
              <a:gd name="connsiteY17" fmla="*/ 1710657 h 2128225"/>
              <a:gd name="connsiteX18" fmla="*/ 1303100 w 5054240"/>
              <a:gd name="connsiteY18" fmla="*/ 1602717 h 2128225"/>
              <a:gd name="connsiteX19" fmla="*/ 2480990 w 5054240"/>
              <a:gd name="connsiteY19" fmla="*/ 1280526 h 2128225"/>
              <a:gd name="connsiteX20" fmla="*/ 2480990 w 5054240"/>
              <a:gd name="connsiteY20" fmla="*/ 1387845 h 2128225"/>
              <a:gd name="connsiteX21" fmla="*/ 2531371 w 5054240"/>
              <a:gd name="connsiteY21" fmla="*/ 1387845 h 2128225"/>
              <a:gd name="connsiteX22" fmla="*/ 2531371 w 5054240"/>
              <a:gd name="connsiteY22" fmla="*/ 1280526 h 2128225"/>
              <a:gd name="connsiteX23" fmla="*/ 1925144 w 5054240"/>
              <a:gd name="connsiteY23" fmla="*/ 1173439 h 2128225"/>
              <a:gd name="connsiteX24" fmla="*/ 2149072 w 5054240"/>
              <a:gd name="connsiteY24" fmla="*/ 1173439 h 2128225"/>
              <a:gd name="connsiteX25" fmla="*/ 2149072 w 5054240"/>
              <a:gd name="connsiteY25" fmla="*/ 1280758 h 2128225"/>
              <a:gd name="connsiteX26" fmla="*/ 1925144 w 5054240"/>
              <a:gd name="connsiteY26" fmla="*/ 1280758 h 2128225"/>
              <a:gd name="connsiteX27" fmla="*/ 1785182 w 5054240"/>
              <a:gd name="connsiteY27" fmla="*/ 1173439 h 2128225"/>
              <a:gd name="connsiteX28" fmla="*/ 1874763 w 5054240"/>
              <a:gd name="connsiteY28" fmla="*/ 1173439 h 2128225"/>
              <a:gd name="connsiteX29" fmla="*/ 1874763 w 5054240"/>
              <a:gd name="connsiteY29" fmla="*/ 1280758 h 2128225"/>
              <a:gd name="connsiteX30" fmla="*/ 1785182 w 5054240"/>
              <a:gd name="connsiteY30" fmla="*/ 1280758 h 2128225"/>
              <a:gd name="connsiteX31" fmla="*/ 3252434 w 5054240"/>
              <a:gd name="connsiteY31" fmla="*/ 1066081 h 2128225"/>
              <a:gd name="connsiteX32" fmla="*/ 3252434 w 5054240"/>
              <a:gd name="connsiteY32" fmla="*/ 1173400 h 2128225"/>
              <a:gd name="connsiteX33" fmla="*/ 3302814 w 5054240"/>
              <a:gd name="connsiteY33" fmla="*/ 1173400 h 2128225"/>
              <a:gd name="connsiteX34" fmla="*/ 3302814 w 5054240"/>
              <a:gd name="connsiteY34" fmla="*/ 1066081 h 2128225"/>
              <a:gd name="connsiteX35" fmla="*/ 3365057 w 5054240"/>
              <a:gd name="connsiteY35" fmla="*/ 958762 h 2128225"/>
              <a:gd name="connsiteX36" fmla="*/ 3365057 w 5054240"/>
              <a:gd name="connsiteY36" fmla="*/ 1066081 h 2128225"/>
              <a:gd name="connsiteX37" fmla="*/ 3454638 w 5054240"/>
              <a:gd name="connsiteY37" fmla="*/ 1066081 h 2128225"/>
              <a:gd name="connsiteX38" fmla="*/ 3454638 w 5054240"/>
              <a:gd name="connsiteY38" fmla="*/ 958762 h 2128225"/>
              <a:gd name="connsiteX39" fmla="*/ 4110141 w 5054240"/>
              <a:gd name="connsiteY39" fmla="*/ 745131 h 2128225"/>
              <a:gd name="connsiteX40" fmla="*/ 4110141 w 5054240"/>
              <a:gd name="connsiteY40" fmla="*/ 851442 h 2128225"/>
              <a:gd name="connsiteX41" fmla="*/ 4191814 w 5054240"/>
              <a:gd name="connsiteY41" fmla="*/ 851442 h 2128225"/>
              <a:gd name="connsiteX42" fmla="*/ 4191814 w 5054240"/>
              <a:gd name="connsiteY42" fmla="*/ 745131 h 2128225"/>
              <a:gd name="connsiteX43" fmla="*/ 3510673 w 5054240"/>
              <a:gd name="connsiteY43" fmla="*/ 637851 h 2128225"/>
              <a:gd name="connsiteX44" fmla="*/ 3600253 w 5054240"/>
              <a:gd name="connsiteY44" fmla="*/ 637851 h 2128225"/>
              <a:gd name="connsiteX45" fmla="*/ 3600253 w 5054240"/>
              <a:gd name="connsiteY45" fmla="*/ 745170 h 2128225"/>
              <a:gd name="connsiteX46" fmla="*/ 3510673 w 5054240"/>
              <a:gd name="connsiteY46" fmla="*/ 745170 h 2128225"/>
              <a:gd name="connsiteX47" fmla="*/ 3874563 w 5054240"/>
              <a:gd name="connsiteY47" fmla="*/ 637812 h 2128225"/>
              <a:gd name="connsiteX48" fmla="*/ 3874563 w 5054240"/>
              <a:gd name="connsiteY48" fmla="*/ 744122 h 2128225"/>
              <a:gd name="connsiteX49" fmla="*/ 3924944 w 5054240"/>
              <a:gd name="connsiteY49" fmla="*/ 744122 h 2128225"/>
              <a:gd name="connsiteX50" fmla="*/ 3924944 w 5054240"/>
              <a:gd name="connsiteY50" fmla="*/ 637812 h 2128225"/>
              <a:gd name="connsiteX51" fmla="*/ 4748596 w 5054240"/>
              <a:gd name="connsiteY51" fmla="*/ 315893 h 2128225"/>
              <a:gd name="connsiteX52" fmla="*/ 4748596 w 5054240"/>
              <a:gd name="connsiteY52" fmla="*/ 423174 h 2128225"/>
              <a:gd name="connsiteX53" fmla="*/ 4798978 w 5054240"/>
              <a:gd name="connsiteY53" fmla="*/ 423174 h 2128225"/>
              <a:gd name="connsiteX54" fmla="*/ 4798978 w 5054240"/>
              <a:gd name="connsiteY54" fmla="*/ 315893 h 2128225"/>
              <a:gd name="connsiteX55" fmla="*/ 4798382 w 5054240"/>
              <a:gd name="connsiteY55" fmla="*/ 101253 h 2128225"/>
              <a:gd name="connsiteX56" fmla="*/ 4846806 w 5054240"/>
              <a:gd name="connsiteY56" fmla="*/ 101253 h 2128225"/>
              <a:gd name="connsiteX57" fmla="*/ 4846806 w 5054240"/>
              <a:gd name="connsiteY57" fmla="*/ 208573 h 2128225"/>
              <a:gd name="connsiteX58" fmla="*/ 4938342 w 5054240"/>
              <a:gd name="connsiteY58" fmla="*/ 208573 h 2128225"/>
              <a:gd name="connsiteX59" fmla="*/ 4938342 w 5054240"/>
              <a:gd name="connsiteY59" fmla="*/ 315853 h 2128225"/>
              <a:gd name="connsiteX60" fmla="*/ 4988724 w 5054240"/>
              <a:gd name="connsiteY60" fmla="*/ 315853 h 2128225"/>
              <a:gd name="connsiteX61" fmla="*/ 4988724 w 5054240"/>
              <a:gd name="connsiteY61" fmla="*/ 208573 h 2128225"/>
              <a:gd name="connsiteX62" fmla="*/ 5054198 w 5054240"/>
              <a:gd name="connsiteY62" fmla="*/ 208573 h 2128225"/>
              <a:gd name="connsiteX63" fmla="*/ 5054198 w 5054240"/>
              <a:gd name="connsiteY63" fmla="*/ 2128225 h 2128225"/>
              <a:gd name="connsiteX64" fmla="*/ 0 w 5054240"/>
              <a:gd name="connsiteY64" fmla="*/ 2128225 h 2128225"/>
              <a:gd name="connsiteX65" fmla="*/ 0 w 5054240"/>
              <a:gd name="connsiteY65" fmla="*/ 1924598 h 2128225"/>
              <a:gd name="connsiteX66" fmla="*/ 238597 w 5054240"/>
              <a:gd name="connsiteY66" fmla="*/ 1924598 h 2128225"/>
              <a:gd name="connsiteX67" fmla="*/ 238597 w 5054240"/>
              <a:gd name="connsiteY67" fmla="*/ 1817588 h 2128225"/>
              <a:gd name="connsiteX68" fmla="*/ 407851 w 5054240"/>
              <a:gd name="connsiteY68" fmla="*/ 1817588 h 2128225"/>
              <a:gd name="connsiteX69" fmla="*/ 407851 w 5054240"/>
              <a:gd name="connsiteY69" fmla="*/ 1924714 h 2128225"/>
              <a:gd name="connsiteX70" fmla="*/ 547812 w 5054240"/>
              <a:gd name="connsiteY70" fmla="*/ 1924714 h 2128225"/>
              <a:gd name="connsiteX71" fmla="*/ 547812 w 5054240"/>
              <a:gd name="connsiteY71" fmla="*/ 1710230 h 2128225"/>
              <a:gd name="connsiteX72" fmla="*/ 819401 w 5054240"/>
              <a:gd name="connsiteY72" fmla="*/ 1710230 h 2128225"/>
              <a:gd name="connsiteX73" fmla="*/ 819401 w 5054240"/>
              <a:gd name="connsiteY73" fmla="*/ 1602678 h 2128225"/>
              <a:gd name="connsiteX74" fmla="*/ 1026451 w 5054240"/>
              <a:gd name="connsiteY74" fmla="*/ 1602678 h 2128225"/>
              <a:gd name="connsiteX75" fmla="*/ 1026451 w 5054240"/>
              <a:gd name="connsiteY75" fmla="*/ 1495358 h 2128225"/>
              <a:gd name="connsiteX76" fmla="*/ 1118922 w 5054240"/>
              <a:gd name="connsiteY76" fmla="*/ 1495358 h 2128225"/>
              <a:gd name="connsiteX77" fmla="*/ 1118922 w 5054240"/>
              <a:gd name="connsiteY77" fmla="*/ 1387806 h 2128225"/>
              <a:gd name="connsiteX78" fmla="*/ 1169303 w 5054240"/>
              <a:gd name="connsiteY78" fmla="*/ 1387806 h 2128225"/>
              <a:gd name="connsiteX79" fmla="*/ 1169303 w 5054240"/>
              <a:gd name="connsiteY79" fmla="*/ 1495358 h 2128225"/>
              <a:gd name="connsiteX80" fmla="*/ 1392722 w 5054240"/>
              <a:gd name="connsiteY80" fmla="*/ 1495358 h 2128225"/>
              <a:gd name="connsiteX81" fmla="*/ 1392722 w 5054240"/>
              <a:gd name="connsiteY81" fmla="*/ 1602678 h 2128225"/>
              <a:gd name="connsiteX82" fmla="*/ 1442720 w 5054240"/>
              <a:gd name="connsiteY82" fmla="*/ 1602678 h 2128225"/>
              <a:gd name="connsiteX83" fmla="*/ 1442720 w 5054240"/>
              <a:gd name="connsiteY83" fmla="*/ 1495358 h 2128225"/>
              <a:gd name="connsiteX84" fmla="*/ 1546670 w 5054240"/>
              <a:gd name="connsiteY84" fmla="*/ 1495358 h 2128225"/>
              <a:gd name="connsiteX85" fmla="*/ 1546670 w 5054240"/>
              <a:gd name="connsiteY85" fmla="*/ 1387806 h 2128225"/>
              <a:gd name="connsiteX86" fmla="*/ 1835691 w 5054240"/>
              <a:gd name="connsiteY86" fmla="*/ 1387806 h 2128225"/>
              <a:gd name="connsiteX87" fmla="*/ 1835691 w 5054240"/>
              <a:gd name="connsiteY87" fmla="*/ 1495358 h 2128225"/>
              <a:gd name="connsiteX88" fmla="*/ 2068803 w 5054240"/>
              <a:gd name="connsiteY88" fmla="*/ 1495358 h 2128225"/>
              <a:gd name="connsiteX89" fmla="*/ 2068803 w 5054240"/>
              <a:gd name="connsiteY89" fmla="*/ 1388039 h 2128225"/>
              <a:gd name="connsiteX90" fmla="*/ 2295623 w 5054240"/>
              <a:gd name="connsiteY90" fmla="*/ 1388039 h 2128225"/>
              <a:gd name="connsiteX91" fmla="*/ 2295623 w 5054240"/>
              <a:gd name="connsiteY91" fmla="*/ 1280720 h 2128225"/>
              <a:gd name="connsiteX92" fmla="*/ 2199538 w 5054240"/>
              <a:gd name="connsiteY92" fmla="*/ 1280720 h 2128225"/>
              <a:gd name="connsiteX93" fmla="*/ 2199538 w 5054240"/>
              <a:gd name="connsiteY93" fmla="*/ 1173400 h 2128225"/>
              <a:gd name="connsiteX94" fmla="*/ 2566999 w 5054240"/>
              <a:gd name="connsiteY94" fmla="*/ 1173400 h 2128225"/>
              <a:gd name="connsiteX95" fmla="*/ 2566999 w 5054240"/>
              <a:gd name="connsiteY95" fmla="*/ 1066081 h 2128225"/>
              <a:gd name="connsiteX96" fmla="*/ 2790928 w 5054240"/>
              <a:gd name="connsiteY96" fmla="*/ 1066081 h 2128225"/>
              <a:gd name="connsiteX97" fmla="*/ 2790928 w 5054240"/>
              <a:gd name="connsiteY97" fmla="*/ 958762 h 2128225"/>
              <a:gd name="connsiteX98" fmla="*/ 3015282 w 5054240"/>
              <a:gd name="connsiteY98" fmla="*/ 958762 h 2128225"/>
              <a:gd name="connsiteX99" fmla="*/ 3015282 w 5054240"/>
              <a:gd name="connsiteY99" fmla="*/ 1066081 h 2128225"/>
              <a:gd name="connsiteX100" fmla="*/ 3160388 w 5054240"/>
              <a:gd name="connsiteY100" fmla="*/ 1066081 h 2128225"/>
              <a:gd name="connsiteX101" fmla="*/ 3160388 w 5054240"/>
              <a:gd name="connsiteY101" fmla="*/ 851442 h 2128225"/>
              <a:gd name="connsiteX102" fmla="*/ 3249968 w 5054240"/>
              <a:gd name="connsiteY102" fmla="*/ 851442 h 2128225"/>
              <a:gd name="connsiteX103" fmla="*/ 3249968 w 5054240"/>
              <a:gd name="connsiteY103" fmla="*/ 958762 h 2128225"/>
              <a:gd name="connsiteX104" fmla="*/ 3300306 w 5054240"/>
              <a:gd name="connsiteY104" fmla="*/ 958762 h 2128225"/>
              <a:gd name="connsiteX105" fmla="*/ 3300306 w 5054240"/>
              <a:gd name="connsiteY105" fmla="*/ 851442 h 2128225"/>
              <a:gd name="connsiteX106" fmla="*/ 3524236 w 5054240"/>
              <a:gd name="connsiteY106" fmla="*/ 851442 h 2128225"/>
              <a:gd name="connsiteX107" fmla="*/ 3524236 w 5054240"/>
              <a:gd name="connsiteY107" fmla="*/ 958762 h 2128225"/>
              <a:gd name="connsiteX108" fmla="*/ 3574616 w 5054240"/>
              <a:gd name="connsiteY108" fmla="*/ 958762 h 2128225"/>
              <a:gd name="connsiteX109" fmla="*/ 3574616 w 5054240"/>
              <a:gd name="connsiteY109" fmla="*/ 851442 h 2128225"/>
              <a:gd name="connsiteX110" fmla="*/ 3707860 w 5054240"/>
              <a:gd name="connsiteY110" fmla="*/ 851442 h 2128225"/>
              <a:gd name="connsiteX111" fmla="*/ 3707860 w 5054240"/>
              <a:gd name="connsiteY111" fmla="*/ 745131 h 2128225"/>
              <a:gd name="connsiteX112" fmla="*/ 3650719 w 5054240"/>
              <a:gd name="connsiteY112" fmla="*/ 745131 h 2128225"/>
              <a:gd name="connsiteX113" fmla="*/ 3650719 w 5054240"/>
              <a:gd name="connsiteY113" fmla="*/ 637812 h 2128225"/>
              <a:gd name="connsiteX114" fmla="*/ 3765978 w 5054240"/>
              <a:gd name="connsiteY114" fmla="*/ 637812 h 2128225"/>
              <a:gd name="connsiteX115" fmla="*/ 3765978 w 5054240"/>
              <a:gd name="connsiteY115" fmla="*/ 530493 h 2128225"/>
              <a:gd name="connsiteX116" fmla="*/ 3816360 w 5054240"/>
              <a:gd name="connsiteY116" fmla="*/ 530493 h 2128225"/>
              <a:gd name="connsiteX117" fmla="*/ 3816360 w 5054240"/>
              <a:gd name="connsiteY117" fmla="*/ 637812 h 2128225"/>
              <a:gd name="connsiteX118" fmla="*/ 3874308 w 5054240"/>
              <a:gd name="connsiteY118" fmla="*/ 637812 h 2128225"/>
              <a:gd name="connsiteX119" fmla="*/ 3874308 w 5054240"/>
              <a:gd name="connsiteY119" fmla="*/ 530493 h 2128225"/>
              <a:gd name="connsiteX120" fmla="*/ 4098194 w 5054240"/>
              <a:gd name="connsiteY120" fmla="*/ 530493 h 2128225"/>
              <a:gd name="connsiteX121" fmla="*/ 4098194 w 5054240"/>
              <a:gd name="connsiteY121" fmla="*/ 637812 h 2128225"/>
              <a:gd name="connsiteX122" fmla="*/ 4281096 w 5054240"/>
              <a:gd name="connsiteY122" fmla="*/ 637812 h 2128225"/>
              <a:gd name="connsiteX123" fmla="*/ 4281096 w 5054240"/>
              <a:gd name="connsiteY123" fmla="*/ 530493 h 2128225"/>
              <a:gd name="connsiteX124" fmla="*/ 4191855 w 5054240"/>
              <a:gd name="connsiteY124" fmla="*/ 530493 h 2128225"/>
              <a:gd name="connsiteX125" fmla="*/ 4191855 w 5054240"/>
              <a:gd name="connsiteY125" fmla="*/ 423174 h 2128225"/>
              <a:gd name="connsiteX126" fmla="*/ 4524710 w 5054240"/>
              <a:gd name="connsiteY126" fmla="*/ 423174 h 2128225"/>
              <a:gd name="connsiteX127" fmla="*/ 4524710 w 5054240"/>
              <a:gd name="connsiteY127" fmla="*/ 315853 h 2128225"/>
              <a:gd name="connsiteX128" fmla="*/ 4714499 w 5054240"/>
              <a:gd name="connsiteY128" fmla="*/ 315853 h 2128225"/>
              <a:gd name="connsiteX129" fmla="*/ 4714499 w 5054240"/>
              <a:gd name="connsiteY129" fmla="*/ 208573 h 2128225"/>
              <a:gd name="connsiteX130" fmla="*/ 4798382 w 5054240"/>
              <a:gd name="connsiteY130" fmla="*/ 208573 h 2128225"/>
              <a:gd name="connsiteX131" fmla="*/ 4988724 w 5054240"/>
              <a:gd name="connsiteY131" fmla="*/ 0 h 2128225"/>
              <a:gd name="connsiteX132" fmla="*/ 5054240 w 5054240"/>
              <a:gd name="connsiteY132" fmla="*/ 0 h 2128225"/>
              <a:gd name="connsiteX133" fmla="*/ 5054240 w 5054240"/>
              <a:gd name="connsiteY133" fmla="*/ 101253 h 2128225"/>
              <a:gd name="connsiteX134" fmla="*/ 4988724 w 5054240"/>
              <a:gd name="connsiteY134" fmla="*/ 101253 h 212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5054240" h="2128225">
                <a:moveTo>
                  <a:pt x="1035847" y="1710657"/>
                </a:moveTo>
                <a:lnTo>
                  <a:pt x="1035847" y="1817977"/>
                </a:lnTo>
                <a:lnTo>
                  <a:pt x="1086228" y="1817977"/>
                </a:lnTo>
                <a:lnTo>
                  <a:pt x="1086228" y="1710657"/>
                </a:lnTo>
                <a:close/>
                <a:moveTo>
                  <a:pt x="407851" y="1710270"/>
                </a:moveTo>
                <a:lnTo>
                  <a:pt x="497431" y="1710270"/>
                </a:lnTo>
                <a:lnTo>
                  <a:pt x="497431" y="1817588"/>
                </a:lnTo>
                <a:lnTo>
                  <a:pt x="407851" y="1817588"/>
                </a:lnTo>
                <a:close/>
                <a:moveTo>
                  <a:pt x="1551304" y="1602717"/>
                </a:moveTo>
                <a:lnTo>
                  <a:pt x="1551304" y="1710037"/>
                </a:lnTo>
                <a:lnTo>
                  <a:pt x="1640885" y="1710037"/>
                </a:lnTo>
                <a:lnTo>
                  <a:pt x="1640885" y="1602717"/>
                </a:lnTo>
                <a:close/>
                <a:moveTo>
                  <a:pt x="1253272" y="1602717"/>
                </a:moveTo>
                <a:lnTo>
                  <a:pt x="1253357" y="1602794"/>
                </a:lnTo>
                <a:lnTo>
                  <a:pt x="1253144" y="1602988"/>
                </a:lnTo>
                <a:lnTo>
                  <a:pt x="1253102" y="1602988"/>
                </a:lnTo>
                <a:lnTo>
                  <a:pt x="1253102" y="1710657"/>
                </a:lnTo>
                <a:lnTo>
                  <a:pt x="1303100" y="1710657"/>
                </a:lnTo>
                <a:lnTo>
                  <a:pt x="1303100" y="1602717"/>
                </a:lnTo>
                <a:close/>
                <a:moveTo>
                  <a:pt x="2480990" y="1280526"/>
                </a:moveTo>
                <a:lnTo>
                  <a:pt x="2480990" y="1387845"/>
                </a:lnTo>
                <a:lnTo>
                  <a:pt x="2531371" y="1387845"/>
                </a:lnTo>
                <a:lnTo>
                  <a:pt x="2531371" y="1280526"/>
                </a:lnTo>
                <a:close/>
                <a:moveTo>
                  <a:pt x="1925144" y="1173439"/>
                </a:moveTo>
                <a:lnTo>
                  <a:pt x="2149072" y="1173439"/>
                </a:lnTo>
                <a:lnTo>
                  <a:pt x="2149072" y="1280758"/>
                </a:lnTo>
                <a:lnTo>
                  <a:pt x="1925144" y="1280758"/>
                </a:lnTo>
                <a:close/>
                <a:moveTo>
                  <a:pt x="1785182" y="1173439"/>
                </a:moveTo>
                <a:lnTo>
                  <a:pt x="1874763" y="1173439"/>
                </a:lnTo>
                <a:lnTo>
                  <a:pt x="1874763" y="1280758"/>
                </a:lnTo>
                <a:lnTo>
                  <a:pt x="1785182" y="1280758"/>
                </a:lnTo>
                <a:close/>
                <a:moveTo>
                  <a:pt x="3252434" y="1066081"/>
                </a:moveTo>
                <a:lnTo>
                  <a:pt x="3252434" y="1173400"/>
                </a:lnTo>
                <a:lnTo>
                  <a:pt x="3302814" y="1173400"/>
                </a:lnTo>
                <a:lnTo>
                  <a:pt x="3302814" y="1066081"/>
                </a:lnTo>
                <a:close/>
                <a:moveTo>
                  <a:pt x="3365057" y="958762"/>
                </a:moveTo>
                <a:lnTo>
                  <a:pt x="3365057" y="1066081"/>
                </a:lnTo>
                <a:lnTo>
                  <a:pt x="3454638" y="1066081"/>
                </a:lnTo>
                <a:lnTo>
                  <a:pt x="3454638" y="958762"/>
                </a:lnTo>
                <a:close/>
                <a:moveTo>
                  <a:pt x="4110141" y="745131"/>
                </a:moveTo>
                <a:lnTo>
                  <a:pt x="4110141" y="851442"/>
                </a:lnTo>
                <a:lnTo>
                  <a:pt x="4191814" y="851442"/>
                </a:lnTo>
                <a:lnTo>
                  <a:pt x="4191814" y="745131"/>
                </a:lnTo>
                <a:close/>
                <a:moveTo>
                  <a:pt x="3510673" y="637851"/>
                </a:moveTo>
                <a:lnTo>
                  <a:pt x="3600253" y="637851"/>
                </a:lnTo>
                <a:lnTo>
                  <a:pt x="3600253" y="745170"/>
                </a:lnTo>
                <a:lnTo>
                  <a:pt x="3510673" y="745170"/>
                </a:lnTo>
                <a:close/>
                <a:moveTo>
                  <a:pt x="3874563" y="637812"/>
                </a:moveTo>
                <a:lnTo>
                  <a:pt x="3874563" y="744122"/>
                </a:lnTo>
                <a:lnTo>
                  <a:pt x="3924944" y="744122"/>
                </a:lnTo>
                <a:lnTo>
                  <a:pt x="3924944" y="637812"/>
                </a:lnTo>
                <a:close/>
                <a:moveTo>
                  <a:pt x="4748596" y="315893"/>
                </a:moveTo>
                <a:lnTo>
                  <a:pt x="4748596" y="423174"/>
                </a:lnTo>
                <a:lnTo>
                  <a:pt x="4798978" y="423174"/>
                </a:lnTo>
                <a:lnTo>
                  <a:pt x="4798978" y="315893"/>
                </a:lnTo>
                <a:close/>
                <a:moveTo>
                  <a:pt x="4798382" y="101253"/>
                </a:moveTo>
                <a:lnTo>
                  <a:pt x="4846806" y="101253"/>
                </a:lnTo>
                <a:lnTo>
                  <a:pt x="4846806" y="208573"/>
                </a:lnTo>
                <a:lnTo>
                  <a:pt x="4938342" y="208573"/>
                </a:lnTo>
                <a:lnTo>
                  <a:pt x="4938342" y="315853"/>
                </a:lnTo>
                <a:lnTo>
                  <a:pt x="4988724" y="315853"/>
                </a:lnTo>
                <a:lnTo>
                  <a:pt x="4988724" y="208573"/>
                </a:lnTo>
                <a:lnTo>
                  <a:pt x="5054198" y="208573"/>
                </a:lnTo>
                <a:lnTo>
                  <a:pt x="5054198" y="2128225"/>
                </a:lnTo>
                <a:lnTo>
                  <a:pt x="0" y="2128225"/>
                </a:lnTo>
                <a:lnTo>
                  <a:pt x="0" y="1924598"/>
                </a:lnTo>
                <a:lnTo>
                  <a:pt x="238597" y="1924598"/>
                </a:lnTo>
                <a:lnTo>
                  <a:pt x="238597" y="1817588"/>
                </a:lnTo>
                <a:lnTo>
                  <a:pt x="407851" y="1817588"/>
                </a:lnTo>
                <a:lnTo>
                  <a:pt x="407851" y="1924714"/>
                </a:lnTo>
                <a:lnTo>
                  <a:pt x="547812" y="1924714"/>
                </a:lnTo>
                <a:lnTo>
                  <a:pt x="547812" y="1710230"/>
                </a:lnTo>
                <a:lnTo>
                  <a:pt x="819401" y="1710230"/>
                </a:lnTo>
                <a:lnTo>
                  <a:pt x="819401" y="1602678"/>
                </a:lnTo>
                <a:lnTo>
                  <a:pt x="1026451" y="1602678"/>
                </a:lnTo>
                <a:lnTo>
                  <a:pt x="1026451" y="1495358"/>
                </a:lnTo>
                <a:lnTo>
                  <a:pt x="1118922" y="1495358"/>
                </a:lnTo>
                <a:lnTo>
                  <a:pt x="1118922" y="1387806"/>
                </a:lnTo>
                <a:lnTo>
                  <a:pt x="1169303" y="1387806"/>
                </a:lnTo>
                <a:lnTo>
                  <a:pt x="1169303" y="1495358"/>
                </a:lnTo>
                <a:lnTo>
                  <a:pt x="1392722" y="1495358"/>
                </a:lnTo>
                <a:lnTo>
                  <a:pt x="1392722" y="1602678"/>
                </a:lnTo>
                <a:lnTo>
                  <a:pt x="1442720" y="1602678"/>
                </a:lnTo>
                <a:lnTo>
                  <a:pt x="1442720" y="1495358"/>
                </a:lnTo>
                <a:lnTo>
                  <a:pt x="1546670" y="1495358"/>
                </a:lnTo>
                <a:lnTo>
                  <a:pt x="1546670" y="1387806"/>
                </a:lnTo>
                <a:lnTo>
                  <a:pt x="1835691" y="1387806"/>
                </a:lnTo>
                <a:lnTo>
                  <a:pt x="1835691" y="1495358"/>
                </a:lnTo>
                <a:lnTo>
                  <a:pt x="2068803" y="1495358"/>
                </a:lnTo>
                <a:lnTo>
                  <a:pt x="2068803" y="1388039"/>
                </a:lnTo>
                <a:lnTo>
                  <a:pt x="2295623" y="1388039"/>
                </a:lnTo>
                <a:lnTo>
                  <a:pt x="2295623" y="1280720"/>
                </a:lnTo>
                <a:lnTo>
                  <a:pt x="2199538" y="1280720"/>
                </a:lnTo>
                <a:lnTo>
                  <a:pt x="2199538" y="1173400"/>
                </a:lnTo>
                <a:lnTo>
                  <a:pt x="2566999" y="1173400"/>
                </a:lnTo>
                <a:lnTo>
                  <a:pt x="2566999" y="1066081"/>
                </a:lnTo>
                <a:lnTo>
                  <a:pt x="2790928" y="1066081"/>
                </a:lnTo>
                <a:lnTo>
                  <a:pt x="2790928" y="958762"/>
                </a:lnTo>
                <a:lnTo>
                  <a:pt x="3015282" y="958762"/>
                </a:lnTo>
                <a:lnTo>
                  <a:pt x="3015282" y="1066081"/>
                </a:lnTo>
                <a:lnTo>
                  <a:pt x="3160388" y="1066081"/>
                </a:lnTo>
                <a:lnTo>
                  <a:pt x="3160388" y="851442"/>
                </a:lnTo>
                <a:lnTo>
                  <a:pt x="3249968" y="851442"/>
                </a:lnTo>
                <a:lnTo>
                  <a:pt x="3249968" y="958762"/>
                </a:lnTo>
                <a:lnTo>
                  <a:pt x="3300306" y="958762"/>
                </a:lnTo>
                <a:lnTo>
                  <a:pt x="3300306" y="851442"/>
                </a:lnTo>
                <a:lnTo>
                  <a:pt x="3524236" y="851442"/>
                </a:lnTo>
                <a:lnTo>
                  <a:pt x="3524236" y="958762"/>
                </a:lnTo>
                <a:lnTo>
                  <a:pt x="3574616" y="958762"/>
                </a:lnTo>
                <a:lnTo>
                  <a:pt x="3574616" y="851442"/>
                </a:lnTo>
                <a:lnTo>
                  <a:pt x="3707860" y="851442"/>
                </a:lnTo>
                <a:lnTo>
                  <a:pt x="3707860" y="745131"/>
                </a:lnTo>
                <a:lnTo>
                  <a:pt x="3650719" y="745131"/>
                </a:lnTo>
                <a:lnTo>
                  <a:pt x="3650719" y="637812"/>
                </a:lnTo>
                <a:lnTo>
                  <a:pt x="3765978" y="637812"/>
                </a:lnTo>
                <a:lnTo>
                  <a:pt x="3765978" y="530493"/>
                </a:lnTo>
                <a:lnTo>
                  <a:pt x="3816360" y="530493"/>
                </a:lnTo>
                <a:lnTo>
                  <a:pt x="3816360" y="637812"/>
                </a:lnTo>
                <a:lnTo>
                  <a:pt x="3874308" y="637812"/>
                </a:lnTo>
                <a:lnTo>
                  <a:pt x="3874308" y="530493"/>
                </a:lnTo>
                <a:lnTo>
                  <a:pt x="4098194" y="530493"/>
                </a:lnTo>
                <a:lnTo>
                  <a:pt x="4098194" y="637812"/>
                </a:lnTo>
                <a:lnTo>
                  <a:pt x="4281096" y="637812"/>
                </a:lnTo>
                <a:lnTo>
                  <a:pt x="4281096" y="530493"/>
                </a:lnTo>
                <a:lnTo>
                  <a:pt x="4191855" y="530493"/>
                </a:lnTo>
                <a:lnTo>
                  <a:pt x="4191855" y="423174"/>
                </a:lnTo>
                <a:lnTo>
                  <a:pt x="4524710" y="423174"/>
                </a:lnTo>
                <a:lnTo>
                  <a:pt x="4524710" y="315853"/>
                </a:lnTo>
                <a:lnTo>
                  <a:pt x="4714499" y="315853"/>
                </a:lnTo>
                <a:lnTo>
                  <a:pt x="4714499" y="208573"/>
                </a:lnTo>
                <a:lnTo>
                  <a:pt x="4798382" y="208573"/>
                </a:lnTo>
                <a:close/>
                <a:moveTo>
                  <a:pt x="4988724" y="0"/>
                </a:moveTo>
                <a:lnTo>
                  <a:pt x="5054240" y="0"/>
                </a:lnTo>
                <a:lnTo>
                  <a:pt x="5054240" y="101253"/>
                </a:lnTo>
                <a:lnTo>
                  <a:pt x="4988724" y="101253"/>
                </a:lnTo>
                <a:close/>
              </a:path>
            </a:pathLst>
          </a:custGeom>
        </p:spPr>
      </p:pic>
      <p:sp>
        <p:nvSpPr>
          <p:cNvPr id="2" name="Title 2">
            <a:extLst>
              <a:ext uri="{FF2B5EF4-FFF2-40B4-BE49-F238E27FC236}">
                <a16:creationId xmlns:a16="http://schemas.microsoft.com/office/drawing/2014/main" id="{A359BC39-9F0F-F78E-7370-539E6E562D6E}"/>
              </a:ext>
            </a:extLst>
          </p:cNvPr>
          <p:cNvSpPr txBox="1">
            <a:spLocks/>
          </p:cNvSpPr>
          <p:nvPr userDrawn="1">
            <p:custDataLst>
              <p:tags r:id="rId1"/>
            </p:custDataLst>
          </p:nvPr>
        </p:nvSpPr>
        <p:spPr>
          <a:xfrm>
            <a:off x="335407" y="400812"/>
            <a:ext cx="8261924"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noProof="0">
              <a:ln>
                <a:noFill/>
              </a:ln>
              <a:solidFill>
                <a:srgbClr val="63666A"/>
              </a:solidFill>
              <a:effectLst/>
              <a:uLnTx/>
              <a:uFillTx/>
              <a:latin typeface="Arial"/>
              <a:ea typeface="+mj-ea"/>
              <a:cs typeface="+mj-cs"/>
            </a:endParaRPr>
          </a:p>
        </p:txBody>
      </p:sp>
    </p:spTree>
    <p:extLst>
      <p:ext uri="{BB962C8B-B14F-4D97-AF65-F5344CB8AC3E}">
        <p14:creationId xmlns:p14="http://schemas.microsoft.com/office/powerpoint/2010/main" val="2572816097"/>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70560" y="1633728"/>
            <a:ext cx="8778240" cy="4335272"/>
          </a:xfrm>
        </p:spPr>
        <p:txBody>
          <a:bodyPr lIns="0" tIns="0" rIns="0" bIns="0">
            <a:normAutofit/>
          </a:bodyPr>
          <a:lstStyle>
            <a:lvl1pPr marL="230712" indent="-230712">
              <a:lnSpc>
                <a:spcPct val="90000"/>
              </a:lnSpc>
              <a:spcBef>
                <a:spcPts val="1600"/>
              </a:spcBef>
              <a:spcAft>
                <a:spcPts val="0"/>
              </a:spcAft>
              <a:buClr>
                <a:schemeClr val="tx1"/>
              </a:buClr>
              <a:buFont typeface="Arial" panose="020B0604020202020204" pitchFamily="34" charset="0"/>
              <a:buChar char="•"/>
              <a:defRPr sz="2667" b="0" baseline="0">
                <a:solidFill>
                  <a:schemeClr val="tx1"/>
                </a:solidFill>
              </a:defRPr>
            </a:lvl1pPr>
            <a:lvl2pPr marL="531271" indent="-154513">
              <a:lnSpc>
                <a:spcPct val="90000"/>
              </a:lnSpc>
              <a:spcBef>
                <a:spcPts val="800"/>
              </a:spcBef>
              <a:spcAft>
                <a:spcPts val="0"/>
              </a:spcAft>
              <a:buClr>
                <a:schemeClr val="accent1"/>
              </a:buClr>
              <a:buFont typeface="Arial" panose="020B0604020202020204" pitchFamily="34" charset="0"/>
              <a:buChar char="-"/>
              <a:tabLst/>
              <a:defRPr sz="2133" baseline="0">
                <a:solidFill>
                  <a:schemeClr val="accent1"/>
                </a:solidFill>
              </a:defRPr>
            </a:lvl2pPr>
            <a:lvl3pPr marL="766214" indent="-152396">
              <a:lnSpc>
                <a:spcPct val="100000"/>
              </a:lnSpc>
              <a:spcBef>
                <a:spcPts val="800"/>
              </a:spcBef>
              <a:buClr>
                <a:schemeClr val="accent1"/>
              </a:buClr>
              <a:buFont typeface="Arial" panose="020B0604020202020204" pitchFamily="34" charset="0"/>
              <a:buChar char="-"/>
              <a:defRPr sz="1867">
                <a:solidFill>
                  <a:schemeClr val="accent1"/>
                </a:solidFill>
              </a:defRPr>
            </a:lvl3pPr>
            <a:lvl5pPr>
              <a:defRPr/>
            </a:lvl5pPr>
          </a:lstStyle>
          <a:p>
            <a:pPr>
              <a:buClr>
                <a:schemeClr val="tx1"/>
              </a:buClr>
            </a:pPr>
            <a:r>
              <a:rPr lang="en-US"/>
              <a:t>First Level</a:t>
            </a:r>
          </a:p>
          <a:p>
            <a:pPr lvl="1">
              <a:buClr>
                <a:schemeClr val="tx1"/>
              </a:buClr>
            </a:pPr>
            <a:r>
              <a:rPr lang="en-US"/>
              <a:t>Second Level</a:t>
            </a:r>
          </a:p>
          <a:p>
            <a:pPr lvl="2">
              <a:buClr>
                <a:schemeClr val="tx1"/>
              </a:buClr>
            </a:pPr>
            <a:r>
              <a:rPr lang="en-US"/>
              <a:t>Third Level</a:t>
            </a:r>
          </a:p>
        </p:txBody>
      </p:sp>
      <p:sp>
        <p:nvSpPr>
          <p:cNvPr id="10" name="Title 1"/>
          <p:cNvSpPr>
            <a:spLocks noGrp="1"/>
          </p:cNvSpPr>
          <p:nvPr>
            <p:ph type="title" hasCustomPrompt="1"/>
          </p:nvPr>
        </p:nvSpPr>
        <p:spPr>
          <a:xfrm>
            <a:off x="670560" y="381000"/>
            <a:ext cx="10911840" cy="844296"/>
          </a:xfrm>
        </p:spPr>
        <p:txBody>
          <a:bodyPr anchor="b" anchorCtr="0"/>
          <a:lstStyle>
            <a:lvl1pPr>
              <a:defRPr/>
            </a:lvl1pPr>
          </a:lstStyle>
          <a:p>
            <a:br>
              <a:rPr lang="en-US"/>
            </a:br>
            <a:r>
              <a:rPr lang="en-US"/>
              <a:t>Click to edit Master title style</a:t>
            </a:r>
          </a:p>
        </p:txBody>
      </p:sp>
    </p:spTree>
    <p:extLst>
      <p:ext uri="{BB962C8B-B14F-4D97-AF65-F5344CB8AC3E}">
        <p14:creationId xmlns:p14="http://schemas.microsoft.com/office/powerpoint/2010/main" val="3509247735"/>
      </p:ext>
    </p:extLst>
  </p:cSld>
  <p:clrMapOvr>
    <a:masterClrMapping/>
  </p:clrMapOvr>
  <p:hf hdr="0" dt="0"/>
</p:sldLayout>
</file>

<file path=ppt/slideLayouts/slideLayout684.xml><?xml version="1.0" encoding="utf-8"?>
<p:sldLayout xmlns:a="http://schemas.openxmlformats.org/drawingml/2006/main" xmlns:r="http://schemas.openxmlformats.org/officeDocument/2006/relationships" xmlns:p="http://schemas.openxmlformats.org/presentationml/2006/main" userDrawn="1">
  <p:cSld name="3_Title, subtitle and content layout">
    <p:bg>
      <p:bgPr>
        <a:solidFill>
          <a:schemeClr val="tx1"/>
        </a:solidFill>
        <a:effectLst/>
      </p:bgPr>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0">
                <a:solidFill>
                  <a:schemeClr val="bg1"/>
                </a:solidFill>
              </a:defRPr>
            </a:lvl1pPr>
          </a:lstStyle>
          <a:p>
            <a:pPr lvl="0"/>
            <a:r>
              <a:rPr lang="en-US"/>
              <a:t>Click to add subheading</a:t>
            </a:r>
            <a:endParaRPr lang="en-GB"/>
          </a:p>
        </p:txBody>
      </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19600" y="2487726"/>
            <a:ext cx="7788608" cy="437027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grpSp>
        <p:nvGrpSpPr>
          <p:cNvPr id="8" name="Group 7">
            <a:extLst>
              <a:ext uri="{FF2B5EF4-FFF2-40B4-BE49-F238E27FC236}">
                <a16:creationId xmlns:a16="http://schemas.microsoft.com/office/drawing/2014/main" id="{2782FBF0-9D9E-19AE-DC30-0796829725EF}"/>
              </a:ext>
            </a:extLst>
          </p:cNvPr>
          <p:cNvGrpSpPr/>
          <p:nvPr userDrawn="1"/>
        </p:nvGrpSpPr>
        <p:grpSpPr>
          <a:xfrm>
            <a:off x="10863102" y="309052"/>
            <a:ext cx="911847" cy="382707"/>
            <a:chOff x="7459170" y="481236"/>
            <a:chExt cx="2697427" cy="1132124"/>
          </a:xfrm>
          <a:solidFill>
            <a:schemeClr val="bg1"/>
          </a:solidFill>
        </p:grpSpPr>
        <p:sp>
          <p:nvSpPr>
            <p:cNvPr id="9" name="Freeform 8">
              <a:extLst>
                <a:ext uri="{FF2B5EF4-FFF2-40B4-BE49-F238E27FC236}">
                  <a16:creationId xmlns:a16="http://schemas.microsoft.com/office/drawing/2014/main" id="{42864910-4C7A-3D4E-48CD-D85DC4AD32A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D69A189-E4A4-09BC-625A-758110B855A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BDE20C1-01CD-0CE9-490C-A9CF25F6EB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4EEA97-1562-463A-B42C-64C9073EE06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E66572C-F5C9-C297-A47F-DDF2919DAF5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4611A91-BFB8-7814-3464-E6309F7AED7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D9681DA-ADD0-918D-C879-984AD193B14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2066675330"/>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userDrawn="1">
  <p:cSld name="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r>
              <a:rPr lang="en-GB"/>
              <a:t>January 2024</a:t>
            </a:r>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0" name="Title Placeholder 13">
            <a:extLst>
              <a:ext uri="{FF2B5EF4-FFF2-40B4-BE49-F238E27FC236}">
                <a16:creationId xmlns:a16="http://schemas.microsoft.com/office/drawing/2014/main" id="{FEDC99D9-7D20-7A02-6B05-F38CE8BA333B}"/>
              </a:ext>
            </a:extLst>
          </p:cNvPr>
          <p:cNvSpPr>
            <a:spLocks noGrp="1"/>
          </p:cNvSpPr>
          <p:nvPr>
            <p:ph type="title"/>
          </p:nvPr>
        </p:nvSpPr>
        <p:spPr>
          <a:xfrm>
            <a:off x="245607" y="120481"/>
            <a:ext cx="10620375" cy="553998"/>
          </a:xfrm>
          <a:prstGeom prst="rect">
            <a:avLst/>
          </a:prstGeom>
        </p:spPr>
        <p:txBody>
          <a:bodyPr vert="horz" wrap="square" lIns="0" tIns="0" rIns="0" bIns="0" rtlCol="0" anchor="t" anchorCtr="0">
            <a:spAutoFit/>
          </a:bodyPr>
          <a:lstStyle/>
          <a:p>
            <a:r>
              <a:rPr lang="en-US"/>
              <a:t>Click to add heading</a:t>
            </a:r>
            <a:endParaRPr lang="en-GB"/>
          </a:p>
        </p:txBody>
      </p:sp>
    </p:spTree>
    <p:extLst>
      <p:ext uri="{BB962C8B-B14F-4D97-AF65-F5344CB8AC3E}">
        <p14:creationId xmlns:p14="http://schemas.microsoft.com/office/powerpoint/2010/main" val="3983126947"/>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userDrawn="1">
  <p:cSld name="2_Title, subtitle and content layout">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310728379"/>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userDrawn="1">
  <p:cSld name="Texture-01">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00E2FCD-8CD8-00FD-C558-D19EF5E99D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454" y="133351"/>
            <a:ext cx="11915209" cy="6579552"/>
          </a:xfrm>
          <a:prstGeom prst="rect">
            <a:avLst/>
          </a:prstGeom>
        </p:spPr>
      </p:pic>
      <p:pic>
        <p:nvPicPr>
          <p:cNvPr id="3" name="Picture 2">
            <a:extLst>
              <a:ext uri="{FF2B5EF4-FFF2-40B4-BE49-F238E27FC236}">
                <a16:creationId xmlns:a16="http://schemas.microsoft.com/office/drawing/2014/main" id="{47F70AAE-A14D-86B4-18B7-4837A234728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44079" y="6534150"/>
            <a:ext cx="1539367" cy="120512"/>
          </a:xfrm>
          <a:prstGeom prst="rect">
            <a:avLst/>
          </a:prstGeom>
        </p:spPr>
      </p:pic>
      <p:sp>
        <p:nvSpPr>
          <p:cNvPr id="4" name="Footer Placeholder 3">
            <a:extLst>
              <a:ext uri="{FF2B5EF4-FFF2-40B4-BE49-F238E27FC236}">
                <a16:creationId xmlns:a16="http://schemas.microsoft.com/office/drawing/2014/main" id="{21AED7B6-E930-4B73-845F-99262175EA18}"/>
              </a:ext>
            </a:extLst>
          </p:cNvPr>
          <p:cNvSpPr>
            <a:spLocks noGrp="1"/>
          </p:cNvSpPr>
          <p:nvPr>
            <p:ph type="ftr" sz="quarter" idx="11"/>
          </p:nvPr>
        </p:nvSpPr>
        <p:spPr/>
        <p:txBody>
          <a:bodyPr/>
          <a:lstStyle>
            <a:lvl1pPr>
              <a:defRPr>
                <a:solidFill>
                  <a:srgbClr val="81B2C3"/>
                </a:solidFill>
              </a:defRPr>
            </a:lvl1pPr>
          </a:lstStyle>
          <a:p>
            <a:r>
              <a:rPr lang="en-US"/>
              <a:t>Copyright © 2025, Oracle and/or its affiliates</a:t>
            </a:r>
          </a:p>
        </p:txBody>
      </p:sp>
      <p:sp>
        <p:nvSpPr>
          <p:cNvPr id="5" name="Slide Number Placeholder 4">
            <a:extLst>
              <a:ext uri="{FF2B5EF4-FFF2-40B4-BE49-F238E27FC236}">
                <a16:creationId xmlns:a16="http://schemas.microsoft.com/office/drawing/2014/main" id="{83691DFD-B788-4684-96F9-4DD21020B309}"/>
              </a:ext>
            </a:extLst>
          </p:cNvPr>
          <p:cNvSpPr>
            <a:spLocks noGrp="1"/>
          </p:cNvSpPr>
          <p:nvPr>
            <p:ph type="sldNum" sz="quarter" idx="12"/>
          </p:nvPr>
        </p:nvSpPr>
        <p:spPr/>
        <p:txBody>
          <a:bodyPr/>
          <a:lstStyle>
            <a:lvl1pPr>
              <a:defRPr>
                <a:solidFill>
                  <a:srgbClr val="81B2C3"/>
                </a:solidFill>
              </a:defRPr>
            </a:lvl1pPr>
          </a:lstStyle>
          <a:p>
            <a:fld id="{345D60D9-5372-5F40-9443-0F9AE5BDC3C8}" type="slidenum">
              <a:rPr lang="en-US" smtClean="0"/>
              <a:pPr/>
              <a:t>‹#›</a:t>
            </a:fld>
            <a:endParaRPr lang="en-US"/>
          </a:p>
        </p:txBody>
      </p:sp>
    </p:spTree>
    <p:extLst>
      <p:ext uri="{BB962C8B-B14F-4D97-AF65-F5344CB8AC3E}">
        <p14:creationId xmlns:p14="http://schemas.microsoft.com/office/powerpoint/2010/main" val="2436530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793630"/>
            <a:ext cx="10845800" cy="5412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508000" y="620606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Tree>
    <p:extLst>
      <p:ext uri="{BB962C8B-B14F-4D97-AF65-F5344CB8AC3E}">
        <p14:creationId xmlns:p14="http://schemas.microsoft.com/office/powerpoint/2010/main" val="502030494"/>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grpSp>
        <p:nvGrpSpPr>
          <p:cNvPr id="4" name="Group 3"/>
          <p:cNvGrpSpPr/>
          <p:nvPr userDrawn="1"/>
        </p:nvGrpSpPr>
        <p:grpSpPr>
          <a:xfrm>
            <a:off x="603136" y="648306"/>
            <a:ext cx="2303185" cy="45719"/>
            <a:chOff x="586073" y="1056890"/>
            <a:chExt cx="2303185" cy="63781"/>
          </a:xfrm>
        </p:grpSpPr>
        <p:sp>
          <p:nvSpPr>
            <p:cNvPr id="5" name="Rounded Rectangle 4"/>
            <p:cNvSpPr/>
            <p:nvPr/>
          </p:nvSpPr>
          <p:spPr>
            <a:xfrm>
              <a:off x="586073" y="1056890"/>
              <a:ext cx="443834" cy="63781"/>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1048916" y="1056891"/>
              <a:ext cx="661896" cy="6377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1729821" y="1056893"/>
              <a:ext cx="1159437" cy="6377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773397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grpSp>
        <p:nvGrpSpPr>
          <p:cNvPr id="4" name="Group 3">
            <a:extLst>
              <a:ext uri="{FF2B5EF4-FFF2-40B4-BE49-F238E27FC236}">
                <a16:creationId xmlns:a16="http://schemas.microsoft.com/office/drawing/2014/main" id="{65B9153A-9F04-345A-4CA1-963B01DA3273}"/>
              </a:ext>
            </a:extLst>
          </p:cNvPr>
          <p:cNvGrpSpPr/>
          <p:nvPr/>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accent4"/>
                </a:solidFill>
              </a:defRPr>
            </a:lvl1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a:extLst>
              <a:ext uri="{FF2B5EF4-FFF2-40B4-BE49-F238E27FC236}">
                <a16:creationId xmlns:a16="http://schemas.microsoft.com/office/drawing/2014/main" id="{7BEF0843-863D-70F2-4F87-921E41A6C3C2}"/>
              </a:ext>
            </a:extLst>
          </p:cNvPr>
          <p:cNvSpPr>
            <a:spLocks noGrp="1"/>
          </p:cNvSpPr>
          <p:nvPr>
            <p:ph sz="quarter" idx="19"/>
          </p:nvPr>
        </p:nvSpPr>
        <p:spPr>
          <a:xfrm>
            <a:off x="6219825" y="1983440"/>
            <a:ext cx="5190004" cy="442408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60046854"/>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BBFAE-89EF-4B81-B6D0-BC4B6E92AE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7651F3-3104-4DD8-9DD7-6E53B11708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36176173"/>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3"/>
        <p:cNvGrpSpPr/>
        <p:nvPr/>
      </p:nvGrpSpPr>
      <p:grpSpPr>
        <a:xfrm>
          <a:off x="0" y="0"/>
          <a:ext cx="0" cy="0"/>
          <a:chOff x="0" y="0"/>
          <a:chExt cx="0" cy="0"/>
        </a:xfrm>
      </p:grpSpPr>
      <p:sp>
        <p:nvSpPr>
          <p:cNvPr id="74" name="Google Shape;74;p16"/>
          <p:cNvSpPr txBox="1">
            <a:spLocks noGrp="1"/>
          </p:cNvSpPr>
          <p:nvPr>
            <p:ph type="title"/>
          </p:nvPr>
        </p:nvSpPr>
        <p:spPr>
          <a:xfrm>
            <a:off x="677473" y="714169"/>
            <a:ext cx="10837200" cy="483600"/>
          </a:xfrm>
          <a:prstGeom prst="rect">
            <a:avLst/>
          </a:prstGeom>
          <a:noFill/>
          <a:ln>
            <a:noFill/>
          </a:ln>
        </p:spPr>
        <p:txBody>
          <a:bodyPr spcFirstLastPara="1" wrap="square" lIns="0" tIns="34275" rIns="68575" bIns="34275"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75" name="Google Shape;75;p16"/>
          <p:cNvSpPr txBox="1">
            <a:spLocks noGrp="1"/>
          </p:cNvSpPr>
          <p:nvPr>
            <p:ph type="sldNum" idx="12"/>
          </p:nvPr>
        </p:nvSpPr>
        <p:spPr>
          <a:xfrm>
            <a:off x="8771327" y="6402411"/>
            <a:ext cx="2743200" cy="206000"/>
          </a:xfrm>
          <a:prstGeom prst="rect">
            <a:avLst/>
          </a:prstGeom>
          <a:noFill/>
          <a:ln>
            <a:noFill/>
          </a:ln>
        </p:spPr>
        <p:txBody>
          <a:bodyPr spcFirstLastPara="1" wrap="square" lIns="68575" tIns="34275" rIns="68575" bIns="34275"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2459719"/>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2 Logo">
  <p:cSld name="2 Logo">
    <p:spTree>
      <p:nvGrpSpPr>
        <p:cNvPr id="1" name="Shape 1292"/>
        <p:cNvGrpSpPr/>
        <p:nvPr/>
      </p:nvGrpSpPr>
      <p:grpSpPr>
        <a:xfrm>
          <a:off x="0" y="0"/>
          <a:ext cx="0" cy="0"/>
          <a:chOff x="0" y="0"/>
          <a:chExt cx="0" cy="0"/>
        </a:xfrm>
      </p:grpSpPr>
      <p:pic>
        <p:nvPicPr>
          <p:cNvPr id="1293" name="Google Shape;1293;p76"/>
          <p:cNvPicPr preferRelativeResize="0"/>
          <p:nvPr/>
        </p:nvPicPr>
        <p:blipFill rotWithShape="1">
          <a:blip r:embed="rId2">
            <a:alphaModFix/>
          </a:blip>
          <a:srcRect/>
          <a:stretch/>
        </p:blipFill>
        <p:spPr>
          <a:xfrm>
            <a:off x="11033333" y="565460"/>
            <a:ext cx="635735" cy="445095"/>
          </a:xfrm>
          <a:prstGeom prst="rect">
            <a:avLst/>
          </a:prstGeom>
          <a:noFill/>
          <a:ln>
            <a:noFill/>
          </a:ln>
        </p:spPr>
      </p:pic>
    </p:spTree>
    <p:extLst>
      <p:ext uri="{BB962C8B-B14F-4D97-AF65-F5344CB8AC3E}">
        <p14:creationId xmlns:p14="http://schemas.microsoft.com/office/powerpoint/2010/main" val="1129602273"/>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matchingName="Basic - two line">
  <p:cSld name="Basic - two line">
    <p:spTree>
      <p:nvGrpSpPr>
        <p:cNvPr id="1" name="Shape 3964"/>
        <p:cNvGrpSpPr/>
        <p:nvPr/>
      </p:nvGrpSpPr>
      <p:grpSpPr>
        <a:xfrm>
          <a:off x="0" y="0"/>
          <a:ext cx="0" cy="0"/>
          <a:chOff x="0" y="0"/>
          <a:chExt cx="0" cy="0"/>
        </a:xfrm>
      </p:grpSpPr>
      <p:pic>
        <p:nvPicPr>
          <p:cNvPr id="3965" name="Google Shape;3965;p277" descr="Salesforce logoGoogle Shape;13;p3"/>
          <p:cNvPicPr preferRelativeResize="0"/>
          <p:nvPr/>
        </p:nvPicPr>
        <p:blipFill rotWithShape="1">
          <a:blip r:embed="rId2">
            <a:alphaModFix/>
          </a:blip>
          <a:srcRect/>
          <a:stretch/>
        </p:blipFill>
        <p:spPr>
          <a:xfrm>
            <a:off x="11033333" y="565459"/>
            <a:ext cx="635735" cy="445096"/>
          </a:xfrm>
          <a:prstGeom prst="rect">
            <a:avLst/>
          </a:prstGeom>
          <a:noFill/>
          <a:ln>
            <a:noFill/>
          </a:ln>
        </p:spPr>
      </p:pic>
      <p:sp>
        <p:nvSpPr>
          <p:cNvPr id="3966" name="Google Shape;3966;p277"/>
          <p:cNvSpPr txBox="1">
            <a:spLocks noGrp="1"/>
          </p:cNvSpPr>
          <p:nvPr>
            <p:ph type="body" idx="1"/>
          </p:nvPr>
        </p:nvSpPr>
        <p:spPr>
          <a:xfrm>
            <a:off x="547366" y="6365912"/>
            <a:ext cx="11040000" cy="165600"/>
          </a:xfrm>
          <a:prstGeom prst="rect">
            <a:avLst/>
          </a:prstGeom>
          <a:noFill/>
          <a:ln>
            <a:noFill/>
          </a:ln>
        </p:spPr>
        <p:txBody>
          <a:bodyPr spcFirstLastPara="1" wrap="square" lIns="0" tIns="0" rIns="0" bIns="0" anchor="b" anchorCtr="0">
            <a:noAutofit/>
          </a:bodyPr>
          <a:lstStyle>
            <a:lvl1pPr marL="304815" lvl="0" indent="-152408" algn="l">
              <a:lnSpc>
                <a:spcPct val="115000"/>
              </a:lnSpc>
              <a:spcBef>
                <a:spcPts val="0"/>
              </a:spcBef>
              <a:spcAft>
                <a:spcPts val="0"/>
              </a:spcAft>
              <a:buClr>
                <a:srgbClr val="444444"/>
              </a:buClr>
              <a:buSzPts val="1400"/>
              <a:buFont typeface="Salesforce Sans"/>
              <a:buNone/>
              <a:defRPr sz="933">
                <a:solidFill>
                  <a:srgbClr val="444444"/>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7" name="Google Shape;3967;p277"/>
          <p:cNvSpPr txBox="1">
            <a:spLocks noGrp="1"/>
          </p:cNvSpPr>
          <p:nvPr>
            <p:ph type="body" idx="2"/>
          </p:nvPr>
        </p:nvSpPr>
        <p:spPr>
          <a:xfrm>
            <a:off x="547369" y="579119"/>
            <a:ext cx="10095200" cy="1042400"/>
          </a:xfrm>
          <a:prstGeom prst="rect">
            <a:avLst/>
          </a:prstGeom>
          <a:noFill/>
          <a:ln>
            <a:noFill/>
          </a:ln>
        </p:spPr>
        <p:txBody>
          <a:bodyPr spcFirstLastPara="1" wrap="square" lIns="0" tIns="0" rIns="0" bIns="0" anchor="t" anchorCtr="0">
            <a:noAutofit/>
          </a:bodyPr>
          <a:lstStyle>
            <a:lvl1pPr marL="304815" lvl="0" indent="-279414" algn="l">
              <a:lnSpc>
                <a:spcPct val="100000"/>
              </a:lnSpc>
              <a:spcBef>
                <a:spcPts val="533"/>
              </a:spcBef>
              <a:spcAft>
                <a:spcPts val="0"/>
              </a:spcAft>
              <a:buSzPts val="3000"/>
              <a:buChar char="●"/>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8" name="Google Shape;3968;p277"/>
          <p:cNvSpPr txBox="1">
            <a:spLocks noGrp="1"/>
          </p:cNvSpPr>
          <p:nvPr>
            <p:ph type="body" idx="3"/>
          </p:nvPr>
        </p:nvSpPr>
        <p:spPr>
          <a:xfrm>
            <a:off x="547369" y="1676400"/>
            <a:ext cx="10095200" cy="597600"/>
          </a:xfrm>
          <a:prstGeom prst="rect">
            <a:avLst/>
          </a:prstGeom>
          <a:noFill/>
          <a:ln>
            <a:noFill/>
          </a:ln>
        </p:spPr>
        <p:txBody>
          <a:bodyPr spcFirstLastPara="1" wrap="square" lIns="0" tIns="0" rIns="0" bIns="0" anchor="t" anchorCtr="0">
            <a:noAutofit/>
          </a:bodyPr>
          <a:lstStyle>
            <a:lvl1pPr marL="304815" lvl="0" indent="-152408" algn="l">
              <a:lnSpc>
                <a:spcPct val="90000"/>
              </a:lnSpc>
              <a:spcBef>
                <a:spcPts val="0"/>
              </a:spcBef>
              <a:spcAft>
                <a:spcPts val="0"/>
              </a:spcAft>
              <a:buClr>
                <a:srgbClr val="032D60"/>
              </a:buClr>
              <a:buSzPts val="3600"/>
              <a:buFont typeface="Salesforce Sans"/>
              <a:buNone/>
              <a:defRPr sz="2400">
                <a:solidFill>
                  <a:srgbClr val="032D60"/>
                </a:solidFill>
              </a:defRPr>
            </a:lvl1pPr>
            <a:lvl2pPr marL="609630" lvl="1" indent="-279414" algn="l">
              <a:lnSpc>
                <a:spcPct val="100000"/>
              </a:lnSpc>
              <a:spcBef>
                <a:spcPts val="533"/>
              </a:spcBef>
              <a:spcAft>
                <a:spcPts val="0"/>
              </a:spcAft>
              <a:buSzPts val="3000"/>
              <a:buChar char="○"/>
              <a:defRPr/>
            </a:lvl2pPr>
            <a:lvl3pPr marL="914446" lvl="2" indent="-279414" algn="l">
              <a:lnSpc>
                <a:spcPct val="100000"/>
              </a:lnSpc>
              <a:spcBef>
                <a:spcPts val="533"/>
              </a:spcBef>
              <a:spcAft>
                <a:spcPts val="0"/>
              </a:spcAft>
              <a:buSzPts val="3000"/>
              <a:buChar char="■"/>
              <a:defRPr/>
            </a:lvl3pPr>
            <a:lvl4pPr marL="1219261" lvl="3" indent="-279414" algn="l">
              <a:lnSpc>
                <a:spcPct val="100000"/>
              </a:lnSpc>
              <a:spcBef>
                <a:spcPts val="533"/>
              </a:spcBef>
              <a:spcAft>
                <a:spcPts val="0"/>
              </a:spcAft>
              <a:buSzPts val="3000"/>
              <a:buChar char="●"/>
              <a:defRPr/>
            </a:lvl4pPr>
            <a:lvl5pPr marL="1524076" lvl="4" indent="-279414" algn="l">
              <a:lnSpc>
                <a:spcPct val="100000"/>
              </a:lnSpc>
              <a:spcBef>
                <a:spcPts val="533"/>
              </a:spcBef>
              <a:spcAft>
                <a:spcPts val="0"/>
              </a:spcAft>
              <a:buSzPts val="3000"/>
              <a:buChar char="○"/>
              <a:defRPr/>
            </a:lvl5pPr>
            <a:lvl6pPr marL="1828891" lvl="5" indent="-279414" algn="l">
              <a:lnSpc>
                <a:spcPct val="100000"/>
              </a:lnSpc>
              <a:spcBef>
                <a:spcPts val="533"/>
              </a:spcBef>
              <a:spcAft>
                <a:spcPts val="0"/>
              </a:spcAft>
              <a:buSzPts val="3000"/>
              <a:buChar char="■"/>
              <a:defRPr/>
            </a:lvl6pPr>
            <a:lvl7pPr marL="2133707" lvl="6" indent="-279414" algn="l">
              <a:lnSpc>
                <a:spcPct val="100000"/>
              </a:lnSpc>
              <a:spcBef>
                <a:spcPts val="533"/>
              </a:spcBef>
              <a:spcAft>
                <a:spcPts val="0"/>
              </a:spcAft>
              <a:buSzPts val="3000"/>
              <a:buChar char="●"/>
              <a:defRPr/>
            </a:lvl7pPr>
            <a:lvl8pPr marL="2438522" lvl="7" indent="-279414" algn="l">
              <a:lnSpc>
                <a:spcPct val="100000"/>
              </a:lnSpc>
              <a:spcBef>
                <a:spcPts val="533"/>
              </a:spcBef>
              <a:spcAft>
                <a:spcPts val="0"/>
              </a:spcAft>
              <a:buSzPts val="3000"/>
              <a:buChar char="○"/>
              <a:defRPr/>
            </a:lvl8pPr>
            <a:lvl9pPr marL="2743337" lvl="8" indent="-279414" algn="l">
              <a:lnSpc>
                <a:spcPct val="100000"/>
              </a:lnSpc>
              <a:spcBef>
                <a:spcPts val="533"/>
              </a:spcBef>
              <a:spcAft>
                <a:spcPts val="0"/>
              </a:spcAft>
              <a:buSzPts val="3000"/>
              <a:buChar char="■"/>
              <a:defRPr/>
            </a:lvl9pPr>
          </a:lstStyle>
          <a:p>
            <a:endParaRPr/>
          </a:p>
        </p:txBody>
      </p:sp>
      <p:sp>
        <p:nvSpPr>
          <p:cNvPr id="3969" name="Google Shape;3969;p277"/>
          <p:cNvSpPr txBox="1">
            <a:spLocks noGrp="1"/>
          </p:cNvSpPr>
          <p:nvPr>
            <p:ph type="sldNum" idx="12"/>
          </p:nvPr>
        </p:nvSpPr>
        <p:spPr>
          <a:xfrm>
            <a:off x="5892799" y="6126500"/>
            <a:ext cx="2844800" cy="460000"/>
          </a:xfrm>
          <a:prstGeom prst="rect">
            <a:avLst/>
          </a:prstGeom>
          <a:noFill/>
          <a:ln>
            <a:noFill/>
          </a:ln>
        </p:spPr>
        <p:txBody>
          <a:bodyPr spcFirstLastPara="1" wrap="square" lIns="182850" tIns="182850" rIns="182850" bIns="182850" anchor="ctr" anchorCtr="0">
            <a:normAutofit/>
          </a:bodyPr>
          <a:lstStyle>
            <a:lvl1pPr marL="0" lvl="0"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1pPr>
            <a:lvl2pPr marL="0" lvl="1"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2pPr>
            <a:lvl3pPr marL="0" lvl="2"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3pPr>
            <a:lvl4pPr marL="0" lvl="3"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4pPr>
            <a:lvl5pPr marL="0" lvl="4"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5pPr>
            <a:lvl6pPr marL="0" lvl="5"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6pPr>
            <a:lvl7pPr marL="0" lvl="6"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7pPr>
            <a:lvl8pPr marL="0" lvl="7"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8pPr>
            <a:lvl9pPr marL="0" lvl="8" indent="0" algn="r">
              <a:lnSpc>
                <a:spcPct val="100000"/>
              </a:lnSpc>
              <a:spcBef>
                <a:spcPts val="0"/>
              </a:spcBef>
              <a:spcAft>
                <a:spcPts val="0"/>
              </a:spcAft>
              <a:buClr>
                <a:srgbClr val="444444"/>
              </a:buClr>
              <a:buSzPts val="2000"/>
              <a:buFont typeface="Salesforce Sans"/>
              <a:buNone/>
              <a:defRPr sz="1333">
                <a:solidFill>
                  <a:srgbClr val="444444"/>
                </a:solidFill>
                <a:latin typeface="Salesforce Sans"/>
                <a:ea typeface="Salesforce Sans"/>
                <a:cs typeface="Salesforce Sans"/>
                <a:sym typeface="Salesforce Sans"/>
              </a:defRPr>
            </a:lvl9pPr>
          </a:lstStyle>
          <a:p>
            <a:fld id="{00000000-1234-1234-1234-123412341234}" type="slidenum">
              <a:rPr lang="en" smtClean="0"/>
              <a:pPr/>
              <a:t>‹#›</a:t>
            </a:fld>
            <a:endParaRPr lang="en">
              <a:solidFill>
                <a:schemeClr val="dk2"/>
              </a:solidFill>
              <a:latin typeface="Arial"/>
              <a:ea typeface="Arial"/>
              <a:cs typeface="Arial"/>
              <a:sym typeface="Arial"/>
            </a:endParaRPr>
          </a:p>
        </p:txBody>
      </p:sp>
    </p:spTree>
    <p:extLst>
      <p:ext uri="{BB962C8B-B14F-4D97-AF65-F5344CB8AC3E}">
        <p14:creationId xmlns:p14="http://schemas.microsoft.com/office/powerpoint/2010/main" val="2613771196"/>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37 Product feature 1">
  <p:cSld name="37 Product feature 1">
    <p:bg>
      <p:bgPr>
        <a:solidFill>
          <a:schemeClr val="accent5"/>
        </a:solidFill>
        <a:effectLst/>
      </p:bgPr>
    </p:bg>
    <p:spTree>
      <p:nvGrpSpPr>
        <p:cNvPr id="1" name="Shape 4401"/>
        <p:cNvGrpSpPr/>
        <p:nvPr/>
      </p:nvGrpSpPr>
      <p:grpSpPr>
        <a:xfrm>
          <a:off x="0" y="0"/>
          <a:ext cx="0" cy="0"/>
          <a:chOff x="0" y="0"/>
          <a:chExt cx="0" cy="0"/>
        </a:xfrm>
      </p:grpSpPr>
      <p:pic>
        <p:nvPicPr>
          <p:cNvPr id="4402" name="Google Shape;4402;p320"/>
          <p:cNvPicPr preferRelativeResize="0"/>
          <p:nvPr/>
        </p:nvPicPr>
        <p:blipFill rotWithShape="1">
          <a:blip r:embed="rId2">
            <a:alphaModFix amt="38000"/>
          </a:blip>
          <a:srcRect l="894" t="10837" r="42467" b="30071"/>
          <a:stretch/>
        </p:blipFill>
        <p:spPr>
          <a:xfrm rot="10800000" flipH="1">
            <a:off x="9361771" y="-45033"/>
            <a:ext cx="3236721" cy="2336147"/>
          </a:xfrm>
          <a:prstGeom prst="rect">
            <a:avLst/>
          </a:prstGeom>
          <a:noFill/>
          <a:ln>
            <a:noFill/>
          </a:ln>
        </p:spPr>
      </p:pic>
      <p:pic>
        <p:nvPicPr>
          <p:cNvPr id="4403" name="Google Shape;4403;p320"/>
          <p:cNvPicPr preferRelativeResize="0"/>
          <p:nvPr/>
        </p:nvPicPr>
        <p:blipFill rotWithShape="1">
          <a:blip r:embed="rId3">
            <a:alphaModFix/>
          </a:blip>
          <a:srcRect t="10944" r="11426"/>
          <a:stretch/>
        </p:blipFill>
        <p:spPr>
          <a:xfrm flipH="1">
            <a:off x="1629" y="107376"/>
            <a:ext cx="6496522" cy="5469049"/>
          </a:xfrm>
          <a:prstGeom prst="rect">
            <a:avLst/>
          </a:prstGeom>
          <a:noFill/>
          <a:ln>
            <a:noFill/>
          </a:ln>
        </p:spPr>
      </p:pic>
      <p:grpSp>
        <p:nvGrpSpPr>
          <p:cNvPr id="4404" name="Google Shape;4404;p320"/>
          <p:cNvGrpSpPr/>
          <p:nvPr/>
        </p:nvGrpSpPr>
        <p:grpSpPr>
          <a:xfrm flipH="1">
            <a:off x="-205" y="5794637"/>
            <a:ext cx="3697085" cy="1064200"/>
            <a:chOff x="8490945" y="5794637"/>
            <a:chExt cx="3696100" cy="1064200"/>
          </a:xfrm>
        </p:grpSpPr>
        <p:pic>
          <p:nvPicPr>
            <p:cNvPr id="4405" name="Google Shape;4405;p320" title="alt=&quot;&quot;"/>
            <p:cNvPicPr preferRelativeResize="0"/>
            <p:nvPr/>
          </p:nvPicPr>
          <p:blipFill rotWithShape="1">
            <a:blip r:embed="rId4">
              <a:alphaModFix/>
            </a:blip>
            <a:srcRect b="9428"/>
            <a:stretch/>
          </p:blipFill>
          <p:spPr>
            <a:xfrm rot="5">
              <a:off x="8490945" y="5999329"/>
              <a:ext cx="2927399" cy="858670"/>
            </a:xfrm>
            <a:prstGeom prst="rect">
              <a:avLst/>
            </a:prstGeom>
            <a:noFill/>
            <a:ln>
              <a:noFill/>
            </a:ln>
          </p:spPr>
        </p:pic>
        <p:pic>
          <p:nvPicPr>
            <p:cNvPr id="4406" name="Google Shape;4406;p320" title="alt=&quot;&quot;"/>
            <p:cNvPicPr preferRelativeResize="0"/>
            <p:nvPr/>
          </p:nvPicPr>
          <p:blipFill rotWithShape="1">
            <a:blip r:embed="rId5">
              <a:alphaModFix/>
            </a:blip>
            <a:srcRect l="19156" t="21979" r="31986" b="38630"/>
            <a:stretch/>
          </p:blipFill>
          <p:spPr>
            <a:xfrm>
              <a:off x="10330873" y="5794637"/>
              <a:ext cx="1856172" cy="1064200"/>
            </a:xfrm>
            <a:prstGeom prst="rect">
              <a:avLst/>
            </a:prstGeom>
            <a:noFill/>
            <a:ln>
              <a:noFill/>
            </a:ln>
          </p:spPr>
        </p:pic>
      </p:grpSp>
      <p:pic>
        <p:nvPicPr>
          <p:cNvPr id="4407" name="Google Shape;4407;p320"/>
          <p:cNvPicPr preferRelativeResize="0"/>
          <p:nvPr/>
        </p:nvPicPr>
        <p:blipFill rotWithShape="1">
          <a:blip r:embed="rId6">
            <a:alphaModFix/>
          </a:blip>
          <a:srcRect r="9966"/>
          <a:stretch/>
        </p:blipFill>
        <p:spPr>
          <a:xfrm>
            <a:off x="11022809" y="5971339"/>
            <a:ext cx="1182147" cy="890026"/>
          </a:xfrm>
          <a:prstGeom prst="rect">
            <a:avLst/>
          </a:prstGeom>
          <a:noFill/>
          <a:ln>
            <a:noFill/>
          </a:ln>
        </p:spPr>
      </p:pic>
      <p:pic>
        <p:nvPicPr>
          <p:cNvPr id="4408" name="Google Shape;4408;p320" descr="pasted-image.pdf"/>
          <p:cNvPicPr preferRelativeResize="0"/>
          <p:nvPr/>
        </p:nvPicPr>
        <p:blipFill rotWithShape="1">
          <a:blip r:embed="rId7">
            <a:alphaModFix/>
          </a:blip>
          <a:srcRect/>
          <a:stretch/>
        </p:blipFill>
        <p:spPr>
          <a:xfrm>
            <a:off x="11033333" y="565460"/>
            <a:ext cx="635735" cy="445095"/>
          </a:xfrm>
          <a:prstGeom prst="rect">
            <a:avLst/>
          </a:prstGeom>
          <a:noFill/>
          <a:ln>
            <a:noFill/>
          </a:ln>
        </p:spPr>
      </p:pic>
      <p:sp>
        <p:nvSpPr>
          <p:cNvPr id="4409" name="Google Shape;4409;p320"/>
          <p:cNvSpPr txBox="1">
            <a:spLocks noGrp="1"/>
          </p:cNvSpPr>
          <p:nvPr>
            <p:ph type="title"/>
          </p:nvPr>
        </p:nvSpPr>
        <p:spPr>
          <a:xfrm>
            <a:off x="579117" y="1926336"/>
            <a:ext cx="5116000" cy="2617600"/>
          </a:xfrm>
          <a:prstGeom prst="rect">
            <a:avLst/>
          </a:prstGeom>
        </p:spPr>
        <p:txBody>
          <a:bodyPr spcFirstLastPara="1" wrap="square" lIns="0" tIns="0" rIns="0" bIns="0" anchor="b" anchorCtr="0">
            <a:noAutofit/>
          </a:bodyPr>
          <a:lstStyle>
            <a:lvl1pPr lvl="0">
              <a:lnSpc>
                <a:spcPct val="90000"/>
              </a:lnSpc>
              <a:spcBef>
                <a:spcPts val="0"/>
              </a:spcBef>
              <a:spcAft>
                <a:spcPts val="0"/>
              </a:spcAft>
              <a:buSzPts val="7200"/>
              <a:buNone/>
              <a:defRPr sz="4800"/>
            </a:lvl1pPr>
            <a:lvl2pPr lvl="1">
              <a:spcBef>
                <a:spcPts val="0"/>
              </a:spcBef>
              <a:spcAft>
                <a:spcPts val="0"/>
              </a:spcAft>
              <a:buSzPts val="5600"/>
              <a:buNone/>
              <a:defRPr/>
            </a:lvl2pPr>
            <a:lvl3pPr lvl="2">
              <a:spcBef>
                <a:spcPts val="0"/>
              </a:spcBef>
              <a:spcAft>
                <a:spcPts val="0"/>
              </a:spcAft>
              <a:buSzPts val="5600"/>
              <a:buNone/>
              <a:defRPr/>
            </a:lvl3pPr>
            <a:lvl4pPr lvl="3">
              <a:spcBef>
                <a:spcPts val="0"/>
              </a:spcBef>
              <a:spcAft>
                <a:spcPts val="0"/>
              </a:spcAft>
              <a:buSzPts val="5600"/>
              <a:buNone/>
              <a:defRPr/>
            </a:lvl4pPr>
            <a:lvl5pPr lvl="4">
              <a:spcBef>
                <a:spcPts val="0"/>
              </a:spcBef>
              <a:spcAft>
                <a:spcPts val="0"/>
              </a:spcAft>
              <a:buSzPts val="5600"/>
              <a:buNone/>
              <a:defRPr/>
            </a:lvl5pPr>
            <a:lvl6pPr lvl="5">
              <a:spcBef>
                <a:spcPts val="0"/>
              </a:spcBef>
              <a:spcAft>
                <a:spcPts val="0"/>
              </a:spcAft>
              <a:buSzPts val="5600"/>
              <a:buNone/>
              <a:defRPr/>
            </a:lvl6pPr>
            <a:lvl7pPr lvl="6">
              <a:spcBef>
                <a:spcPts val="0"/>
              </a:spcBef>
              <a:spcAft>
                <a:spcPts val="0"/>
              </a:spcAft>
              <a:buSzPts val="5600"/>
              <a:buNone/>
              <a:defRPr/>
            </a:lvl7pPr>
            <a:lvl8pPr lvl="7">
              <a:spcBef>
                <a:spcPts val="0"/>
              </a:spcBef>
              <a:spcAft>
                <a:spcPts val="0"/>
              </a:spcAft>
              <a:buSzPts val="5600"/>
              <a:buNone/>
              <a:defRPr/>
            </a:lvl8pPr>
            <a:lvl9pPr lvl="8">
              <a:spcBef>
                <a:spcPts val="0"/>
              </a:spcBef>
              <a:spcAft>
                <a:spcPts val="0"/>
              </a:spcAft>
              <a:buSzPts val="5600"/>
              <a:buNone/>
              <a:defRPr/>
            </a:lvl9pPr>
          </a:lstStyle>
          <a:p>
            <a:endParaRPr/>
          </a:p>
        </p:txBody>
      </p:sp>
    </p:spTree>
    <p:extLst>
      <p:ext uri="{BB962C8B-B14F-4D97-AF65-F5344CB8AC3E}">
        <p14:creationId xmlns:p14="http://schemas.microsoft.com/office/powerpoint/2010/main" val="3273424177"/>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Title and content layout 2">
    <p:bg>
      <p:bgPr>
        <a:solidFill>
          <a:schemeClr val="tx1"/>
        </a:solidFill>
        <a:effectLst/>
      </p:bgPr>
    </p:bg>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Content Placeholder 17">
            <a:extLst>
              <a:ext uri="{FF2B5EF4-FFF2-40B4-BE49-F238E27FC236}">
                <a16:creationId xmlns:a16="http://schemas.microsoft.com/office/drawing/2014/main" id="{BE748BEE-70F1-9DCF-4A93-CD76C23F094F}"/>
              </a:ext>
            </a:extLst>
          </p:cNvPr>
          <p:cNvSpPr>
            <a:spLocks noGrp="1"/>
          </p:cNvSpPr>
          <p:nvPr>
            <p:ph sz="quarter" idx="10"/>
          </p:nvPr>
        </p:nvSpPr>
        <p:spPr>
          <a:xfrm>
            <a:off x="813816" y="1447800"/>
            <a:ext cx="10515600" cy="4648200"/>
          </a:xfrm>
        </p:spPr>
        <p:txBody>
          <a:bodyPr>
            <a:normAutofit/>
          </a:bodyPr>
          <a:lstStyle>
            <a:lvl1pPr>
              <a:defRPr sz="1800">
                <a:solidFill>
                  <a:schemeClr val="bg1"/>
                </a:solidFill>
              </a:defRPr>
            </a:lvl1pPr>
            <a:lvl2pPr marL="344488" indent="-173038">
              <a:buFont typeface="System Font Regular"/>
              <a:buChar char="⎼"/>
              <a:tabLst/>
              <a:defRPr sz="1800">
                <a:solidFill>
                  <a:schemeClr val="bg1"/>
                </a:solidFill>
              </a:defRPr>
            </a:lvl2pPr>
            <a:lvl3pPr marL="515938" indent="-171450">
              <a:buFont typeface="Wingdings" pitchFamily="2" charset="2"/>
              <a:buChar char="§"/>
              <a:tabLst/>
              <a:defRPr sz="1800">
                <a:solidFill>
                  <a:schemeClr val="bg1"/>
                </a:solidFill>
              </a:defRPr>
            </a:lvl3pPr>
            <a:lvl4pPr marL="742950" indent="-227013">
              <a:buFont typeface="System Font Regular"/>
              <a:buChar char="⎼"/>
              <a:tabLst/>
              <a:defRPr sz="1800">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1DDFA5C8-65C4-F016-C39A-2B72D60E0770}"/>
              </a:ext>
            </a:extLst>
          </p:cNvPr>
          <p:cNvSpPr>
            <a:spLocks noGrp="1"/>
          </p:cNvSpPr>
          <p:nvPr>
            <p:ph type="sldNum" sz="quarter" idx="11"/>
          </p:nvPr>
        </p:nvSpPr>
        <p:spPr/>
        <p:txBody>
          <a:bodyPr/>
          <a:lstStyle>
            <a:lvl1pPr>
              <a:defRPr>
                <a:solidFill>
                  <a:schemeClr val="bg2"/>
                </a:solidFill>
              </a:defRPr>
            </a:lvl1pPr>
          </a:lstStyle>
          <a:p>
            <a:fld id="{9E74224C-F5B0-D04D-98A9-64EC68DC7E07}" type="slidenum">
              <a:rPr lang="en-US" smtClean="0"/>
              <a:pPr/>
              <a:t>‹#›</a:t>
            </a:fld>
            <a:endParaRPr lang="en-US"/>
          </a:p>
        </p:txBody>
      </p:sp>
    </p:spTree>
    <p:extLst>
      <p:ext uri="{BB962C8B-B14F-4D97-AF65-F5344CB8AC3E}">
        <p14:creationId xmlns:p14="http://schemas.microsoft.com/office/powerpoint/2010/main" val="1670757712"/>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1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6071239"/>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cSld name="1_Title and content layout 1">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ontent slide</a:t>
            </a:r>
            <a:endParaRPr lang="en-GB"/>
          </a:p>
        </p:txBody>
      </p:sp>
      <p:grpSp>
        <p:nvGrpSpPr>
          <p:cNvPr id="3" name="Group 2">
            <a:extLst>
              <a:ext uri="{FF2B5EF4-FFF2-40B4-BE49-F238E27FC236}">
                <a16:creationId xmlns:a16="http://schemas.microsoft.com/office/drawing/2014/main" id="{EA3A1B29-CC56-5B56-9ADA-82F65D00ACC8}"/>
              </a:ext>
            </a:extLst>
          </p:cNvPr>
          <p:cNvGrpSpPr/>
          <p:nvPr/>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8" name="Content Placeholder 17">
            <a:extLst>
              <a:ext uri="{FF2B5EF4-FFF2-40B4-BE49-F238E27FC236}">
                <a16:creationId xmlns:a16="http://schemas.microsoft.com/office/drawing/2014/main" id="{BF4F9CAA-D67F-C5DA-1616-357AB10E3460}"/>
              </a:ext>
            </a:extLst>
          </p:cNvPr>
          <p:cNvSpPr>
            <a:spLocks noGrp="1"/>
          </p:cNvSpPr>
          <p:nvPr>
            <p:ph sz="quarter" idx="10"/>
          </p:nvPr>
        </p:nvSpPr>
        <p:spPr>
          <a:xfrm>
            <a:off x="838200" y="1447800"/>
            <a:ext cx="10515600" cy="4648200"/>
          </a:xfrm>
        </p:spPr>
        <p:txBody>
          <a:bodyPr>
            <a:normAutofit/>
          </a:bodyPr>
          <a:lstStyle>
            <a:lvl1pPr>
              <a:defRPr sz="1800"/>
            </a:lvl1pPr>
            <a:lvl2pPr marL="344488" indent="-173038">
              <a:buFont typeface="System Font Regular"/>
              <a:buChar char="⎼"/>
              <a:tabLst/>
              <a:defRPr sz="1800"/>
            </a:lvl2pPr>
            <a:lvl3pPr marL="515938" indent="-171450">
              <a:buFont typeface="Wingdings" pitchFamily="2" charset="2"/>
              <a:buChar char="§"/>
              <a:tabLst/>
              <a:defRPr sz="1800"/>
            </a:lvl3pPr>
            <a:lvl4pPr marL="742950" indent="-227013">
              <a:buFont typeface="System Font Regular"/>
              <a:buChar char="⎼"/>
              <a:tabLst/>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a:extLst>
              <a:ext uri="{FF2B5EF4-FFF2-40B4-BE49-F238E27FC236}">
                <a16:creationId xmlns:a16="http://schemas.microsoft.com/office/drawing/2014/main" id="{2A51CCD9-EE1C-6E4E-3062-32FDB9DF76D6}"/>
              </a:ext>
            </a:extLst>
          </p:cNvPr>
          <p:cNvSpPr>
            <a:spLocks noGrp="1"/>
          </p:cNvSpPr>
          <p:nvPr>
            <p:ph type="sldNum" sz="quarter" idx="11"/>
          </p:nvPr>
        </p:nvSpPr>
        <p:spPr/>
        <p:txBody>
          <a:bodyPr/>
          <a:lstStyle/>
          <a:p>
            <a:fld id="{9E74224C-F5B0-D04D-98A9-64EC68DC7E07}" type="slidenum">
              <a:rPr lang="en-US" smtClean="0"/>
              <a:pPr/>
              <a:t>‹#›</a:t>
            </a:fld>
            <a:endParaRPr lang="en-US"/>
          </a:p>
        </p:txBody>
      </p:sp>
      <p:sp>
        <p:nvSpPr>
          <p:cNvPr id="2" name="Rectangle 1">
            <a:extLst>
              <a:ext uri="{FF2B5EF4-FFF2-40B4-BE49-F238E27FC236}">
                <a16:creationId xmlns:a16="http://schemas.microsoft.com/office/drawing/2014/main" id="{2434A8C4-0EF4-2B48-0CFC-1F2EFFB0DABC}"/>
              </a:ext>
            </a:extLst>
          </p:cNvPr>
          <p:cNvSpPr/>
          <p:nvPr userDrawn="1"/>
        </p:nvSpPr>
        <p:spPr>
          <a:xfrm>
            <a:off x="6663267" y="4191000"/>
            <a:ext cx="5528733" cy="2667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Tree>
    <p:extLst>
      <p:ext uri="{BB962C8B-B14F-4D97-AF65-F5344CB8AC3E}">
        <p14:creationId xmlns:p14="http://schemas.microsoft.com/office/powerpoint/2010/main" val="3828794561"/>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nd subtitle layout no bricks">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itle and subtit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888B8D"/>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51B608A9-40DB-F585-1F98-3AFDAB1AB49B}"/>
              </a:ext>
            </a:extLst>
          </p:cNvPr>
          <p:cNvGrpSpPr/>
          <p:nvPr/>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grpSp>
    </p:spTree>
    <p:extLst>
      <p:ext uri="{BB962C8B-B14F-4D97-AF65-F5344CB8AC3E}">
        <p14:creationId xmlns:p14="http://schemas.microsoft.com/office/powerpoint/2010/main" val="132810684"/>
      </p:ext>
    </p:extLst>
  </p:cSld>
  <p:clrMapOvr>
    <a:masterClrMapping/>
  </p:clrMapOvr>
  <p:hf hdr="0" ftr="0" dt="0"/>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hree point triang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points - triangle </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4A4E4F81-F86D-CD02-2171-579792C7EC2B}"/>
              </a:ext>
            </a:extLst>
          </p:cNvPr>
          <p:cNvGrpSpPr/>
          <p:nvPr userDrawn="1"/>
        </p:nvGrpSpPr>
        <p:grpSpPr>
          <a:xfrm>
            <a:off x="815975" y="1509032"/>
            <a:ext cx="10620375" cy="4035341"/>
            <a:chOff x="815975" y="1509032"/>
            <a:chExt cx="10620375" cy="4035341"/>
          </a:xfrm>
        </p:grpSpPr>
        <p:cxnSp>
          <p:nvCxnSpPr>
            <p:cNvPr id="10" name="Straight Connector 9">
              <a:extLst>
                <a:ext uri="{FF2B5EF4-FFF2-40B4-BE49-F238E27FC236}">
                  <a16:creationId xmlns:a16="http://schemas.microsoft.com/office/drawing/2014/main" id="{4332F8BB-F856-492D-EF86-3672D81F45A3}"/>
                </a:ext>
              </a:extLst>
            </p:cNvPr>
            <p:cNvCxnSpPr>
              <a:cxnSpLocks/>
            </p:cNvCxnSpPr>
            <p:nvPr/>
          </p:nvCxnSpPr>
          <p:spPr>
            <a:xfrm>
              <a:off x="6145778" y="4448983"/>
              <a:ext cx="0" cy="109539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0A875A-BA62-931A-95F4-969CB42EDF01}"/>
                </a:ext>
              </a:extLst>
            </p:cNvPr>
            <p:cNvCxnSpPr>
              <a:cxnSpLocks/>
            </p:cNvCxnSpPr>
            <p:nvPr/>
          </p:nvCxnSpPr>
          <p:spPr>
            <a:xfrm>
              <a:off x="6995461" y="3180297"/>
              <a:ext cx="4440889"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9FE41D-ED54-4326-E9B9-DFDDAC0F6DD8}"/>
                </a:ext>
              </a:extLst>
            </p:cNvPr>
            <p:cNvCxnSpPr>
              <a:cxnSpLocks/>
            </p:cNvCxnSpPr>
            <p:nvPr/>
          </p:nvCxnSpPr>
          <p:spPr>
            <a:xfrm flipH="1">
              <a:off x="815975" y="3166266"/>
              <a:ext cx="4441007" cy="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6BA64D6-9D26-7D28-2B82-0CFC40D1CB1E}"/>
                </a:ext>
              </a:extLst>
            </p:cNvPr>
            <p:cNvGrpSpPr/>
            <p:nvPr/>
          </p:nvGrpSpPr>
          <p:grpSpPr>
            <a:xfrm>
              <a:off x="4082985" y="1509032"/>
              <a:ext cx="4125585" cy="3574527"/>
              <a:chOff x="1531368" y="776018"/>
              <a:chExt cx="1842823" cy="1596676"/>
            </a:xfrm>
          </p:grpSpPr>
          <p:sp>
            <p:nvSpPr>
              <p:cNvPr id="25" name="Freeform 24">
                <a:extLst>
                  <a:ext uri="{FF2B5EF4-FFF2-40B4-BE49-F238E27FC236}">
                    <a16:creationId xmlns:a16="http://schemas.microsoft.com/office/drawing/2014/main" id="{A6929A9F-C0D2-B1BB-D232-DFB0470A0694}"/>
                  </a:ext>
                </a:extLst>
              </p:cNvPr>
              <p:cNvSpPr/>
              <p:nvPr/>
            </p:nvSpPr>
            <p:spPr>
              <a:xfrm>
                <a:off x="1531368" y="776099"/>
                <a:ext cx="894993" cy="1550745"/>
              </a:xfrm>
              <a:custGeom>
                <a:avLst/>
                <a:gdLst>
                  <a:gd name="connsiteX0" fmla="*/ 894994 w 894993"/>
                  <a:gd name="connsiteY0" fmla="*/ 747613 h 1550745"/>
                  <a:gd name="connsiteX1" fmla="*/ 894994 w 894993"/>
                  <a:gd name="connsiteY1" fmla="*/ 0 h 1550745"/>
                  <a:gd name="connsiteX2" fmla="*/ 0 w 894993"/>
                  <a:gd name="connsiteY2" fmla="*/ 1550746 h 1550745"/>
                  <a:gd name="connsiteX3" fmla="*/ 647083 w 894993"/>
                  <a:gd name="connsiteY3" fmla="*/ 1177100 h 1550745"/>
                  <a:gd name="connsiteX4" fmla="*/ 894994 w 894993"/>
                  <a:gd name="connsiteY4" fmla="*/ 747613 h 155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745">
                    <a:moveTo>
                      <a:pt x="894994" y="747613"/>
                    </a:moveTo>
                    <a:lnTo>
                      <a:pt x="894994" y="0"/>
                    </a:lnTo>
                    <a:lnTo>
                      <a:pt x="0" y="1550746"/>
                    </a:lnTo>
                    <a:lnTo>
                      <a:pt x="647083" y="1177100"/>
                    </a:lnTo>
                    <a:lnTo>
                      <a:pt x="894994" y="747613"/>
                    </a:lnTo>
                    <a:close/>
                  </a:path>
                </a:pathLst>
              </a:custGeom>
              <a:solidFill>
                <a:schemeClr val="bg2"/>
              </a:solidFill>
              <a:ln w="8054"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F8376D-4CD0-7566-D598-CCE06C1429FE}"/>
                  </a:ext>
                </a:extLst>
              </p:cNvPr>
              <p:cNvSpPr/>
              <p:nvPr/>
            </p:nvSpPr>
            <p:spPr>
              <a:xfrm>
                <a:off x="1557866" y="1998807"/>
                <a:ext cx="1789826" cy="373887"/>
              </a:xfrm>
              <a:custGeom>
                <a:avLst/>
                <a:gdLst>
                  <a:gd name="connsiteX0" fmla="*/ 647405 w 1789826"/>
                  <a:gd name="connsiteY0" fmla="*/ 0 h 373887"/>
                  <a:gd name="connsiteX1" fmla="*/ 0 w 1789826"/>
                  <a:gd name="connsiteY1" fmla="*/ 373887 h 373887"/>
                  <a:gd name="connsiteX2" fmla="*/ 1789827 w 1789826"/>
                  <a:gd name="connsiteY2" fmla="*/ 373887 h 373887"/>
                  <a:gd name="connsiteX3" fmla="*/ 1142422 w 1789826"/>
                  <a:gd name="connsiteY3" fmla="*/ 0 h 373887"/>
                  <a:gd name="connsiteX4" fmla="*/ 647405 w 1789826"/>
                  <a:gd name="connsiteY4" fmla="*/ 0 h 3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826" h="373887">
                    <a:moveTo>
                      <a:pt x="647405" y="0"/>
                    </a:moveTo>
                    <a:lnTo>
                      <a:pt x="0" y="373887"/>
                    </a:lnTo>
                    <a:lnTo>
                      <a:pt x="1789827" y="373887"/>
                    </a:lnTo>
                    <a:lnTo>
                      <a:pt x="1142422" y="0"/>
                    </a:lnTo>
                    <a:lnTo>
                      <a:pt x="647405" y="0"/>
                    </a:lnTo>
                    <a:close/>
                  </a:path>
                </a:pathLst>
              </a:custGeom>
              <a:solidFill>
                <a:schemeClr val="accent1"/>
              </a:solidFill>
              <a:ln w="805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EF93735-CD53-049C-9310-71CB004D92A5}"/>
                  </a:ext>
                </a:extLst>
              </p:cNvPr>
              <p:cNvSpPr/>
              <p:nvPr/>
            </p:nvSpPr>
            <p:spPr>
              <a:xfrm>
                <a:off x="2479198" y="776018"/>
                <a:ext cx="894993" cy="1550826"/>
              </a:xfrm>
              <a:custGeom>
                <a:avLst/>
                <a:gdLst>
                  <a:gd name="connsiteX0" fmla="*/ 247911 w 894993"/>
                  <a:gd name="connsiteY0" fmla="*/ 1177181 h 1550826"/>
                  <a:gd name="connsiteX1" fmla="*/ 894994 w 894993"/>
                  <a:gd name="connsiteY1" fmla="*/ 1550826 h 1550826"/>
                  <a:gd name="connsiteX2" fmla="*/ 0 w 894993"/>
                  <a:gd name="connsiteY2" fmla="*/ 0 h 1550826"/>
                  <a:gd name="connsiteX3" fmla="*/ 0 w 894993"/>
                  <a:gd name="connsiteY3" fmla="*/ 747694 h 1550826"/>
                  <a:gd name="connsiteX4" fmla="*/ 247911 w 894993"/>
                  <a:gd name="connsiteY4" fmla="*/ 1177181 h 155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93" h="1550826">
                    <a:moveTo>
                      <a:pt x="247911" y="1177181"/>
                    </a:moveTo>
                    <a:lnTo>
                      <a:pt x="894994" y="1550826"/>
                    </a:lnTo>
                    <a:lnTo>
                      <a:pt x="0" y="0"/>
                    </a:lnTo>
                    <a:lnTo>
                      <a:pt x="0" y="747694"/>
                    </a:lnTo>
                    <a:lnTo>
                      <a:pt x="247911" y="1177181"/>
                    </a:lnTo>
                    <a:close/>
                  </a:path>
                </a:pathLst>
              </a:custGeom>
              <a:solidFill>
                <a:schemeClr val="tx2"/>
              </a:solidFill>
              <a:ln w="8054" cap="flat">
                <a:noFill/>
                <a:prstDash val="solid"/>
                <a:miter/>
              </a:ln>
            </p:spPr>
            <p:txBody>
              <a:bodyPr rtlCol="0" anchor="ctr"/>
              <a:lstStyle/>
              <a:p>
                <a:endParaRPr lang="en-US"/>
              </a:p>
            </p:txBody>
          </p:sp>
        </p:grpSp>
      </p:grpSp>
      <p:sp>
        <p:nvSpPr>
          <p:cNvPr id="28" name="Text Placeholder 49">
            <a:extLst>
              <a:ext uri="{FF2B5EF4-FFF2-40B4-BE49-F238E27FC236}">
                <a16:creationId xmlns:a16="http://schemas.microsoft.com/office/drawing/2014/main" id="{5FC72C66-FCCA-1483-EC99-713AC8B15A7D}"/>
              </a:ext>
            </a:extLst>
          </p:cNvPr>
          <p:cNvSpPr>
            <a:spLocks noGrp="1"/>
          </p:cNvSpPr>
          <p:nvPr>
            <p:ph type="body" sz="quarter" idx="16" hasCustomPrompt="1"/>
          </p:nvPr>
        </p:nvSpPr>
        <p:spPr>
          <a:xfrm>
            <a:off x="7712433" y="3191585"/>
            <a:ext cx="3483481" cy="575650"/>
          </a:xfrm>
        </p:spPr>
        <p:txBody>
          <a:bodyPr>
            <a:normAutofit/>
          </a:bodyPr>
          <a:lstStyle>
            <a:lvl1pPr algn="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29" name="Text Placeholder 49">
            <a:extLst>
              <a:ext uri="{FF2B5EF4-FFF2-40B4-BE49-F238E27FC236}">
                <a16:creationId xmlns:a16="http://schemas.microsoft.com/office/drawing/2014/main" id="{446E5FD7-E6B6-5D07-4E04-2C4DAF3DD8D9}"/>
              </a:ext>
            </a:extLst>
          </p:cNvPr>
          <p:cNvSpPr>
            <a:spLocks noGrp="1"/>
          </p:cNvSpPr>
          <p:nvPr>
            <p:ph type="body" sz="quarter" idx="17" hasCustomPrompt="1"/>
          </p:nvPr>
        </p:nvSpPr>
        <p:spPr>
          <a:xfrm>
            <a:off x="7728483" y="2831683"/>
            <a:ext cx="3461755" cy="324044"/>
          </a:xfrm>
        </p:spPr>
        <p:txBody>
          <a:bodyPr>
            <a:normAutofit/>
          </a:bodyPr>
          <a:lstStyle>
            <a:lvl1pPr algn="r">
              <a:defRPr sz="1600" b="1">
                <a:solidFill>
                  <a:schemeClr val="tx1"/>
                </a:solidFill>
              </a:defRPr>
            </a:lvl1pPr>
          </a:lstStyle>
          <a:p>
            <a:pPr lvl="0"/>
            <a:r>
              <a:rPr lang="en-US"/>
              <a:t>Lorem ipsum dolor</a:t>
            </a:r>
          </a:p>
        </p:txBody>
      </p:sp>
      <p:sp>
        <p:nvSpPr>
          <p:cNvPr id="30" name="Text Placeholder 49">
            <a:extLst>
              <a:ext uri="{FF2B5EF4-FFF2-40B4-BE49-F238E27FC236}">
                <a16:creationId xmlns:a16="http://schemas.microsoft.com/office/drawing/2014/main" id="{444760C2-A78A-C2A0-9F75-9D105F5BD15F}"/>
              </a:ext>
            </a:extLst>
          </p:cNvPr>
          <p:cNvSpPr>
            <a:spLocks noGrp="1"/>
          </p:cNvSpPr>
          <p:nvPr>
            <p:ph type="body" sz="quarter" idx="18" hasCustomPrompt="1"/>
          </p:nvPr>
        </p:nvSpPr>
        <p:spPr>
          <a:xfrm>
            <a:off x="980036" y="3191585"/>
            <a:ext cx="3744364" cy="575650"/>
          </a:xfrm>
        </p:spPr>
        <p:txBody>
          <a:bodyPr>
            <a:normAutofit/>
          </a:bodyPr>
          <a:lstStyle>
            <a:lvl1pP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1" name="Text Placeholder 49">
            <a:extLst>
              <a:ext uri="{FF2B5EF4-FFF2-40B4-BE49-F238E27FC236}">
                <a16:creationId xmlns:a16="http://schemas.microsoft.com/office/drawing/2014/main" id="{C7279EB5-4607-A6BD-B0E2-92C505008132}"/>
              </a:ext>
            </a:extLst>
          </p:cNvPr>
          <p:cNvSpPr>
            <a:spLocks noGrp="1"/>
          </p:cNvSpPr>
          <p:nvPr>
            <p:ph type="body" sz="quarter" idx="19" hasCustomPrompt="1"/>
          </p:nvPr>
        </p:nvSpPr>
        <p:spPr>
          <a:xfrm>
            <a:off x="996086" y="2831683"/>
            <a:ext cx="3721010" cy="324044"/>
          </a:xfrm>
        </p:spPr>
        <p:txBody>
          <a:bodyPr>
            <a:normAutofit/>
          </a:bodyPr>
          <a:lstStyle>
            <a:lvl1pPr>
              <a:defRPr sz="1600" b="1">
                <a:solidFill>
                  <a:schemeClr val="tx1"/>
                </a:solidFill>
              </a:defRPr>
            </a:lvl1pPr>
          </a:lstStyle>
          <a:p>
            <a:pPr lvl="0"/>
            <a:r>
              <a:rPr lang="en-US"/>
              <a:t>Lorem ipsum dolor</a:t>
            </a:r>
          </a:p>
        </p:txBody>
      </p:sp>
      <p:sp>
        <p:nvSpPr>
          <p:cNvPr id="32" name="Text Placeholder 49">
            <a:extLst>
              <a:ext uri="{FF2B5EF4-FFF2-40B4-BE49-F238E27FC236}">
                <a16:creationId xmlns:a16="http://schemas.microsoft.com/office/drawing/2014/main" id="{B5261580-97E4-50AF-6C07-FE08EF6676C8}"/>
              </a:ext>
            </a:extLst>
          </p:cNvPr>
          <p:cNvSpPr>
            <a:spLocks noGrp="1"/>
          </p:cNvSpPr>
          <p:nvPr>
            <p:ph type="body" sz="quarter" idx="20" hasCustomPrompt="1"/>
          </p:nvPr>
        </p:nvSpPr>
        <p:spPr>
          <a:xfrm>
            <a:off x="4082984" y="5998702"/>
            <a:ext cx="4125585" cy="575650"/>
          </a:xfrm>
        </p:spPr>
        <p:txBody>
          <a:bodyPr>
            <a:normAutofit/>
          </a:bodyPr>
          <a:lstStyle>
            <a:lvl1pPr algn="ctr">
              <a:defRPr sz="12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endParaRPr lang="en-US"/>
          </a:p>
        </p:txBody>
      </p:sp>
      <p:sp>
        <p:nvSpPr>
          <p:cNvPr id="33" name="Text Placeholder 49">
            <a:extLst>
              <a:ext uri="{FF2B5EF4-FFF2-40B4-BE49-F238E27FC236}">
                <a16:creationId xmlns:a16="http://schemas.microsoft.com/office/drawing/2014/main" id="{F22DFEF1-9D77-1405-8757-2DBBD622FF5A}"/>
              </a:ext>
            </a:extLst>
          </p:cNvPr>
          <p:cNvSpPr>
            <a:spLocks noGrp="1"/>
          </p:cNvSpPr>
          <p:nvPr>
            <p:ph type="body" sz="quarter" idx="21" hasCustomPrompt="1"/>
          </p:nvPr>
        </p:nvSpPr>
        <p:spPr>
          <a:xfrm>
            <a:off x="4103826" y="5638800"/>
            <a:ext cx="4099853" cy="324044"/>
          </a:xfrm>
        </p:spPr>
        <p:txBody>
          <a:bodyPr>
            <a:normAutofit/>
          </a:bodyPr>
          <a:lstStyle>
            <a:lvl1pPr algn="ctr">
              <a:defRPr sz="1600" b="1">
                <a:solidFill>
                  <a:schemeClr val="tx1"/>
                </a:solidFill>
              </a:defRPr>
            </a:lvl1pPr>
          </a:lstStyle>
          <a:p>
            <a:pPr lvl="0"/>
            <a:r>
              <a:rPr lang="en-US"/>
              <a:t>Lorem ipsum dolor</a:t>
            </a:r>
          </a:p>
        </p:txBody>
      </p:sp>
    </p:spTree>
    <p:extLst>
      <p:ext uri="{BB962C8B-B14F-4D97-AF65-F5344CB8AC3E}">
        <p14:creationId xmlns:p14="http://schemas.microsoft.com/office/powerpoint/2010/main" val="28460938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lient Quote">
    <p:spTree>
      <p:nvGrpSpPr>
        <p:cNvPr id="1" name=""/>
        <p:cNvGrpSpPr/>
        <p:nvPr/>
      </p:nvGrpSpPr>
      <p:grpSpPr>
        <a:xfrm>
          <a:off x="0" y="0"/>
          <a:ext cx="0" cy="0"/>
          <a:chOff x="0" y="0"/>
          <a:chExt cx="0" cy="0"/>
        </a:xfrm>
      </p:grpSpPr>
      <p:pic>
        <p:nvPicPr>
          <p:cNvPr id="16" name="Progress blocks">
            <a:extLst>
              <a:ext uri="{FF2B5EF4-FFF2-40B4-BE49-F238E27FC236}">
                <a16:creationId xmlns:a16="http://schemas.microsoft.com/office/drawing/2014/main" id="{3DD5FEFE-78B1-4686-BFD6-878DBB0573C3}"/>
              </a:ext>
            </a:extLst>
          </p:cNvPr>
          <p:cNvPicPr>
            <a:picLocks noChangeAspect="1"/>
          </p:cNvPicPr>
          <p:nvPr/>
        </p:nvPicPr>
        <p:blipFill rotWithShape="1">
          <a:blip r:embed="rId2">
            <a:extLst>
              <a:ext uri="{28A0092B-C50C-407E-A947-70E740481C1C}">
                <a14:useLocalDpi xmlns:a14="http://schemas.microsoft.com/office/drawing/2010/main" val="0"/>
              </a:ext>
            </a:extLst>
          </a:blip>
          <a:srcRect l="24685"/>
          <a:stretch/>
        </p:blipFill>
        <p:spPr>
          <a:xfrm>
            <a:off x="3009900" y="883"/>
            <a:ext cx="9182098" cy="6856445"/>
          </a:xfrm>
          <a:prstGeom prst="rect">
            <a:avLst/>
          </a:prstGeom>
        </p:spPr>
      </p:pic>
      <p:pic>
        <p:nvPicPr>
          <p:cNvPr id="17" name="RSM Logo" descr="Z:\RSM International\1 Design\2015\Brand\Guidelines\Logos\Logos-03.png">
            <a:extLst>
              <a:ext uri="{FF2B5EF4-FFF2-40B4-BE49-F238E27FC236}">
                <a16:creationId xmlns:a16="http://schemas.microsoft.com/office/drawing/2014/main" id="{588AF03E-8289-47D1-8FF2-2A6DF4866A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37313" y="335301"/>
            <a:ext cx="1464507" cy="626854"/>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
          <p:cNvSpPr>
            <a:spLocks noGrp="1"/>
          </p:cNvSpPr>
          <p:nvPr>
            <p:ph type="body" sz="quarter" idx="13"/>
          </p:nvPr>
        </p:nvSpPr>
        <p:spPr>
          <a:xfrm>
            <a:off x="4811981" y="2165230"/>
            <a:ext cx="6949213" cy="4026550"/>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42441" y="318030"/>
            <a:ext cx="2018754" cy="1786466"/>
          </a:xfrm>
          <a:prstGeom prst="rect">
            <a:avLst/>
          </a:prstGeom>
        </p:spPr>
      </p:pic>
      <p:sp>
        <p:nvSpPr>
          <p:cNvPr id="14" name="Content Placeholder 7"/>
          <p:cNvSpPr>
            <a:spLocks noGrp="1"/>
          </p:cNvSpPr>
          <p:nvPr>
            <p:ph sz="quarter" idx="14" hasCustomPrompt="1"/>
          </p:nvPr>
        </p:nvSpPr>
        <p:spPr>
          <a:xfrm>
            <a:off x="704380" y="2135323"/>
            <a:ext cx="2228601" cy="1875960"/>
          </a:xfrm>
        </p:spPr>
        <p:txBody>
          <a:bodyPr>
            <a:normAutofit/>
          </a:bodyPr>
          <a:lstStyle>
            <a:lvl1pPr marL="0" indent="0" algn="r">
              <a:buNone/>
              <a:defRPr sz="1800">
                <a:solidFill>
                  <a:schemeClr val="accent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Quote speaker name and title</a:t>
            </a:r>
          </a:p>
        </p:txBody>
      </p:sp>
      <p:sp>
        <p:nvSpPr>
          <p:cNvPr id="2" name="Slide Number Placeholder 1">
            <a:extLst>
              <a:ext uri="{FF2B5EF4-FFF2-40B4-BE49-F238E27FC236}">
                <a16:creationId xmlns:a16="http://schemas.microsoft.com/office/drawing/2014/main" id="{CDEBD55C-C4A3-4E9E-8743-D13850B401FA}"/>
              </a:ext>
            </a:extLst>
          </p:cNvPr>
          <p:cNvSpPr>
            <a:spLocks noGrp="1"/>
          </p:cNvSpPr>
          <p:nvPr>
            <p:ph type="sldNum" sz="quarter" idx="15"/>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14733032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wo column layout">
    <p:bg>
      <p:bgPr>
        <a:solidFill>
          <a:schemeClr val="tx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447800"/>
            <a:ext cx="5208588"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447800"/>
            <a:ext cx="5240129"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a:t>
            </a:r>
            <a:endParaRPr lang="en-GB"/>
          </a:p>
        </p:txBody>
      </p:sp>
      <p:sp>
        <p:nvSpPr>
          <p:cNvPr id="5" name="Content Placeholder 17">
            <a:extLst>
              <a:ext uri="{FF2B5EF4-FFF2-40B4-BE49-F238E27FC236}">
                <a16:creationId xmlns:a16="http://schemas.microsoft.com/office/drawing/2014/main" id="{0EC7F9A4-4417-2CE7-7BB2-084F693E2E47}"/>
              </a:ext>
            </a:extLst>
          </p:cNvPr>
          <p:cNvSpPr>
            <a:spLocks noGrp="1"/>
          </p:cNvSpPr>
          <p:nvPr>
            <p:ph sz="quarter" idx="10"/>
          </p:nvPr>
        </p:nvSpPr>
        <p:spPr>
          <a:xfrm>
            <a:off x="81381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7">
            <a:extLst>
              <a:ext uri="{FF2B5EF4-FFF2-40B4-BE49-F238E27FC236}">
                <a16:creationId xmlns:a16="http://schemas.microsoft.com/office/drawing/2014/main" id="{076E4936-B714-2B4B-2E2F-7DE308A8C3D7}"/>
              </a:ext>
            </a:extLst>
          </p:cNvPr>
          <p:cNvSpPr>
            <a:spLocks noGrp="1"/>
          </p:cNvSpPr>
          <p:nvPr>
            <p:ph sz="quarter" idx="17"/>
          </p:nvPr>
        </p:nvSpPr>
        <p:spPr>
          <a:xfrm>
            <a:off x="6208776" y="1993392"/>
            <a:ext cx="5181600" cy="44084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Graphic 1">
            <a:extLst>
              <a:ext uri="{FF2B5EF4-FFF2-40B4-BE49-F238E27FC236}">
                <a16:creationId xmlns:a16="http://schemas.microsoft.com/office/drawing/2014/main" id="{95CD01D7-56B5-9C8A-0FB6-B47B59DA2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63102" y="298156"/>
            <a:ext cx="953710" cy="401020"/>
          </a:xfrm>
          <a:prstGeom prst="rect">
            <a:avLst/>
          </a:prstGeom>
        </p:spPr>
      </p:pic>
    </p:spTree>
    <p:extLst>
      <p:ext uri="{BB962C8B-B14F-4D97-AF65-F5344CB8AC3E}">
        <p14:creationId xmlns:p14="http://schemas.microsoft.com/office/powerpoint/2010/main" val="3911137817"/>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955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hree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447800"/>
            <a:ext cx="3403771"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a:t>
            </a:r>
            <a:endParaRPr lang="en-GB"/>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447800"/>
            <a:ext cx="3397405"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447800"/>
            <a:ext cx="3420657" cy="382587"/>
          </a:xfrm>
        </p:spPr>
        <p:txBody>
          <a:bodyPr anchor="b">
            <a:normAutofit/>
          </a:bodyPr>
          <a:lstStyle>
            <a:lvl1pPr marL="0" indent="0">
              <a:buNone/>
              <a:defRPr sz="2400" b="1">
                <a:solidFill>
                  <a:schemeClr val="tx2"/>
                </a:solidFill>
                <a:latin typeface="+mn-lt"/>
              </a:defRPr>
            </a:lvl1pPr>
          </a:lstStyle>
          <a:p>
            <a:pPr lvl="0"/>
            <a:r>
              <a:rPr lang="en-US"/>
              <a:t>Click to add text</a:t>
            </a:r>
          </a:p>
        </p:txBody>
      </p:sp>
      <p:grpSp>
        <p:nvGrpSpPr>
          <p:cNvPr id="5" name="Group 4">
            <a:extLst>
              <a:ext uri="{FF2B5EF4-FFF2-40B4-BE49-F238E27FC236}">
                <a16:creationId xmlns:a16="http://schemas.microsoft.com/office/drawing/2014/main" id="{591F3DED-33E1-2A27-8417-C862386CC9D7}"/>
              </a:ext>
            </a:extLst>
          </p:cNvPr>
          <p:cNvGrpSpPr/>
          <p:nvPr/>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7" name="Content Placeholder 17">
            <a:extLst>
              <a:ext uri="{FF2B5EF4-FFF2-40B4-BE49-F238E27FC236}">
                <a16:creationId xmlns:a16="http://schemas.microsoft.com/office/drawing/2014/main" id="{0A776850-50EE-E561-4FFE-50964993BAB6}"/>
              </a:ext>
            </a:extLst>
          </p:cNvPr>
          <p:cNvSpPr>
            <a:spLocks noGrp="1"/>
          </p:cNvSpPr>
          <p:nvPr>
            <p:ph sz="quarter" idx="20"/>
          </p:nvPr>
        </p:nvSpPr>
        <p:spPr>
          <a:xfrm>
            <a:off x="82296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17">
            <a:extLst>
              <a:ext uri="{FF2B5EF4-FFF2-40B4-BE49-F238E27FC236}">
                <a16:creationId xmlns:a16="http://schemas.microsoft.com/office/drawing/2014/main" id="{7E6C179B-B0FB-66D9-590F-5E20DFE7C553}"/>
              </a:ext>
            </a:extLst>
          </p:cNvPr>
          <p:cNvSpPr>
            <a:spLocks noGrp="1"/>
          </p:cNvSpPr>
          <p:nvPr>
            <p:ph sz="quarter" idx="21"/>
          </p:nvPr>
        </p:nvSpPr>
        <p:spPr>
          <a:xfrm>
            <a:off x="44196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Content Placeholder 17">
            <a:extLst>
              <a:ext uri="{FF2B5EF4-FFF2-40B4-BE49-F238E27FC236}">
                <a16:creationId xmlns:a16="http://schemas.microsoft.com/office/drawing/2014/main" id="{A9EE28E5-77BF-A362-4864-199E18F99C58}"/>
              </a:ext>
            </a:extLst>
          </p:cNvPr>
          <p:cNvSpPr>
            <a:spLocks noGrp="1"/>
          </p:cNvSpPr>
          <p:nvPr>
            <p:ph sz="quarter" idx="22"/>
          </p:nvPr>
        </p:nvSpPr>
        <p:spPr>
          <a:xfrm>
            <a:off x="8001000" y="1992398"/>
            <a:ext cx="3401568" cy="448460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237773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our column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444752"/>
            <a:ext cx="2514650"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Four column</a:t>
            </a:r>
            <a:endParaRPr lang="en-GB"/>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444752"/>
            <a:ext cx="2514731"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444752"/>
            <a:ext cx="2538964" cy="382587"/>
          </a:xfrm>
        </p:spPr>
        <p:txBody>
          <a:bodyPr anchor="b"/>
          <a:lstStyle>
            <a:lvl1pPr marL="0" indent="0">
              <a:buNone/>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444752"/>
            <a:ext cx="2528283" cy="382587"/>
          </a:xfrm>
        </p:spPr>
        <p:txBody>
          <a:bodyPr anchor="b"/>
          <a:lstStyle>
            <a:lvl1pPr marL="0" indent="0">
              <a:buNone/>
              <a:defRPr sz="2000" b="1">
                <a:solidFill>
                  <a:schemeClr val="tx2"/>
                </a:solidFill>
                <a:latin typeface="+mn-lt"/>
              </a:defRPr>
            </a:lvl1pPr>
          </a:lstStyle>
          <a:p>
            <a:pPr lvl="0"/>
            <a:r>
              <a:rPr lang="en-US"/>
              <a:t>Click to add text</a:t>
            </a:r>
          </a:p>
        </p:txBody>
      </p:sp>
      <p:grpSp>
        <p:nvGrpSpPr>
          <p:cNvPr id="2" name="Group 1">
            <a:extLst>
              <a:ext uri="{FF2B5EF4-FFF2-40B4-BE49-F238E27FC236}">
                <a16:creationId xmlns:a16="http://schemas.microsoft.com/office/drawing/2014/main" id="{16C66BC4-CE7E-E443-BEF3-B7BBA49FE37B}"/>
              </a:ext>
            </a:extLst>
          </p:cNvPr>
          <p:cNvGrpSpPr/>
          <p:nvPr/>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 name="Content Placeholder 17">
            <a:extLst>
              <a:ext uri="{FF2B5EF4-FFF2-40B4-BE49-F238E27FC236}">
                <a16:creationId xmlns:a16="http://schemas.microsoft.com/office/drawing/2014/main" id="{6836F395-4748-2751-1D21-D93193CB7721}"/>
              </a:ext>
            </a:extLst>
          </p:cNvPr>
          <p:cNvSpPr>
            <a:spLocks noGrp="1"/>
          </p:cNvSpPr>
          <p:nvPr>
            <p:ph sz="quarter" idx="22"/>
          </p:nvPr>
        </p:nvSpPr>
        <p:spPr>
          <a:xfrm>
            <a:off x="82296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7">
            <a:extLst>
              <a:ext uri="{FF2B5EF4-FFF2-40B4-BE49-F238E27FC236}">
                <a16:creationId xmlns:a16="http://schemas.microsoft.com/office/drawing/2014/main" id="{24FDCD0B-78AD-B0E5-5A66-A6DC66DC0B27}"/>
              </a:ext>
            </a:extLst>
          </p:cNvPr>
          <p:cNvSpPr>
            <a:spLocks noGrp="1"/>
          </p:cNvSpPr>
          <p:nvPr>
            <p:ph sz="quarter" idx="23"/>
          </p:nvPr>
        </p:nvSpPr>
        <p:spPr>
          <a:xfrm>
            <a:off x="3505200"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Content Placeholder 17">
            <a:extLst>
              <a:ext uri="{FF2B5EF4-FFF2-40B4-BE49-F238E27FC236}">
                <a16:creationId xmlns:a16="http://schemas.microsoft.com/office/drawing/2014/main" id="{EA511637-20FB-46F5-8612-86CB87549DD6}"/>
              </a:ext>
            </a:extLst>
          </p:cNvPr>
          <p:cNvSpPr>
            <a:spLocks noGrp="1"/>
          </p:cNvSpPr>
          <p:nvPr>
            <p:ph sz="quarter" idx="24"/>
          </p:nvPr>
        </p:nvSpPr>
        <p:spPr>
          <a:xfrm>
            <a:off x="6199632" y="1992398"/>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tent Placeholder 17">
            <a:extLst>
              <a:ext uri="{FF2B5EF4-FFF2-40B4-BE49-F238E27FC236}">
                <a16:creationId xmlns:a16="http://schemas.microsoft.com/office/drawing/2014/main" id="{8D7C06DE-97BF-BAF3-02DD-41639AF97BE4}"/>
              </a:ext>
            </a:extLst>
          </p:cNvPr>
          <p:cNvSpPr>
            <a:spLocks noGrp="1"/>
          </p:cNvSpPr>
          <p:nvPr>
            <p:ph sz="quarter" idx="25"/>
          </p:nvPr>
        </p:nvSpPr>
        <p:spPr>
          <a:xfrm>
            <a:off x="8915400" y="1981200"/>
            <a:ext cx="2514600" cy="4484602"/>
          </a:xfrm>
        </p:spPr>
        <p:txBody>
          <a:bodyPr>
            <a:normAutofit/>
          </a:bodyPr>
          <a:lstStyle>
            <a:lvl1pPr>
              <a:defRPr sz="1800"/>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952525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694627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23420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759963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501533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993688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115873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2064450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lient Quot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sp>
        <p:nvSpPr>
          <p:cNvPr id="7" name="Text Placeholder 5"/>
          <p:cNvSpPr>
            <a:spLocks noGrp="1"/>
          </p:cNvSpPr>
          <p:nvPr>
            <p:ph type="body" sz="quarter" idx="20" hasCustomPrompt="1"/>
          </p:nvPr>
        </p:nvSpPr>
        <p:spPr>
          <a:xfrm>
            <a:off x="6354763" y="3924022"/>
            <a:ext cx="4825071" cy="1821170"/>
          </a:xfrm>
          <a:prstGeom prst="rect">
            <a:avLst/>
          </a:prstGeom>
        </p:spPr>
        <p:txBody>
          <a:bodyPr anchor="ctr" anchorCtr="0">
            <a:normAutofit/>
          </a:bodyPr>
          <a:lstStyle>
            <a:lvl1pPr marL="0" indent="0">
              <a:buNone/>
              <a:defRPr sz="1600">
                <a:solidFill>
                  <a:schemeClr val="tx1"/>
                </a:solidFill>
                <a:latin typeface="Arial" panose="020B0604020202020204" pitchFamily="34" charset="0"/>
                <a:cs typeface="Arial" panose="020B0604020202020204" pitchFamily="34" charset="0"/>
              </a:defRPr>
            </a:lvl1pPr>
          </a:lstStyle>
          <a:p>
            <a:pPr lvl="0"/>
            <a:r>
              <a:rPr lang="en-US"/>
              <a:t>“Click to edit quote”</a:t>
            </a:r>
          </a:p>
        </p:txBody>
      </p:sp>
      <p:sp>
        <p:nvSpPr>
          <p:cNvPr id="8" name="Text Placeholder 5"/>
          <p:cNvSpPr>
            <a:spLocks noGrp="1"/>
          </p:cNvSpPr>
          <p:nvPr>
            <p:ph type="body" sz="quarter" idx="22" hasCustomPrompt="1"/>
          </p:nvPr>
        </p:nvSpPr>
        <p:spPr>
          <a:xfrm>
            <a:off x="6354763" y="1526875"/>
            <a:ext cx="4825071" cy="1992702"/>
          </a:xfrm>
          <a:prstGeom prst="rect">
            <a:avLst/>
          </a:prstGeom>
        </p:spPr>
        <p:txBody>
          <a:bodyPr anchor="ctr" anchorCtr="0">
            <a:normAutofit/>
          </a:bodyPr>
          <a:lstStyle>
            <a:lvl1pPr marL="0" indent="0">
              <a:buNone/>
              <a:defRPr sz="1600">
                <a:solidFill>
                  <a:schemeClr val="accent2"/>
                </a:solidFill>
                <a:latin typeface="Arial" panose="020B0604020202020204" pitchFamily="34" charset="0"/>
                <a:cs typeface="Arial" panose="020B0604020202020204" pitchFamily="34" charset="0"/>
              </a:defRPr>
            </a:lvl1pPr>
          </a:lstStyle>
          <a:p>
            <a:pPr lvl="0"/>
            <a:r>
              <a:rPr lang="en-US"/>
              <a:t>“Click to edit quote”</a:t>
            </a:r>
          </a:p>
        </p:txBody>
      </p:sp>
      <p:sp>
        <p:nvSpPr>
          <p:cNvPr id="9" name="Text Placeholder 5"/>
          <p:cNvSpPr>
            <a:spLocks noGrp="1"/>
          </p:cNvSpPr>
          <p:nvPr>
            <p:ph type="body" sz="quarter" idx="23" hasCustomPrompt="1"/>
          </p:nvPr>
        </p:nvSpPr>
        <p:spPr>
          <a:xfrm>
            <a:off x="586596" y="1526875"/>
            <a:ext cx="5236233" cy="4149305"/>
          </a:xfrm>
          <a:prstGeom prst="rect">
            <a:avLst/>
          </a:prstGeom>
        </p:spPr>
        <p:txBody>
          <a:bodyPr anchor="ctr" anchorCtr="0">
            <a:normAutofit/>
          </a:bodyPr>
          <a:lstStyle>
            <a:lvl1pPr marL="0" indent="0">
              <a:buNone/>
              <a:defRPr sz="1600">
                <a:solidFill>
                  <a:schemeClr val="accent1"/>
                </a:solidFill>
                <a:latin typeface="Arial" panose="020B0604020202020204" pitchFamily="34" charset="0"/>
                <a:cs typeface="Arial" panose="020B0604020202020204" pitchFamily="34" charset="0"/>
              </a:defRPr>
            </a:lvl1pPr>
          </a:lstStyle>
          <a:p>
            <a:pPr lvl="0"/>
            <a:r>
              <a:rPr lang="en-US"/>
              <a:t>“Click to edit quote”</a:t>
            </a:r>
          </a:p>
        </p:txBody>
      </p:sp>
      <p:sp>
        <p:nvSpPr>
          <p:cNvPr id="10" name="Rectangle: Rounded Corners 9">
            <a:extLst>
              <a:ext uri="{FF2B5EF4-FFF2-40B4-BE49-F238E27FC236}">
                <a16:creationId xmlns:a16="http://schemas.microsoft.com/office/drawing/2014/main" id="{C98B3E50-B2CE-4C8A-A72F-6BD7F30E3185}"/>
              </a:ext>
            </a:extLst>
          </p:cNvPr>
          <p:cNvSpPr/>
          <p:nvPr/>
        </p:nvSpPr>
        <p:spPr>
          <a:xfrm>
            <a:off x="6216953" y="1415521"/>
            <a:ext cx="5066398" cy="2197250"/>
          </a:xfrm>
          <a:prstGeom prst="roundRect">
            <a:avLst>
              <a:gd name="adj" fmla="val 3711"/>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Rounded Corners 10">
            <a:extLst>
              <a:ext uri="{FF2B5EF4-FFF2-40B4-BE49-F238E27FC236}">
                <a16:creationId xmlns:a16="http://schemas.microsoft.com/office/drawing/2014/main" id="{B6FD26F2-6C44-44F2-967B-A30288356854}"/>
              </a:ext>
            </a:extLst>
          </p:cNvPr>
          <p:cNvSpPr/>
          <p:nvPr/>
        </p:nvSpPr>
        <p:spPr>
          <a:xfrm>
            <a:off x="6216953" y="3828670"/>
            <a:ext cx="5066398" cy="1985533"/>
          </a:xfrm>
          <a:prstGeom prst="roundRect">
            <a:avLst>
              <a:gd name="adj" fmla="val 3711"/>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Rounded Corners 11">
            <a:extLst>
              <a:ext uri="{FF2B5EF4-FFF2-40B4-BE49-F238E27FC236}">
                <a16:creationId xmlns:a16="http://schemas.microsoft.com/office/drawing/2014/main" id="{C949F983-0B0E-41B5-ACB2-F5536BC9CF82}"/>
              </a:ext>
            </a:extLst>
          </p:cNvPr>
          <p:cNvSpPr/>
          <p:nvPr/>
        </p:nvSpPr>
        <p:spPr>
          <a:xfrm>
            <a:off x="457199" y="1420556"/>
            <a:ext cx="5517849" cy="4393647"/>
          </a:xfrm>
          <a:prstGeom prst="roundRect">
            <a:avLst>
              <a:gd name="adj" fmla="val 3711"/>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5226294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7479271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7994916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0154140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38358002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5389293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7088503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620063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7639689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202494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6760897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peakers_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Picture Placeholder 11"/>
          <p:cNvSpPr>
            <a:spLocks noGrp="1"/>
          </p:cNvSpPr>
          <p:nvPr>
            <p:ph type="pic" sz="quarter" idx="14"/>
          </p:nvPr>
        </p:nvSpPr>
        <p:spPr>
          <a:xfrm>
            <a:off x="870309" y="2015502"/>
            <a:ext cx="2459561" cy="2457866"/>
          </a:xfrm>
          <a:prstGeom prst="rect">
            <a:avLst/>
          </a:prstGeom>
        </p:spPr>
        <p:txBody>
          <a:bodyPr>
            <a:normAutofit/>
          </a:bodyPr>
          <a:lstStyle>
            <a:lvl1pPr marL="0" indent="0">
              <a:buNone/>
              <a:defRPr sz="1000"/>
            </a:lvl1pPr>
          </a:lstStyle>
          <a:p>
            <a:r>
              <a:rPr lang="en-US"/>
              <a:t>Click icon to add picture</a:t>
            </a:r>
          </a:p>
        </p:txBody>
      </p:sp>
      <p:sp>
        <p:nvSpPr>
          <p:cNvPr id="9" name="Text Placeholder 24"/>
          <p:cNvSpPr>
            <a:spLocks noGrp="1"/>
          </p:cNvSpPr>
          <p:nvPr>
            <p:ph type="body" sz="quarter" idx="20" hasCustomPrompt="1"/>
          </p:nvPr>
        </p:nvSpPr>
        <p:spPr>
          <a:xfrm>
            <a:off x="3452140" y="2687228"/>
            <a:ext cx="5619014" cy="1786140"/>
          </a:xfrm>
          <a:prstGeom prst="rect">
            <a:avLst/>
          </a:prstGeom>
        </p:spPr>
        <p:txBody>
          <a:bodyPr>
            <a:noAutofit/>
          </a:bodyPr>
          <a:lstStyle>
            <a:lvl1pPr marL="0" indent="0">
              <a:buNone/>
              <a:defRPr sz="1400" b="0" baseline="0">
                <a:solidFill>
                  <a:schemeClr val="tx1"/>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Brief sentence or bio about the team member.</a:t>
            </a:r>
          </a:p>
        </p:txBody>
      </p:sp>
      <p:sp>
        <p:nvSpPr>
          <p:cNvPr id="10" name="Text Placeholder 24"/>
          <p:cNvSpPr>
            <a:spLocks noGrp="1"/>
          </p:cNvSpPr>
          <p:nvPr>
            <p:ph type="body" sz="quarter" idx="21" hasCustomPrompt="1"/>
          </p:nvPr>
        </p:nvSpPr>
        <p:spPr>
          <a:xfrm>
            <a:off x="3452141" y="2015502"/>
            <a:ext cx="5619010" cy="316129"/>
          </a:xfrm>
          <a:prstGeom prst="rect">
            <a:avLst/>
          </a:prstGeom>
        </p:spPr>
        <p:txBody>
          <a:bodyPr>
            <a:noAutofit/>
          </a:bodyPr>
          <a:lstStyle>
            <a:lvl1pPr marL="0" indent="0">
              <a:buNone/>
              <a:defRPr sz="1800" b="1"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Name</a:t>
            </a:r>
          </a:p>
        </p:txBody>
      </p:sp>
      <p:sp>
        <p:nvSpPr>
          <p:cNvPr id="11" name="Text Placeholder 24"/>
          <p:cNvSpPr>
            <a:spLocks noGrp="1"/>
          </p:cNvSpPr>
          <p:nvPr>
            <p:ph type="body" sz="quarter" idx="22" hasCustomPrompt="1"/>
          </p:nvPr>
        </p:nvSpPr>
        <p:spPr>
          <a:xfrm>
            <a:off x="3452141" y="2362305"/>
            <a:ext cx="5619010" cy="324923"/>
          </a:xfrm>
          <a:prstGeom prst="rect">
            <a:avLst/>
          </a:prstGeom>
        </p:spPr>
        <p:txBody>
          <a:bodyPr>
            <a:noAutofit/>
          </a:bodyPr>
          <a:lstStyle>
            <a:lvl1pPr marL="0" indent="0">
              <a:buNone/>
              <a:defRPr sz="1800" b="0" baseline="0">
                <a:solidFill>
                  <a:schemeClr val="accent2"/>
                </a:solidFill>
                <a:latin typeface="Arial" panose="020B0604020202020204" pitchFamily="34" charset="0"/>
                <a:cs typeface="Arial" panose="020B0604020202020204" pitchFamily="34" charset="0"/>
              </a:defRPr>
            </a:lvl1pPr>
            <a:lvl2pPr>
              <a:defRPr sz="1600"/>
            </a:lvl2pPr>
            <a:lvl3pPr>
              <a:defRPr sz="1400"/>
            </a:lvl3pPr>
            <a:lvl4pPr>
              <a:defRPr sz="1200"/>
            </a:lvl4pPr>
            <a:lvl5pPr>
              <a:defRPr sz="1200"/>
            </a:lvl5pPr>
          </a:lstStyle>
          <a:p>
            <a:pPr lvl="0"/>
            <a:r>
              <a:rPr lang="en-US"/>
              <a:t>Title</a:t>
            </a:r>
          </a:p>
        </p:txBody>
      </p:sp>
      <p:sp>
        <p:nvSpPr>
          <p:cNvPr id="12" name="Rectangle: Rounded Corners 11">
            <a:extLst>
              <a:ext uri="{FF2B5EF4-FFF2-40B4-BE49-F238E27FC236}">
                <a16:creationId xmlns:a16="http://schemas.microsoft.com/office/drawing/2014/main" id="{473777AF-F665-4C7C-B5D3-43CE81C55C4A}"/>
              </a:ext>
            </a:extLst>
          </p:cNvPr>
          <p:cNvSpPr/>
          <p:nvPr/>
        </p:nvSpPr>
        <p:spPr>
          <a:xfrm>
            <a:off x="379557" y="1409543"/>
            <a:ext cx="8885213" cy="3421250"/>
          </a:xfrm>
          <a:prstGeom prst="roundRect">
            <a:avLst>
              <a:gd name="adj" fmla="val 3711"/>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Rounded Corners 12">
            <a:extLst>
              <a:ext uri="{FF2B5EF4-FFF2-40B4-BE49-F238E27FC236}">
                <a16:creationId xmlns:a16="http://schemas.microsoft.com/office/drawing/2014/main" id="{F4A889CC-AC70-4BD2-9F56-DEDCB1C3E745}"/>
              </a:ext>
            </a:extLst>
          </p:cNvPr>
          <p:cNvSpPr/>
          <p:nvPr/>
        </p:nvSpPr>
        <p:spPr>
          <a:xfrm>
            <a:off x="647068" y="1758421"/>
            <a:ext cx="9592487" cy="3897376"/>
          </a:xfrm>
          <a:prstGeom prst="roundRect">
            <a:avLst>
              <a:gd name="adj" fmla="val 3711"/>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Rounded Corners 13">
            <a:extLst>
              <a:ext uri="{FF2B5EF4-FFF2-40B4-BE49-F238E27FC236}">
                <a16:creationId xmlns:a16="http://schemas.microsoft.com/office/drawing/2014/main" id="{A6D6BD6D-A881-46E6-92F3-0B5CEAFF3C87}"/>
              </a:ext>
            </a:extLst>
          </p:cNvPr>
          <p:cNvSpPr/>
          <p:nvPr/>
        </p:nvSpPr>
        <p:spPr>
          <a:xfrm flipH="1" flipV="1">
            <a:off x="3071004" y="5155713"/>
            <a:ext cx="2327157" cy="848963"/>
          </a:xfrm>
          <a:prstGeom prst="roundRect">
            <a:avLst>
              <a:gd name="adj" fmla="val 20204"/>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lide Number Placeholder 2">
            <a:extLst>
              <a:ext uri="{FF2B5EF4-FFF2-40B4-BE49-F238E27FC236}">
                <a16:creationId xmlns:a16="http://schemas.microsoft.com/office/drawing/2014/main" id="{810072FF-F7AD-4438-9A39-1A9317545FAA}"/>
              </a:ext>
            </a:extLst>
          </p:cNvPr>
          <p:cNvSpPr>
            <a:spLocks noGrp="1"/>
          </p:cNvSpPr>
          <p:nvPr>
            <p:ph type="sldNum" sz="quarter" idx="23"/>
          </p:nvPr>
        </p:nvSpPr>
        <p:spPr/>
        <p:txBody>
          <a:bodyPr/>
          <a:lstStyle/>
          <a:p>
            <a:fld id="{AF4FAD32-EA27-4361-AB7D-99AD52059D67}" type="slidenum">
              <a:rPr lang="en-US" smtClean="0"/>
              <a:pPr/>
              <a:t>‹#›</a:t>
            </a:fld>
            <a:endParaRPr lang="en-US"/>
          </a:p>
        </p:txBody>
      </p:sp>
    </p:spTree>
    <p:extLst>
      <p:ext uri="{BB962C8B-B14F-4D97-AF65-F5344CB8AC3E}">
        <p14:creationId xmlns:p14="http://schemas.microsoft.com/office/powerpoint/2010/main" val="318697045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430407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9057395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779346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3613982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6905091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sp>
        <p:nvSpPr>
          <p:cNvPr id="4" name="Text Placeholder 3">
            <a:extLst>
              <a:ext uri="{FF2B5EF4-FFF2-40B4-BE49-F238E27FC236}">
                <a16:creationId xmlns:a16="http://schemas.microsoft.com/office/drawing/2014/main" id="{10E304D8-E056-A7AA-58D8-A147EFD98485}"/>
              </a:ext>
            </a:extLst>
          </p:cNvPr>
          <p:cNvSpPr>
            <a:spLocks noGrp="1"/>
          </p:cNvSpPr>
          <p:nvPr>
            <p:ph type="body" sz="quarter" idx="16" hasCustomPrompt="1"/>
          </p:nvPr>
        </p:nvSpPr>
        <p:spPr>
          <a:xfrm>
            <a:off x="4956048" y="1252728"/>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0" name="Text Placeholder 9">
            <a:extLst>
              <a:ext uri="{FF2B5EF4-FFF2-40B4-BE49-F238E27FC236}">
                <a16:creationId xmlns:a16="http://schemas.microsoft.com/office/drawing/2014/main" id="{969D1756-695B-B522-5749-6A28C9BCED27}"/>
              </a:ext>
            </a:extLst>
          </p:cNvPr>
          <p:cNvSpPr>
            <a:spLocks noGrp="1"/>
          </p:cNvSpPr>
          <p:nvPr>
            <p:ph type="body" sz="quarter" idx="17" hasCustomPrompt="1"/>
          </p:nvPr>
        </p:nvSpPr>
        <p:spPr>
          <a:xfrm>
            <a:off x="49560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11" name="Text Placeholder 3">
            <a:extLst>
              <a:ext uri="{FF2B5EF4-FFF2-40B4-BE49-F238E27FC236}">
                <a16:creationId xmlns:a16="http://schemas.microsoft.com/office/drawing/2014/main" id="{C8D3A221-BC13-56A4-A300-930347348C77}"/>
              </a:ext>
            </a:extLst>
          </p:cNvPr>
          <p:cNvSpPr>
            <a:spLocks noGrp="1"/>
          </p:cNvSpPr>
          <p:nvPr>
            <p:ph type="body" sz="quarter" idx="18" hasCustomPrompt="1"/>
          </p:nvPr>
        </p:nvSpPr>
        <p:spPr>
          <a:xfrm>
            <a:off x="8156448" y="1280160"/>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2" name="Text Placeholder 3">
            <a:extLst>
              <a:ext uri="{FF2B5EF4-FFF2-40B4-BE49-F238E27FC236}">
                <a16:creationId xmlns:a16="http://schemas.microsoft.com/office/drawing/2014/main" id="{74C486AC-0049-6245-B083-A937EBC236AB}"/>
              </a:ext>
            </a:extLst>
          </p:cNvPr>
          <p:cNvSpPr>
            <a:spLocks noGrp="1"/>
          </p:cNvSpPr>
          <p:nvPr>
            <p:ph type="body" sz="quarter" idx="19" hasCustomPrompt="1"/>
          </p:nvPr>
        </p:nvSpPr>
        <p:spPr>
          <a:xfrm>
            <a:off x="4956048" y="4169664"/>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4" name="Text Placeholder 3">
            <a:extLst>
              <a:ext uri="{FF2B5EF4-FFF2-40B4-BE49-F238E27FC236}">
                <a16:creationId xmlns:a16="http://schemas.microsoft.com/office/drawing/2014/main" id="{CD3B0620-9894-F125-14B9-CD640560FD6A}"/>
              </a:ext>
            </a:extLst>
          </p:cNvPr>
          <p:cNvSpPr>
            <a:spLocks noGrp="1"/>
          </p:cNvSpPr>
          <p:nvPr>
            <p:ph type="body" sz="quarter" idx="20" hasCustomPrompt="1"/>
          </p:nvPr>
        </p:nvSpPr>
        <p:spPr>
          <a:xfrm>
            <a:off x="8153870" y="4197096"/>
            <a:ext cx="2697480" cy="1225296"/>
          </a:xfrm>
        </p:spPr>
        <p:txBody>
          <a:bodyPr>
            <a:noAutofit/>
          </a:bodyPr>
          <a:lstStyle>
            <a:lvl1pPr>
              <a:defRPr sz="1600">
                <a:solidFill>
                  <a:schemeClr val="bg1"/>
                </a:solidFill>
              </a:defRPr>
            </a:lvl1pPr>
            <a:lvl2pPr>
              <a:defRPr sz="1600">
                <a:solidFill>
                  <a:schemeClr val="bg1"/>
                </a:solidFill>
              </a:defRPr>
            </a:lvl2pPr>
            <a:lvl3pPr marL="180000" indent="0">
              <a:buNone/>
              <a:defRPr sz="1600">
                <a:solidFill>
                  <a:schemeClr val="bg1"/>
                </a:solidFill>
              </a:defRPr>
            </a:lvl3pPr>
            <a:lvl4pPr marL="360000" indent="0">
              <a:buNone/>
              <a:defRPr sz="1600">
                <a:solidFill>
                  <a:schemeClr val="bg1"/>
                </a:solidFill>
              </a:defRPr>
            </a:lvl4pPr>
            <a:lvl5pPr marL="540000" indent="0">
              <a:buNone/>
              <a:defRPr sz="1600">
                <a:solidFill>
                  <a:schemeClr val="bg1"/>
                </a:solidFill>
              </a:defRPr>
            </a:lvl5pPr>
          </a:lstStyle>
          <a:p>
            <a:pPr lvl="0"/>
            <a:r>
              <a:rPr lang="en-US"/>
              <a:t>Short quote box</a:t>
            </a:r>
          </a:p>
          <a:p>
            <a:pPr lvl="0"/>
            <a:r>
              <a:rPr lang="en-US"/>
              <a:t>- use font size 14 or 16</a:t>
            </a:r>
          </a:p>
          <a:p>
            <a:pPr lvl="2"/>
            <a:endParaRPr lang="en-US"/>
          </a:p>
        </p:txBody>
      </p:sp>
      <p:sp>
        <p:nvSpPr>
          <p:cNvPr id="19" name="Text Placeholder 9">
            <a:extLst>
              <a:ext uri="{FF2B5EF4-FFF2-40B4-BE49-F238E27FC236}">
                <a16:creationId xmlns:a16="http://schemas.microsoft.com/office/drawing/2014/main" id="{04F6BC5D-29CC-231E-4719-983E8BA15AA8}"/>
              </a:ext>
            </a:extLst>
          </p:cNvPr>
          <p:cNvSpPr>
            <a:spLocks noGrp="1"/>
          </p:cNvSpPr>
          <p:nvPr>
            <p:ph type="body" sz="quarter" idx="21" hasCustomPrompt="1"/>
          </p:nvPr>
        </p:nvSpPr>
        <p:spPr>
          <a:xfrm>
            <a:off x="8156448" y="260604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0" name="Text Placeholder 9">
            <a:extLst>
              <a:ext uri="{FF2B5EF4-FFF2-40B4-BE49-F238E27FC236}">
                <a16:creationId xmlns:a16="http://schemas.microsoft.com/office/drawing/2014/main" id="{01FEAD51-6040-1673-BC66-C9E1B8FC27F9}"/>
              </a:ext>
            </a:extLst>
          </p:cNvPr>
          <p:cNvSpPr>
            <a:spLocks noGrp="1"/>
          </p:cNvSpPr>
          <p:nvPr>
            <p:ph type="body" sz="quarter" idx="22" hasCustomPrompt="1"/>
          </p:nvPr>
        </p:nvSpPr>
        <p:spPr>
          <a:xfrm>
            <a:off x="4956048" y="5532120"/>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
        <p:nvSpPr>
          <p:cNvPr id="24" name="Text Placeholder 9">
            <a:extLst>
              <a:ext uri="{FF2B5EF4-FFF2-40B4-BE49-F238E27FC236}">
                <a16:creationId xmlns:a16="http://schemas.microsoft.com/office/drawing/2014/main" id="{EAEAE809-2E7A-2AF1-FB64-4210F149FF24}"/>
              </a:ext>
            </a:extLst>
          </p:cNvPr>
          <p:cNvSpPr>
            <a:spLocks noGrp="1"/>
          </p:cNvSpPr>
          <p:nvPr>
            <p:ph type="body" sz="quarter" idx="23" hasCustomPrompt="1"/>
          </p:nvPr>
        </p:nvSpPr>
        <p:spPr>
          <a:xfrm>
            <a:off x="8156448" y="5530584"/>
            <a:ext cx="2084832" cy="228600"/>
          </a:xfrm>
        </p:spPr>
        <p:txBody>
          <a:bodyPr>
            <a:noAutofit/>
          </a:bodyPr>
          <a:lstStyle>
            <a:lvl1pPr>
              <a:defRPr sz="1400" b="1">
                <a:solidFill>
                  <a:schemeClr val="bg1"/>
                </a:solidFill>
              </a:defRPr>
            </a:lvl1pPr>
            <a:lvl2pPr marL="0" indent="0">
              <a:buNone/>
              <a:defRPr>
                <a:solidFill>
                  <a:schemeClr val="bg1"/>
                </a:solidFill>
              </a:defRPr>
            </a:lvl2pPr>
            <a:lvl3pPr marL="180000" indent="0">
              <a:buNone/>
              <a:defRPr>
                <a:solidFill>
                  <a:schemeClr val="bg1"/>
                </a:solidFill>
              </a:defRPr>
            </a:lvl3pPr>
            <a:lvl4pPr marL="360000" indent="0">
              <a:buNone/>
              <a:defRPr>
                <a:solidFill>
                  <a:schemeClr val="bg1"/>
                </a:solidFill>
              </a:defRPr>
            </a:lvl4pPr>
            <a:lvl5pPr marL="540000" indent="0">
              <a:buNone/>
              <a:defRPr>
                <a:solidFill>
                  <a:schemeClr val="bg1"/>
                </a:solidFill>
              </a:defRPr>
            </a:lvl5pPr>
          </a:lstStyle>
          <a:p>
            <a:pPr lvl="0"/>
            <a:r>
              <a:rPr lang="en-US"/>
              <a:t>Source</a:t>
            </a:r>
          </a:p>
        </p:txBody>
      </p:sp>
    </p:spTree>
    <p:extLst>
      <p:ext uri="{BB962C8B-B14F-4D97-AF65-F5344CB8AC3E}">
        <p14:creationId xmlns:p14="http://schemas.microsoft.com/office/powerpoint/2010/main" val="36097588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3277990"/>
            <a:ext cx="10647929" cy="451005"/>
            <a:chOff x="815974" y="3277990"/>
            <a:chExt cx="7080250" cy="451005"/>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Text Placeholder 22">
            <a:extLst>
              <a:ext uri="{FF2B5EF4-FFF2-40B4-BE49-F238E27FC236}">
                <a16:creationId xmlns:a16="http://schemas.microsoft.com/office/drawing/2014/main" id="{D5AF262E-3C8F-28B1-BCCF-0A97917A8B4F}"/>
              </a:ext>
            </a:extLst>
          </p:cNvPr>
          <p:cNvSpPr>
            <a:spLocks noGrp="1"/>
          </p:cNvSpPr>
          <p:nvPr>
            <p:ph type="body" sz="quarter" idx="15" hasCustomPrompt="1"/>
          </p:nvPr>
        </p:nvSpPr>
        <p:spPr>
          <a:xfrm>
            <a:off x="813816" y="2862072"/>
            <a:ext cx="5321808" cy="676656"/>
          </a:xfrm>
        </p:spPr>
        <p:txBody>
          <a:bodyPr anchor="ctr" anchorCtr="0">
            <a:normAutofit/>
          </a:bodyPr>
          <a:lstStyle>
            <a:lvl1pPr algn="ctr">
              <a:defRPr sz="4400" b="1">
                <a:solidFill>
                  <a:schemeClr val="tx1"/>
                </a:solidFill>
              </a:defRPr>
            </a:lvl1pPr>
          </a:lstStyle>
          <a:p>
            <a:pPr lvl="0"/>
            <a:r>
              <a:rPr lang="en-US"/>
              <a:t>01</a:t>
            </a:r>
          </a:p>
        </p:txBody>
      </p:sp>
      <p:sp>
        <p:nvSpPr>
          <p:cNvPr id="24" name="Text Placeholder 22">
            <a:extLst>
              <a:ext uri="{FF2B5EF4-FFF2-40B4-BE49-F238E27FC236}">
                <a16:creationId xmlns:a16="http://schemas.microsoft.com/office/drawing/2014/main" id="{0DE0CA70-573A-82EE-EA48-2FD42347E080}"/>
              </a:ext>
            </a:extLst>
          </p:cNvPr>
          <p:cNvSpPr>
            <a:spLocks noGrp="1"/>
          </p:cNvSpPr>
          <p:nvPr>
            <p:ph type="body" sz="quarter" idx="16" hasCustomPrompt="1"/>
          </p:nvPr>
        </p:nvSpPr>
        <p:spPr>
          <a:xfrm>
            <a:off x="6172200" y="2633472"/>
            <a:ext cx="5321808" cy="676656"/>
          </a:xfrm>
        </p:spPr>
        <p:txBody>
          <a:bodyPr anchor="ctr" anchorCtr="0">
            <a:normAutofit/>
          </a:bodyPr>
          <a:lstStyle>
            <a:lvl1pPr algn="ctr">
              <a:defRPr sz="4400" b="1">
                <a:solidFill>
                  <a:schemeClr val="tx1"/>
                </a:solidFill>
              </a:defRPr>
            </a:lvl1pPr>
          </a:lstStyle>
          <a:p>
            <a:pPr lvl="0"/>
            <a:r>
              <a:rPr lang="en-US"/>
              <a:t>02</a:t>
            </a:r>
          </a:p>
        </p:txBody>
      </p:sp>
    </p:spTree>
    <p:extLst>
      <p:ext uri="{BB962C8B-B14F-4D97-AF65-F5344CB8AC3E}">
        <p14:creationId xmlns:p14="http://schemas.microsoft.com/office/powerpoint/2010/main" val="24445461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0652896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Text Placeholder 25">
            <a:extLst>
              <a:ext uri="{FF2B5EF4-FFF2-40B4-BE49-F238E27FC236}">
                <a16:creationId xmlns:a16="http://schemas.microsoft.com/office/drawing/2014/main" id="{5055A999-4100-1F48-E076-B4B41D3A070A}"/>
              </a:ext>
            </a:extLst>
          </p:cNvPr>
          <p:cNvSpPr>
            <a:spLocks noGrp="1"/>
          </p:cNvSpPr>
          <p:nvPr>
            <p:ph type="body" sz="quarter" idx="17" hasCustomPrompt="1"/>
          </p:nvPr>
        </p:nvSpPr>
        <p:spPr>
          <a:xfrm>
            <a:off x="813816" y="2862072"/>
            <a:ext cx="2651760" cy="813816"/>
          </a:xfrm>
        </p:spPr>
        <p:txBody>
          <a:bodyPr anchor="ctr" anchorCtr="0">
            <a:normAutofit/>
          </a:bodyPr>
          <a:lstStyle>
            <a:lvl1pPr algn="ctr">
              <a:defRPr sz="4400" b="1">
                <a:solidFill>
                  <a:schemeClr val="tx1"/>
                </a:solidFill>
              </a:defRPr>
            </a:lvl1pPr>
          </a:lstStyle>
          <a:p>
            <a:pPr lvl="0"/>
            <a:r>
              <a:rPr lang="en-US"/>
              <a:t>01</a:t>
            </a:r>
          </a:p>
        </p:txBody>
      </p:sp>
      <p:sp>
        <p:nvSpPr>
          <p:cNvPr id="31" name="Text Placeholder 25">
            <a:extLst>
              <a:ext uri="{FF2B5EF4-FFF2-40B4-BE49-F238E27FC236}">
                <a16:creationId xmlns:a16="http://schemas.microsoft.com/office/drawing/2014/main" id="{99F001E0-F189-607B-C6FA-DA3C0646966B}"/>
              </a:ext>
            </a:extLst>
          </p:cNvPr>
          <p:cNvSpPr>
            <a:spLocks noGrp="1"/>
          </p:cNvSpPr>
          <p:nvPr>
            <p:ph type="body" sz="quarter" idx="18" hasCustomPrompt="1"/>
          </p:nvPr>
        </p:nvSpPr>
        <p:spPr>
          <a:xfrm>
            <a:off x="3483864" y="2633472"/>
            <a:ext cx="2651760" cy="813816"/>
          </a:xfrm>
        </p:spPr>
        <p:txBody>
          <a:bodyPr anchor="ctr" anchorCtr="0">
            <a:normAutofit/>
          </a:bodyPr>
          <a:lstStyle>
            <a:lvl1pPr algn="ctr">
              <a:defRPr sz="4400" b="1">
                <a:solidFill>
                  <a:schemeClr val="tx1"/>
                </a:solidFill>
              </a:defRPr>
            </a:lvl1pPr>
          </a:lstStyle>
          <a:p>
            <a:pPr lvl="0"/>
            <a:r>
              <a:rPr lang="en-US"/>
              <a:t>02</a:t>
            </a:r>
          </a:p>
        </p:txBody>
      </p:sp>
      <p:sp>
        <p:nvSpPr>
          <p:cNvPr id="32" name="Text Placeholder 25">
            <a:extLst>
              <a:ext uri="{FF2B5EF4-FFF2-40B4-BE49-F238E27FC236}">
                <a16:creationId xmlns:a16="http://schemas.microsoft.com/office/drawing/2014/main" id="{7AA02A4B-ABF3-889B-1E7C-DBCB4E50825D}"/>
              </a:ext>
            </a:extLst>
          </p:cNvPr>
          <p:cNvSpPr>
            <a:spLocks noGrp="1"/>
          </p:cNvSpPr>
          <p:nvPr>
            <p:ph type="body" sz="quarter" idx="19" hasCustomPrompt="1"/>
          </p:nvPr>
        </p:nvSpPr>
        <p:spPr>
          <a:xfrm>
            <a:off x="6113709" y="2414016"/>
            <a:ext cx="2651760" cy="813816"/>
          </a:xfrm>
        </p:spPr>
        <p:txBody>
          <a:bodyPr anchor="ctr" anchorCtr="0">
            <a:normAutofit/>
          </a:bodyPr>
          <a:lstStyle>
            <a:lvl1pPr algn="ctr">
              <a:defRPr sz="4400" b="1">
                <a:solidFill>
                  <a:schemeClr val="tx1"/>
                </a:solidFill>
              </a:defRPr>
            </a:lvl1pPr>
          </a:lstStyle>
          <a:p>
            <a:pPr lvl="0"/>
            <a:r>
              <a:rPr lang="en-US"/>
              <a:t>03</a:t>
            </a:r>
          </a:p>
        </p:txBody>
      </p:sp>
      <p:sp>
        <p:nvSpPr>
          <p:cNvPr id="33" name="Text Placeholder 25">
            <a:extLst>
              <a:ext uri="{FF2B5EF4-FFF2-40B4-BE49-F238E27FC236}">
                <a16:creationId xmlns:a16="http://schemas.microsoft.com/office/drawing/2014/main" id="{DFCCF825-70A5-94CB-90F5-1678DEA0AC13}"/>
              </a:ext>
            </a:extLst>
          </p:cNvPr>
          <p:cNvSpPr>
            <a:spLocks noGrp="1"/>
          </p:cNvSpPr>
          <p:nvPr>
            <p:ph type="body" sz="quarter" idx="20" hasCustomPrompt="1"/>
          </p:nvPr>
        </p:nvSpPr>
        <p:spPr>
          <a:xfrm>
            <a:off x="8783472" y="2203704"/>
            <a:ext cx="2651760" cy="813816"/>
          </a:xfrm>
        </p:spPr>
        <p:txBody>
          <a:bodyPr anchor="ctr" anchorCtr="0">
            <a:normAutofit/>
          </a:bodyPr>
          <a:lstStyle>
            <a:lvl1pPr algn="ctr">
              <a:defRPr sz="4400" b="1">
                <a:solidFill>
                  <a:schemeClr val="tx1"/>
                </a:solidFill>
              </a:defRPr>
            </a:lvl1pPr>
          </a:lstStyle>
          <a:p>
            <a:pPr lvl="0"/>
            <a:r>
              <a:rPr lang="en-US"/>
              <a:t>04</a:t>
            </a:r>
          </a:p>
        </p:txBody>
      </p:sp>
    </p:spTree>
    <p:extLst>
      <p:ext uri="{BB962C8B-B14F-4D97-AF65-F5344CB8AC3E}">
        <p14:creationId xmlns:p14="http://schemas.microsoft.com/office/powerpoint/2010/main" val="25880207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B0860C9-5209-1EB8-47AE-58CEA829E162}"/>
              </a:ext>
            </a:extLst>
          </p:cNvPr>
          <p:cNvSpPr>
            <a:spLocks noGrp="1"/>
          </p:cNvSpPr>
          <p:nvPr>
            <p:ph type="body" sz="quarter" idx="16" hasCustomPrompt="1"/>
          </p:nvPr>
        </p:nvSpPr>
        <p:spPr>
          <a:xfrm>
            <a:off x="1060704" y="1984248"/>
            <a:ext cx="1051560" cy="1051560"/>
          </a:xfrm>
          <a:solidFill>
            <a:schemeClr val="accent1"/>
          </a:solidFill>
        </p:spPr>
        <p:txBody>
          <a:bodyPr anchor="ctr" anchorCtr="0">
            <a:normAutofit/>
          </a:bodyPr>
          <a:lstStyle>
            <a:lvl1pPr algn="ctr">
              <a:defRPr sz="3600">
                <a:solidFill>
                  <a:schemeClr val="bg1"/>
                </a:solidFill>
              </a:defRPr>
            </a:lvl1pPr>
          </a:lstStyle>
          <a:p>
            <a:pPr lvl="0"/>
            <a:r>
              <a:rPr lang="en-US"/>
              <a:t>01</a:t>
            </a:r>
          </a:p>
        </p:txBody>
      </p:sp>
      <p:sp>
        <p:nvSpPr>
          <p:cNvPr id="23" name="Text Placeholder 21">
            <a:extLst>
              <a:ext uri="{FF2B5EF4-FFF2-40B4-BE49-F238E27FC236}">
                <a16:creationId xmlns:a16="http://schemas.microsoft.com/office/drawing/2014/main" id="{26181DBB-22A2-2829-138C-ED75F0DD6BC8}"/>
              </a:ext>
            </a:extLst>
          </p:cNvPr>
          <p:cNvSpPr>
            <a:spLocks noGrp="1"/>
          </p:cNvSpPr>
          <p:nvPr>
            <p:ph type="body" sz="quarter" idx="17" hasCustomPrompt="1"/>
          </p:nvPr>
        </p:nvSpPr>
        <p:spPr>
          <a:xfrm>
            <a:off x="6455664" y="1975104"/>
            <a:ext cx="1051560" cy="1051560"/>
          </a:xfrm>
          <a:solidFill>
            <a:schemeClr val="accent2"/>
          </a:solidFill>
        </p:spPr>
        <p:txBody>
          <a:bodyPr anchor="ctr" anchorCtr="0">
            <a:normAutofit/>
          </a:bodyPr>
          <a:lstStyle>
            <a:lvl1pPr algn="ctr">
              <a:defRPr sz="3600">
                <a:solidFill>
                  <a:schemeClr val="bg1"/>
                </a:solidFill>
              </a:defRPr>
            </a:lvl1pPr>
          </a:lstStyle>
          <a:p>
            <a:pPr lvl="0"/>
            <a:r>
              <a:rPr lang="en-US"/>
              <a:t>02</a:t>
            </a:r>
          </a:p>
        </p:txBody>
      </p:sp>
    </p:spTree>
    <p:extLst>
      <p:ext uri="{BB962C8B-B14F-4D97-AF65-F5344CB8AC3E}">
        <p14:creationId xmlns:p14="http://schemas.microsoft.com/office/powerpoint/2010/main" val="256710493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theme" Target="../theme/theme2.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ags" Target="../tags/tag2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0.xml"/><Relationship Id="rId21" Type="http://schemas.openxmlformats.org/officeDocument/2006/relationships/slideLayout" Target="../slideLayouts/slideLayout75.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63" Type="http://schemas.openxmlformats.org/officeDocument/2006/relationships/slideLayout" Target="../slideLayouts/slideLayout117.xml"/><Relationship Id="rId68" Type="http://schemas.openxmlformats.org/officeDocument/2006/relationships/slideLayout" Target="../slideLayouts/slideLayout122.xml"/><Relationship Id="rId84" Type="http://schemas.openxmlformats.org/officeDocument/2006/relationships/slideLayout" Target="../slideLayouts/slideLayout138.xml"/><Relationship Id="rId89" Type="http://schemas.openxmlformats.org/officeDocument/2006/relationships/slideLayout" Target="../slideLayouts/slideLayout143.xml"/><Relationship Id="rId16" Type="http://schemas.openxmlformats.org/officeDocument/2006/relationships/slideLayout" Target="../slideLayouts/slideLayout70.xml"/><Relationship Id="rId11" Type="http://schemas.openxmlformats.org/officeDocument/2006/relationships/slideLayout" Target="../slideLayouts/slideLayout65.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53" Type="http://schemas.openxmlformats.org/officeDocument/2006/relationships/slideLayout" Target="../slideLayouts/slideLayout107.xml"/><Relationship Id="rId58" Type="http://schemas.openxmlformats.org/officeDocument/2006/relationships/slideLayout" Target="../slideLayouts/slideLayout112.xml"/><Relationship Id="rId74" Type="http://schemas.openxmlformats.org/officeDocument/2006/relationships/slideLayout" Target="../slideLayouts/slideLayout128.xml"/><Relationship Id="rId79" Type="http://schemas.openxmlformats.org/officeDocument/2006/relationships/slideLayout" Target="../slideLayouts/slideLayout133.xml"/><Relationship Id="rId5" Type="http://schemas.openxmlformats.org/officeDocument/2006/relationships/slideLayout" Target="../slideLayouts/slideLayout59.xml"/><Relationship Id="rId90" Type="http://schemas.openxmlformats.org/officeDocument/2006/relationships/slideLayout" Target="../slideLayouts/slideLayout144.xml"/><Relationship Id="rId95" Type="http://schemas.openxmlformats.org/officeDocument/2006/relationships/slideLayout" Target="../slideLayouts/slideLayout149.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64" Type="http://schemas.openxmlformats.org/officeDocument/2006/relationships/slideLayout" Target="../slideLayouts/slideLayout118.xml"/><Relationship Id="rId69" Type="http://schemas.openxmlformats.org/officeDocument/2006/relationships/slideLayout" Target="../slideLayouts/slideLayout123.xml"/><Relationship Id="rId80" Type="http://schemas.openxmlformats.org/officeDocument/2006/relationships/slideLayout" Target="../slideLayouts/slideLayout134.xml"/><Relationship Id="rId85" Type="http://schemas.openxmlformats.org/officeDocument/2006/relationships/slideLayout" Target="../slideLayouts/slideLayout139.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59" Type="http://schemas.openxmlformats.org/officeDocument/2006/relationships/slideLayout" Target="../slideLayouts/slideLayout113.xml"/><Relationship Id="rId67" Type="http://schemas.openxmlformats.org/officeDocument/2006/relationships/slideLayout" Target="../slideLayouts/slideLayout121.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slideLayout" Target="../slideLayouts/slideLayout108.xml"/><Relationship Id="rId62" Type="http://schemas.openxmlformats.org/officeDocument/2006/relationships/slideLayout" Target="../slideLayouts/slideLayout116.xml"/><Relationship Id="rId70" Type="http://schemas.openxmlformats.org/officeDocument/2006/relationships/slideLayout" Target="../slideLayouts/slideLayout124.xml"/><Relationship Id="rId75" Type="http://schemas.openxmlformats.org/officeDocument/2006/relationships/slideLayout" Target="../slideLayouts/slideLayout129.xml"/><Relationship Id="rId83" Type="http://schemas.openxmlformats.org/officeDocument/2006/relationships/slideLayout" Target="../slideLayouts/slideLayout137.xml"/><Relationship Id="rId88" Type="http://schemas.openxmlformats.org/officeDocument/2006/relationships/slideLayout" Target="../slideLayouts/slideLayout142.xml"/><Relationship Id="rId91" Type="http://schemas.openxmlformats.org/officeDocument/2006/relationships/slideLayout" Target="../slideLayouts/slideLayout145.xml"/><Relationship Id="rId96" Type="http://schemas.openxmlformats.org/officeDocument/2006/relationships/slideLayout" Target="../slideLayouts/slideLayout15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57" Type="http://schemas.openxmlformats.org/officeDocument/2006/relationships/slideLayout" Target="../slideLayouts/slideLayout111.xml"/><Relationship Id="rId10" Type="http://schemas.openxmlformats.org/officeDocument/2006/relationships/slideLayout" Target="../slideLayouts/slideLayout64.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60" Type="http://schemas.openxmlformats.org/officeDocument/2006/relationships/slideLayout" Target="../slideLayouts/slideLayout114.xml"/><Relationship Id="rId65" Type="http://schemas.openxmlformats.org/officeDocument/2006/relationships/slideLayout" Target="../slideLayouts/slideLayout119.xml"/><Relationship Id="rId73" Type="http://schemas.openxmlformats.org/officeDocument/2006/relationships/slideLayout" Target="../slideLayouts/slideLayout127.xml"/><Relationship Id="rId78" Type="http://schemas.openxmlformats.org/officeDocument/2006/relationships/slideLayout" Target="../slideLayouts/slideLayout132.xml"/><Relationship Id="rId81" Type="http://schemas.openxmlformats.org/officeDocument/2006/relationships/slideLayout" Target="../slideLayouts/slideLayout135.xml"/><Relationship Id="rId86" Type="http://schemas.openxmlformats.org/officeDocument/2006/relationships/slideLayout" Target="../slideLayouts/slideLayout140.xml"/><Relationship Id="rId94" Type="http://schemas.openxmlformats.org/officeDocument/2006/relationships/slideLayout" Target="../slideLayouts/slideLayout148.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9" Type="http://schemas.openxmlformats.org/officeDocument/2006/relationships/slideLayout" Target="../slideLayouts/slideLayout93.xml"/><Relationship Id="rId34" Type="http://schemas.openxmlformats.org/officeDocument/2006/relationships/slideLayout" Target="../slideLayouts/slideLayout88.xml"/><Relationship Id="rId50" Type="http://schemas.openxmlformats.org/officeDocument/2006/relationships/slideLayout" Target="../slideLayouts/slideLayout104.xml"/><Relationship Id="rId55" Type="http://schemas.openxmlformats.org/officeDocument/2006/relationships/slideLayout" Target="../slideLayouts/slideLayout109.xml"/><Relationship Id="rId76" Type="http://schemas.openxmlformats.org/officeDocument/2006/relationships/slideLayout" Target="../slideLayouts/slideLayout130.xml"/><Relationship Id="rId97" Type="http://schemas.openxmlformats.org/officeDocument/2006/relationships/theme" Target="../theme/theme3.xml"/><Relationship Id="rId7" Type="http://schemas.openxmlformats.org/officeDocument/2006/relationships/slideLayout" Target="../slideLayouts/slideLayout61.xml"/><Relationship Id="rId71" Type="http://schemas.openxmlformats.org/officeDocument/2006/relationships/slideLayout" Target="../slideLayouts/slideLayout125.xml"/><Relationship Id="rId92" Type="http://schemas.openxmlformats.org/officeDocument/2006/relationships/slideLayout" Target="../slideLayouts/slideLayout146.xml"/><Relationship Id="rId2" Type="http://schemas.openxmlformats.org/officeDocument/2006/relationships/slideLayout" Target="../slideLayouts/slideLayout56.xml"/><Relationship Id="rId29" Type="http://schemas.openxmlformats.org/officeDocument/2006/relationships/slideLayout" Target="../slideLayouts/slideLayout83.xml"/><Relationship Id="rId24" Type="http://schemas.openxmlformats.org/officeDocument/2006/relationships/slideLayout" Target="../slideLayouts/slideLayout78.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66" Type="http://schemas.openxmlformats.org/officeDocument/2006/relationships/slideLayout" Target="../slideLayouts/slideLayout120.xml"/><Relationship Id="rId87" Type="http://schemas.openxmlformats.org/officeDocument/2006/relationships/slideLayout" Target="../slideLayouts/slideLayout141.xml"/><Relationship Id="rId61" Type="http://schemas.openxmlformats.org/officeDocument/2006/relationships/slideLayout" Target="../slideLayouts/slideLayout115.xml"/><Relationship Id="rId82" Type="http://schemas.openxmlformats.org/officeDocument/2006/relationships/slideLayout" Target="../slideLayouts/slideLayout136.xml"/><Relationship Id="rId19" Type="http://schemas.openxmlformats.org/officeDocument/2006/relationships/slideLayout" Target="../slideLayouts/slideLayout73.xml"/><Relationship Id="rId14" Type="http://schemas.openxmlformats.org/officeDocument/2006/relationships/slideLayout" Target="../slideLayouts/slideLayout68.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56" Type="http://schemas.openxmlformats.org/officeDocument/2006/relationships/slideLayout" Target="../slideLayouts/slideLayout110.xml"/><Relationship Id="rId77" Type="http://schemas.openxmlformats.org/officeDocument/2006/relationships/slideLayout" Target="../slideLayouts/slideLayout131.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72" Type="http://schemas.openxmlformats.org/officeDocument/2006/relationships/slideLayout" Target="../slideLayouts/slideLayout126.xml"/><Relationship Id="rId93"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6.xml"/><Relationship Id="rId117" Type="http://schemas.openxmlformats.org/officeDocument/2006/relationships/theme" Target="../theme/theme4.xml"/><Relationship Id="rId21" Type="http://schemas.openxmlformats.org/officeDocument/2006/relationships/slideLayout" Target="../slideLayouts/slideLayout171.xml"/><Relationship Id="rId42" Type="http://schemas.openxmlformats.org/officeDocument/2006/relationships/slideLayout" Target="../slideLayouts/slideLayout192.xml"/><Relationship Id="rId47" Type="http://schemas.openxmlformats.org/officeDocument/2006/relationships/slideLayout" Target="../slideLayouts/slideLayout197.xml"/><Relationship Id="rId63" Type="http://schemas.openxmlformats.org/officeDocument/2006/relationships/slideLayout" Target="../slideLayouts/slideLayout213.xml"/><Relationship Id="rId68" Type="http://schemas.openxmlformats.org/officeDocument/2006/relationships/slideLayout" Target="../slideLayouts/slideLayout218.xml"/><Relationship Id="rId84" Type="http://schemas.openxmlformats.org/officeDocument/2006/relationships/slideLayout" Target="../slideLayouts/slideLayout234.xml"/><Relationship Id="rId89" Type="http://schemas.openxmlformats.org/officeDocument/2006/relationships/slideLayout" Target="../slideLayouts/slideLayout239.xml"/><Relationship Id="rId112" Type="http://schemas.openxmlformats.org/officeDocument/2006/relationships/slideLayout" Target="../slideLayouts/slideLayout262.xml"/><Relationship Id="rId16" Type="http://schemas.openxmlformats.org/officeDocument/2006/relationships/slideLayout" Target="../slideLayouts/slideLayout166.xml"/><Relationship Id="rId107" Type="http://schemas.openxmlformats.org/officeDocument/2006/relationships/slideLayout" Target="../slideLayouts/slideLayout257.xml"/><Relationship Id="rId11" Type="http://schemas.openxmlformats.org/officeDocument/2006/relationships/slideLayout" Target="../slideLayouts/slideLayout161.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53" Type="http://schemas.openxmlformats.org/officeDocument/2006/relationships/slideLayout" Target="../slideLayouts/slideLayout203.xml"/><Relationship Id="rId58" Type="http://schemas.openxmlformats.org/officeDocument/2006/relationships/slideLayout" Target="../slideLayouts/slideLayout208.xml"/><Relationship Id="rId74" Type="http://schemas.openxmlformats.org/officeDocument/2006/relationships/slideLayout" Target="../slideLayouts/slideLayout224.xml"/><Relationship Id="rId79" Type="http://schemas.openxmlformats.org/officeDocument/2006/relationships/slideLayout" Target="../slideLayouts/slideLayout229.xml"/><Relationship Id="rId102" Type="http://schemas.openxmlformats.org/officeDocument/2006/relationships/slideLayout" Target="../slideLayouts/slideLayout252.xml"/><Relationship Id="rId5" Type="http://schemas.openxmlformats.org/officeDocument/2006/relationships/slideLayout" Target="../slideLayouts/slideLayout155.xml"/><Relationship Id="rId90" Type="http://schemas.openxmlformats.org/officeDocument/2006/relationships/slideLayout" Target="../slideLayouts/slideLayout240.xml"/><Relationship Id="rId95" Type="http://schemas.openxmlformats.org/officeDocument/2006/relationships/slideLayout" Target="../slideLayouts/slideLayout245.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43" Type="http://schemas.openxmlformats.org/officeDocument/2006/relationships/slideLayout" Target="../slideLayouts/slideLayout193.xml"/><Relationship Id="rId48" Type="http://schemas.openxmlformats.org/officeDocument/2006/relationships/slideLayout" Target="../slideLayouts/slideLayout198.xml"/><Relationship Id="rId64" Type="http://schemas.openxmlformats.org/officeDocument/2006/relationships/slideLayout" Target="../slideLayouts/slideLayout214.xml"/><Relationship Id="rId69" Type="http://schemas.openxmlformats.org/officeDocument/2006/relationships/slideLayout" Target="../slideLayouts/slideLayout219.xml"/><Relationship Id="rId113" Type="http://schemas.openxmlformats.org/officeDocument/2006/relationships/slideLayout" Target="../slideLayouts/slideLayout263.xml"/><Relationship Id="rId80" Type="http://schemas.openxmlformats.org/officeDocument/2006/relationships/slideLayout" Target="../slideLayouts/slideLayout230.xml"/><Relationship Id="rId85" Type="http://schemas.openxmlformats.org/officeDocument/2006/relationships/slideLayout" Target="../slideLayouts/slideLayout235.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33" Type="http://schemas.openxmlformats.org/officeDocument/2006/relationships/slideLayout" Target="../slideLayouts/slideLayout183.xml"/><Relationship Id="rId38" Type="http://schemas.openxmlformats.org/officeDocument/2006/relationships/slideLayout" Target="../slideLayouts/slideLayout188.xml"/><Relationship Id="rId59" Type="http://schemas.openxmlformats.org/officeDocument/2006/relationships/slideLayout" Target="../slideLayouts/slideLayout209.xml"/><Relationship Id="rId103" Type="http://schemas.openxmlformats.org/officeDocument/2006/relationships/slideLayout" Target="../slideLayouts/slideLayout253.xml"/><Relationship Id="rId108" Type="http://schemas.openxmlformats.org/officeDocument/2006/relationships/slideLayout" Target="../slideLayouts/slideLayout258.xml"/><Relationship Id="rId54" Type="http://schemas.openxmlformats.org/officeDocument/2006/relationships/slideLayout" Target="../slideLayouts/slideLayout204.xml"/><Relationship Id="rId70" Type="http://schemas.openxmlformats.org/officeDocument/2006/relationships/slideLayout" Target="../slideLayouts/slideLayout220.xml"/><Relationship Id="rId75" Type="http://schemas.openxmlformats.org/officeDocument/2006/relationships/slideLayout" Target="../slideLayouts/slideLayout225.xml"/><Relationship Id="rId91" Type="http://schemas.openxmlformats.org/officeDocument/2006/relationships/slideLayout" Target="../slideLayouts/slideLayout241.xml"/><Relationship Id="rId96" Type="http://schemas.openxmlformats.org/officeDocument/2006/relationships/slideLayout" Target="../slideLayouts/slideLayout246.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49" Type="http://schemas.openxmlformats.org/officeDocument/2006/relationships/slideLayout" Target="../slideLayouts/slideLayout199.xml"/><Relationship Id="rId114" Type="http://schemas.openxmlformats.org/officeDocument/2006/relationships/slideLayout" Target="../slideLayouts/slideLayout264.xml"/><Relationship Id="rId10" Type="http://schemas.openxmlformats.org/officeDocument/2006/relationships/slideLayout" Target="../slideLayouts/slideLayout160.xml"/><Relationship Id="rId31" Type="http://schemas.openxmlformats.org/officeDocument/2006/relationships/slideLayout" Target="../slideLayouts/slideLayout181.xml"/><Relationship Id="rId44" Type="http://schemas.openxmlformats.org/officeDocument/2006/relationships/slideLayout" Target="../slideLayouts/slideLayout194.xml"/><Relationship Id="rId52" Type="http://schemas.openxmlformats.org/officeDocument/2006/relationships/slideLayout" Target="../slideLayouts/slideLayout202.xml"/><Relationship Id="rId60" Type="http://schemas.openxmlformats.org/officeDocument/2006/relationships/slideLayout" Target="../slideLayouts/slideLayout210.xml"/><Relationship Id="rId65" Type="http://schemas.openxmlformats.org/officeDocument/2006/relationships/slideLayout" Target="../slideLayouts/slideLayout215.xml"/><Relationship Id="rId73" Type="http://schemas.openxmlformats.org/officeDocument/2006/relationships/slideLayout" Target="../slideLayouts/slideLayout223.xml"/><Relationship Id="rId78" Type="http://schemas.openxmlformats.org/officeDocument/2006/relationships/slideLayout" Target="../slideLayouts/slideLayout228.xml"/><Relationship Id="rId81" Type="http://schemas.openxmlformats.org/officeDocument/2006/relationships/slideLayout" Target="../slideLayouts/slideLayout231.xml"/><Relationship Id="rId86" Type="http://schemas.openxmlformats.org/officeDocument/2006/relationships/slideLayout" Target="../slideLayouts/slideLayout236.xml"/><Relationship Id="rId94" Type="http://schemas.openxmlformats.org/officeDocument/2006/relationships/slideLayout" Target="../slideLayouts/slideLayout244.xml"/><Relationship Id="rId99" Type="http://schemas.openxmlformats.org/officeDocument/2006/relationships/slideLayout" Target="../slideLayouts/slideLayout249.xml"/><Relationship Id="rId101" Type="http://schemas.openxmlformats.org/officeDocument/2006/relationships/slideLayout" Target="../slideLayouts/slideLayout25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39" Type="http://schemas.openxmlformats.org/officeDocument/2006/relationships/slideLayout" Target="../slideLayouts/slideLayout189.xml"/><Relationship Id="rId109" Type="http://schemas.openxmlformats.org/officeDocument/2006/relationships/slideLayout" Target="../slideLayouts/slideLayout259.xml"/><Relationship Id="rId34" Type="http://schemas.openxmlformats.org/officeDocument/2006/relationships/slideLayout" Target="../slideLayouts/slideLayout184.xml"/><Relationship Id="rId50" Type="http://schemas.openxmlformats.org/officeDocument/2006/relationships/slideLayout" Target="../slideLayouts/slideLayout200.xml"/><Relationship Id="rId55" Type="http://schemas.openxmlformats.org/officeDocument/2006/relationships/slideLayout" Target="../slideLayouts/slideLayout205.xml"/><Relationship Id="rId76" Type="http://schemas.openxmlformats.org/officeDocument/2006/relationships/slideLayout" Target="../slideLayouts/slideLayout226.xml"/><Relationship Id="rId97" Type="http://schemas.openxmlformats.org/officeDocument/2006/relationships/slideLayout" Target="../slideLayouts/slideLayout247.xml"/><Relationship Id="rId104" Type="http://schemas.openxmlformats.org/officeDocument/2006/relationships/slideLayout" Target="../slideLayouts/slideLayout254.xml"/><Relationship Id="rId7" Type="http://schemas.openxmlformats.org/officeDocument/2006/relationships/slideLayout" Target="../slideLayouts/slideLayout157.xml"/><Relationship Id="rId71" Type="http://schemas.openxmlformats.org/officeDocument/2006/relationships/slideLayout" Target="../slideLayouts/slideLayout221.xml"/><Relationship Id="rId92" Type="http://schemas.openxmlformats.org/officeDocument/2006/relationships/slideLayout" Target="../slideLayouts/slideLayout242.xml"/><Relationship Id="rId2" Type="http://schemas.openxmlformats.org/officeDocument/2006/relationships/slideLayout" Target="../slideLayouts/slideLayout152.xml"/><Relationship Id="rId29" Type="http://schemas.openxmlformats.org/officeDocument/2006/relationships/slideLayout" Target="../slideLayouts/slideLayout179.xml"/><Relationship Id="rId24" Type="http://schemas.openxmlformats.org/officeDocument/2006/relationships/slideLayout" Target="../slideLayouts/slideLayout174.xml"/><Relationship Id="rId40" Type="http://schemas.openxmlformats.org/officeDocument/2006/relationships/slideLayout" Target="../slideLayouts/slideLayout190.xml"/><Relationship Id="rId45" Type="http://schemas.openxmlformats.org/officeDocument/2006/relationships/slideLayout" Target="../slideLayouts/slideLayout195.xml"/><Relationship Id="rId66" Type="http://schemas.openxmlformats.org/officeDocument/2006/relationships/slideLayout" Target="../slideLayouts/slideLayout216.xml"/><Relationship Id="rId87" Type="http://schemas.openxmlformats.org/officeDocument/2006/relationships/slideLayout" Target="../slideLayouts/slideLayout237.xml"/><Relationship Id="rId110" Type="http://schemas.openxmlformats.org/officeDocument/2006/relationships/slideLayout" Target="../slideLayouts/slideLayout260.xml"/><Relationship Id="rId115" Type="http://schemas.openxmlformats.org/officeDocument/2006/relationships/slideLayout" Target="../slideLayouts/slideLayout265.xml"/><Relationship Id="rId61" Type="http://schemas.openxmlformats.org/officeDocument/2006/relationships/slideLayout" Target="../slideLayouts/slideLayout211.xml"/><Relationship Id="rId82" Type="http://schemas.openxmlformats.org/officeDocument/2006/relationships/slideLayout" Target="../slideLayouts/slideLayout232.xml"/><Relationship Id="rId19" Type="http://schemas.openxmlformats.org/officeDocument/2006/relationships/slideLayout" Target="../slideLayouts/slideLayout169.xml"/><Relationship Id="rId14" Type="http://schemas.openxmlformats.org/officeDocument/2006/relationships/slideLayout" Target="../slideLayouts/slideLayout164.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56" Type="http://schemas.openxmlformats.org/officeDocument/2006/relationships/slideLayout" Target="../slideLayouts/slideLayout206.xml"/><Relationship Id="rId77" Type="http://schemas.openxmlformats.org/officeDocument/2006/relationships/slideLayout" Target="../slideLayouts/slideLayout227.xml"/><Relationship Id="rId100" Type="http://schemas.openxmlformats.org/officeDocument/2006/relationships/slideLayout" Target="../slideLayouts/slideLayout250.xml"/><Relationship Id="rId105" Type="http://schemas.openxmlformats.org/officeDocument/2006/relationships/slideLayout" Target="../slideLayouts/slideLayout255.xml"/><Relationship Id="rId8" Type="http://schemas.openxmlformats.org/officeDocument/2006/relationships/slideLayout" Target="../slideLayouts/slideLayout158.xml"/><Relationship Id="rId51" Type="http://schemas.openxmlformats.org/officeDocument/2006/relationships/slideLayout" Target="../slideLayouts/slideLayout201.xml"/><Relationship Id="rId72" Type="http://schemas.openxmlformats.org/officeDocument/2006/relationships/slideLayout" Target="../slideLayouts/slideLayout222.xml"/><Relationship Id="rId93" Type="http://schemas.openxmlformats.org/officeDocument/2006/relationships/slideLayout" Target="../slideLayouts/slideLayout243.xml"/><Relationship Id="rId98" Type="http://schemas.openxmlformats.org/officeDocument/2006/relationships/slideLayout" Target="../slideLayouts/slideLayout248.xml"/><Relationship Id="rId3" Type="http://schemas.openxmlformats.org/officeDocument/2006/relationships/slideLayout" Target="../slideLayouts/slideLayout153.xml"/><Relationship Id="rId25" Type="http://schemas.openxmlformats.org/officeDocument/2006/relationships/slideLayout" Target="../slideLayouts/slideLayout175.xml"/><Relationship Id="rId46" Type="http://schemas.openxmlformats.org/officeDocument/2006/relationships/slideLayout" Target="../slideLayouts/slideLayout196.xml"/><Relationship Id="rId67" Type="http://schemas.openxmlformats.org/officeDocument/2006/relationships/slideLayout" Target="../slideLayouts/slideLayout217.xml"/><Relationship Id="rId116" Type="http://schemas.openxmlformats.org/officeDocument/2006/relationships/slideLayout" Target="../slideLayouts/slideLayout266.xml"/><Relationship Id="rId20" Type="http://schemas.openxmlformats.org/officeDocument/2006/relationships/slideLayout" Target="../slideLayouts/slideLayout170.xml"/><Relationship Id="rId41" Type="http://schemas.openxmlformats.org/officeDocument/2006/relationships/slideLayout" Target="../slideLayouts/slideLayout191.xml"/><Relationship Id="rId62" Type="http://schemas.openxmlformats.org/officeDocument/2006/relationships/slideLayout" Target="../slideLayouts/slideLayout212.xml"/><Relationship Id="rId83" Type="http://schemas.openxmlformats.org/officeDocument/2006/relationships/slideLayout" Target="../slideLayouts/slideLayout233.xml"/><Relationship Id="rId88" Type="http://schemas.openxmlformats.org/officeDocument/2006/relationships/slideLayout" Target="../slideLayouts/slideLayout238.xml"/><Relationship Id="rId111" Type="http://schemas.openxmlformats.org/officeDocument/2006/relationships/slideLayout" Target="../slideLayouts/slideLayout261.xml"/><Relationship Id="rId15" Type="http://schemas.openxmlformats.org/officeDocument/2006/relationships/slideLayout" Target="../slideLayouts/slideLayout165.xml"/><Relationship Id="rId36" Type="http://schemas.openxmlformats.org/officeDocument/2006/relationships/slideLayout" Target="../slideLayouts/slideLayout186.xml"/><Relationship Id="rId57" Type="http://schemas.openxmlformats.org/officeDocument/2006/relationships/slideLayout" Target="../slideLayouts/slideLayout207.xml"/><Relationship Id="rId106" Type="http://schemas.openxmlformats.org/officeDocument/2006/relationships/slideLayout" Target="../slideLayouts/slideLayout256.xml"/></Relationships>
</file>

<file path=ppt/slideMasters/_rels/slideMaster5.xml.rels><?xml version="1.0" encoding="UTF-8" standalone="yes"?>
<Relationships xmlns="http://schemas.openxmlformats.org/package/2006/relationships"><Relationship Id="rId117" Type="http://schemas.openxmlformats.org/officeDocument/2006/relationships/slideLayout" Target="../slideLayouts/slideLayout383.xml"/><Relationship Id="rId21" Type="http://schemas.openxmlformats.org/officeDocument/2006/relationships/slideLayout" Target="../slideLayouts/slideLayout287.xml"/><Relationship Id="rId42" Type="http://schemas.openxmlformats.org/officeDocument/2006/relationships/slideLayout" Target="../slideLayouts/slideLayout308.xml"/><Relationship Id="rId63" Type="http://schemas.openxmlformats.org/officeDocument/2006/relationships/slideLayout" Target="../slideLayouts/slideLayout329.xml"/><Relationship Id="rId84" Type="http://schemas.openxmlformats.org/officeDocument/2006/relationships/slideLayout" Target="../slideLayouts/slideLayout350.xml"/><Relationship Id="rId138" Type="http://schemas.openxmlformats.org/officeDocument/2006/relationships/slideLayout" Target="../slideLayouts/slideLayout404.xml"/><Relationship Id="rId107" Type="http://schemas.openxmlformats.org/officeDocument/2006/relationships/slideLayout" Target="../slideLayouts/slideLayout373.xml"/><Relationship Id="rId11" Type="http://schemas.openxmlformats.org/officeDocument/2006/relationships/slideLayout" Target="../slideLayouts/slideLayout277.xml"/><Relationship Id="rId32" Type="http://schemas.openxmlformats.org/officeDocument/2006/relationships/slideLayout" Target="../slideLayouts/slideLayout298.xml"/><Relationship Id="rId53" Type="http://schemas.openxmlformats.org/officeDocument/2006/relationships/slideLayout" Target="../slideLayouts/slideLayout319.xml"/><Relationship Id="rId74" Type="http://schemas.openxmlformats.org/officeDocument/2006/relationships/slideLayout" Target="../slideLayouts/slideLayout340.xml"/><Relationship Id="rId128" Type="http://schemas.openxmlformats.org/officeDocument/2006/relationships/slideLayout" Target="../slideLayouts/slideLayout394.xml"/><Relationship Id="rId149" Type="http://schemas.openxmlformats.org/officeDocument/2006/relationships/slideLayout" Target="../slideLayouts/slideLayout415.xml"/><Relationship Id="rId5" Type="http://schemas.openxmlformats.org/officeDocument/2006/relationships/slideLayout" Target="../slideLayouts/slideLayout271.xml"/><Relationship Id="rId95" Type="http://schemas.openxmlformats.org/officeDocument/2006/relationships/slideLayout" Target="../slideLayouts/slideLayout361.xml"/><Relationship Id="rId22" Type="http://schemas.openxmlformats.org/officeDocument/2006/relationships/slideLayout" Target="../slideLayouts/slideLayout288.xml"/><Relationship Id="rId27" Type="http://schemas.openxmlformats.org/officeDocument/2006/relationships/slideLayout" Target="../slideLayouts/slideLayout293.xml"/><Relationship Id="rId43" Type="http://schemas.openxmlformats.org/officeDocument/2006/relationships/slideLayout" Target="../slideLayouts/slideLayout309.xml"/><Relationship Id="rId48" Type="http://schemas.openxmlformats.org/officeDocument/2006/relationships/slideLayout" Target="../slideLayouts/slideLayout314.xml"/><Relationship Id="rId64" Type="http://schemas.openxmlformats.org/officeDocument/2006/relationships/slideLayout" Target="../slideLayouts/slideLayout330.xml"/><Relationship Id="rId69" Type="http://schemas.openxmlformats.org/officeDocument/2006/relationships/slideLayout" Target="../slideLayouts/slideLayout335.xml"/><Relationship Id="rId113" Type="http://schemas.openxmlformats.org/officeDocument/2006/relationships/slideLayout" Target="../slideLayouts/slideLayout379.xml"/><Relationship Id="rId118" Type="http://schemas.openxmlformats.org/officeDocument/2006/relationships/slideLayout" Target="../slideLayouts/slideLayout384.xml"/><Relationship Id="rId134" Type="http://schemas.openxmlformats.org/officeDocument/2006/relationships/slideLayout" Target="../slideLayouts/slideLayout400.xml"/><Relationship Id="rId139" Type="http://schemas.openxmlformats.org/officeDocument/2006/relationships/slideLayout" Target="../slideLayouts/slideLayout405.xml"/><Relationship Id="rId80" Type="http://schemas.openxmlformats.org/officeDocument/2006/relationships/slideLayout" Target="../slideLayouts/slideLayout346.xml"/><Relationship Id="rId85" Type="http://schemas.openxmlformats.org/officeDocument/2006/relationships/slideLayout" Target="../slideLayouts/slideLayout351.xml"/><Relationship Id="rId150" Type="http://schemas.openxmlformats.org/officeDocument/2006/relationships/theme" Target="../theme/theme5.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33" Type="http://schemas.openxmlformats.org/officeDocument/2006/relationships/slideLayout" Target="../slideLayouts/slideLayout299.xml"/><Relationship Id="rId38" Type="http://schemas.openxmlformats.org/officeDocument/2006/relationships/slideLayout" Target="../slideLayouts/slideLayout304.xml"/><Relationship Id="rId59" Type="http://schemas.openxmlformats.org/officeDocument/2006/relationships/slideLayout" Target="../slideLayouts/slideLayout325.xml"/><Relationship Id="rId103" Type="http://schemas.openxmlformats.org/officeDocument/2006/relationships/slideLayout" Target="../slideLayouts/slideLayout369.xml"/><Relationship Id="rId108" Type="http://schemas.openxmlformats.org/officeDocument/2006/relationships/slideLayout" Target="../slideLayouts/slideLayout374.xml"/><Relationship Id="rId124" Type="http://schemas.openxmlformats.org/officeDocument/2006/relationships/slideLayout" Target="../slideLayouts/slideLayout390.xml"/><Relationship Id="rId129" Type="http://schemas.openxmlformats.org/officeDocument/2006/relationships/slideLayout" Target="../slideLayouts/slideLayout395.xml"/><Relationship Id="rId54" Type="http://schemas.openxmlformats.org/officeDocument/2006/relationships/slideLayout" Target="../slideLayouts/slideLayout320.xml"/><Relationship Id="rId70" Type="http://schemas.openxmlformats.org/officeDocument/2006/relationships/slideLayout" Target="../slideLayouts/slideLayout336.xml"/><Relationship Id="rId75" Type="http://schemas.openxmlformats.org/officeDocument/2006/relationships/slideLayout" Target="../slideLayouts/slideLayout341.xml"/><Relationship Id="rId91" Type="http://schemas.openxmlformats.org/officeDocument/2006/relationships/slideLayout" Target="../slideLayouts/slideLayout357.xml"/><Relationship Id="rId96" Type="http://schemas.openxmlformats.org/officeDocument/2006/relationships/slideLayout" Target="../slideLayouts/slideLayout362.xml"/><Relationship Id="rId140" Type="http://schemas.openxmlformats.org/officeDocument/2006/relationships/slideLayout" Target="../slideLayouts/slideLayout406.xml"/><Relationship Id="rId145" Type="http://schemas.openxmlformats.org/officeDocument/2006/relationships/slideLayout" Target="../slideLayouts/slideLayout411.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23" Type="http://schemas.openxmlformats.org/officeDocument/2006/relationships/slideLayout" Target="../slideLayouts/slideLayout289.xml"/><Relationship Id="rId28" Type="http://schemas.openxmlformats.org/officeDocument/2006/relationships/slideLayout" Target="../slideLayouts/slideLayout294.xml"/><Relationship Id="rId49" Type="http://schemas.openxmlformats.org/officeDocument/2006/relationships/slideLayout" Target="../slideLayouts/slideLayout315.xml"/><Relationship Id="rId114" Type="http://schemas.openxmlformats.org/officeDocument/2006/relationships/slideLayout" Target="../slideLayouts/slideLayout380.xml"/><Relationship Id="rId119" Type="http://schemas.openxmlformats.org/officeDocument/2006/relationships/slideLayout" Target="../slideLayouts/slideLayout385.xml"/><Relationship Id="rId44" Type="http://schemas.openxmlformats.org/officeDocument/2006/relationships/slideLayout" Target="../slideLayouts/slideLayout310.xml"/><Relationship Id="rId60" Type="http://schemas.openxmlformats.org/officeDocument/2006/relationships/slideLayout" Target="../slideLayouts/slideLayout326.xml"/><Relationship Id="rId65" Type="http://schemas.openxmlformats.org/officeDocument/2006/relationships/slideLayout" Target="../slideLayouts/slideLayout331.xml"/><Relationship Id="rId81" Type="http://schemas.openxmlformats.org/officeDocument/2006/relationships/slideLayout" Target="../slideLayouts/slideLayout347.xml"/><Relationship Id="rId86" Type="http://schemas.openxmlformats.org/officeDocument/2006/relationships/slideLayout" Target="../slideLayouts/slideLayout352.xml"/><Relationship Id="rId130" Type="http://schemas.openxmlformats.org/officeDocument/2006/relationships/slideLayout" Target="../slideLayouts/slideLayout396.xml"/><Relationship Id="rId135" Type="http://schemas.openxmlformats.org/officeDocument/2006/relationships/slideLayout" Target="../slideLayouts/slideLayout401.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39" Type="http://schemas.openxmlformats.org/officeDocument/2006/relationships/slideLayout" Target="../slideLayouts/slideLayout305.xml"/><Relationship Id="rId109" Type="http://schemas.openxmlformats.org/officeDocument/2006/relationships/slideLayout" Target="../slideLayouts/slideLayout375.xml"/><Relationship Id="rId34" Type="http://schemas.openxmlformats.org/officeDocument/2006/relationships/slideLayout" Target="../slideLayouts/slideLayout300.xml"/><Relationship Id="rId50" Type="http://schemas.openxmlformats.org/officeDocument/2006/relationships/slideLayout" Target="../slideLayouts/slideLayout316.xml"/><Relationship Id="rId55" Type="http://schemas.openxmlformats.org/officeDocument/2006/relationships/slideLayout" Target="../slideLayouts/slideLayout321.xml"/><Relationship Id="rId76" Type="http://schemas.openxmlformats.org/officeDocument/2006/relationships/slideLayout" Target="../slideLayouts/slideLayout342.xml"/><Relationship Id="rId97" Type="http://schemas.openxmlformats.org/officeDocument/2006/relationships/slideLayout" Target="../slideLayouts/slideLayout363.xml"/><Relationship Id="rId104" Type="http://schemas.openxmlformats.org/officeDocument/2006/relationships/slideLayout" Target="../slideLayouts/slideLayout370.xml"/><Relationship Id="rId120" Type="http://schemas.openxmlformats.org/officeDocument/2006/relationships/slideLayout" Target="../slideLayouts/slideLayout386.xml"/><Relationship Id="rId125" Type="http://schemas.openxmlformats.org/officeDocument/2006/relationships/slideLayout" Target="../slideLayouts/slideLayout391.xml"/><Relationship Id="rId141" Type="http://schemas.openxmlformats.org/officeDocument/2006/relationships/slideLayout" Target="../slideLayouts/slideLayout407.xml"/><Relationship Id="rId146" Type="http://schemas.openxmlformats.org/officeDocument/2006/relationships/slideLayout" Target="../slideLayouts/slideLayout412.xml"/><Relationship Id="rId7" Type="http://schemas.openxmlformats.org/officeDocument/2006/relationships/slideLayout" Target="../slideLayouts/slideLayout273.xml"/><Relationship Id="rId71" Type="http://schemas.openxmlformats.org/officeDocument/2006/relationships/slideLayout" Target="../slideLayouts/slideLayout337.xml"/><Relationship Id="rId92" Type="http://schemas.openxmlformats.org/officeDocument/2006/relationships/slideLayout" Target="../slideLayouts/slideLayout358.xml"/><Relationship Id="rId2" Type="http://schemas.openxmlformats.org/officeDocument/2006/relationships/slideLayout" Target="../slideLayouts/slideLayout268.xml"/><Relationship Id="rId29" Type="http://schemas.openxmlformats.org/officeDocument/2006/relationships/slideLayout" Target="../slideLayouts/slideLayout295.xml"/><Relationship Id="rId24" Type="http://schemas.openxmlformats.org/officeDocument/2006/relationships/slideLayout" Target="../slideLayouts/slideLayout290.xml"/><Relationship Id="rId40" Type="http://schemas.openxmlformats.org/officeDocument/2006/relationships/slideLayout" Target="../slideLayouts/slideLayout306.xml"/><Relationship Id="rId45" Type="http://schemas.openxmlformats.org/officeDocument/2006/relationships/slideLayout" Target="../slideLayouts/slideLayout311.xml"/><Relationship Id="rId66" Type="http://schemas.openxmlformats.org/officeDocument/2006/relationships/slideLayout" Target="../slideLayouts/slideLayout332.xml"/><Relationship Id="rId87" Type="http://schemas.openxmlformats.org/officeDocument/2006/relationships/slideLayout" Target="../slideLayouts/slideLayout353.xml"/><Relationship Id="rId110" Type="http://schemas.openxmlformats.org/officeDocument/2006/relationships/slideLayout" Target="../slideLayouts/slideLayout376.xml"/><Relationship Id="rId115" Type="http://schemas.openxmlformats.org/officeDocument/2006/relationships/slideLayout" Target="../slideLayouts/slideLayout381.xml"/><Relationship Id="rId131" Type="http://schemas.openxmlformats.org/officeDocument/2006/relationships/slideLayout" Target="../slideLayouts/slideLayout397.xml"/><Relationship Id="rId136" Type="http://schemas.openxmlformats.org/officeDocument/2006/relationships/slideLayout" Target="../slideLayouts/slideLayout402.xml"/><Relationship Id="rId61" Type="http://schemas.openxmlformats.org/officeDocument/2006/relationships/slideLayout" Target="../slideLayouts/slideLayout327.xml"/><Relationship Id="rId82" Type="http://schemas.openxmlformats.org/officeDocument/2006/relationships/slideLayout" Target="../slideLayouts/slideLayout348.xml"/><Relationship Id="rId19" Type="http://schemas.openxmlformats.org/officeDocument/2006/relationships/slideLayout" Target="../slideLayouts/slideLayout285.xml"/><Relationship Id="rId14" Type="http://schemas.openxmlformats.org/officeDocument/2006/relationships/slideLayout" Target="../slideLayouts/slideLayout280.xml"/><Relationship Id="rId30" Type="http://schemas.openxmlformats.org/officeDocument/2006/relationships/slideLayout" Target="../slideLayouts/slideLayout296.xml"/><Relationship Id="rId35" Type="http://schemas.openxmlformats.org/officeDocument/2006/relationships/slideLayout" Target="../slideLayouts/slideLayout301.xml"/><Relationship Id="rId56" Type="http://schemas.openxmlformats.org/officeDocument/2006/relationships/slideLayout" Target="../slideLayouts/slideLayout322.xml"/><Relationship Id="rId77" Type="http://schemas.openxmlformats.org/officeDocument/2006/relationships/slideLayout" Target="../slideLayouts/slideLayout343.xml"/><Relationship Id="rId100" Type="http://schemas.openxmlformats.org/officeDocument/2006/relationships/slideLayout" Target="../slideLayouts/slideLayout366.xml"/><Relationship Id="rId105" Type="http://schemas.openxmlformats.org/officeDocument/2006/relationships/slideLayout" Target="../slideLayouts/slideLayout371.xml"/><Relationship Id="rId126" Type="http://schemas.openxmlformats.org/officeDocument/2006/relationships/slideLayout" Target="../slideLayouts/slideLayout392.xml"/><Relationship Id="rId147" Type="http://schemas.openxmlformats.org/officeDocument/2006/relationships/slideLayout" Target="../slideLayouts/slideLayout413.xml"/><Relationship Id="rId8" Type="http://schemas.openxmlformats.org/officeDocument/2006/relationships/slideLayout" Target="../slideLayouts/slideLayout274.xml"/><Relationship Id="rId51" Type="http://schemas.openxmlformats.org/officeDocument/2006/relationships/slideLayout" Target="../slideLayouts/slideLayout317.xml"/><Relationship Id="rId72" Type="http://schemas.openxmlformats.org/officeDocument/2006/relationships/slideLayout" Target="../slideLayouts/slideLayout338.xml"/><Relationship Id="rId93" Type="http://schemas.openxmlformats.org/officeDocument/2006/relationships/slideLayout" Target="../slideLayouts/slideLayout359.xml"/><Relationship Id="rId98" Type="http://schemas.openxmlformats.org/officeDocument/2006/relationships/slideLayout" Target="../slideLayouts/slideLayout364.xml"/><Relationship Id="rId121" Type="http://schemas.openxmlformats.org/officeDocument/2006/relationships/slideLayout" Target="../slideLayouts/slideLayout387.xml"/><Relationship Id="rId142" Type="http://schemas.openxmlformats.org/officeDocument/2006/relationships/slideLayout" Target="../slideLayouts/slideLayout408.xml"/><Relationship Id="rId3" Type="http://schemas.openxmlformats.org/officeDocument/2006/relationships/slideLayout" Target="../slideLayouts/slideLayout269.xml"/><Relationship Id="rId25" Type="http://schemas.openxmlformats.org/officeDocument/2006/relationships/slideLayout" Target="../slideLayouts/slideLayout291.xml"/><Relationship Id="rId46" Type="http://schemas.openxmlformats.org/officeDocument/2006/relationships/slideLayout" Target="../slideLayouts/slideLayout312.xml"/><Relationship Id="rId67" Type="http://schemas.openxmlformats.org/officeDocument/2006/relationships/slideLayout" Target="../slideLayouts/slideLayout333.xml"/><Relationship Id="rId116" Type="http://schemas.openxmlformats.org/officeDocument/2006/relationships/slideLayout" Target="../slideLayouts/slideLayout382.xml"/><Relationship Id="rId137" Type="http://schemas.openxmlformats.org/officeDocument/2006/relationships/slideLayout" Target="../slideLayouts/slideLayout403.xml"/><Relationship Id="rId20" Type="http://schemas.openxmlformats.org/officeDocument/2006/relationships/slideLayout" Target="../slideLayouts/slideLayout286.xml"/><Relationship Id="rId41" Type="http://schemas.openxmlformats.org/officeDocument/2006/relationships/slideLayout" Target="../slideLayouts/slideLayout307.xml"/><Relationship Id="rId62" Type="http://schemas.openxmlformats.org/officeDocument/2006/relationships/slideLayout" Target="../slideLayouts/slideLayout328.xml"/><Relationship Id="rId83" Type="http://schemas.openxmlformats.org/officeDocument/2006/relationships/slideLayout" Target="../slideLayouts/slideLayout349.xml"/><Relationship Id="rId88" Type="http://schemas.openxmlformats.org/officeDocument/2006/relationships/slideLayout" Target="../slideLayouts/slideLayout354.xml"/><Relationship Id="rId111" Type="http://schemas.openxmlformats.org/officeDocument/2006/relationships/slideLayout" Target="../slideLayouts/slideLayout377.xml"/><Relationship Id="rId132" Type="http://schemas.openxmlformats.org/officeDocument/2006/relationships/slideLayout" Target="../slideLayouts/slideLayout398.xml"/><Relationship Id="rId15" Type="http://schemas.openxmlformats.org/officeDocument/2006/relationships/slideLayout" Target="../slideLayouts/slideLayout281.xml"/><Relationship Id="rId36" Type="http://schemas.openxmlformats.org/officeDocument/2006/relationships/slideLayout" Target="../slideLayouts/slideLayout302.xml"/><Relationship Id="rId57" Type="http://schemas.openxmlformats.org/officeDocument/2006/relationships/slideLayout" Target="../slideLayouts/slideLayout323.xml"/><Relationship Id="rId106" Type="http://schemas.openxmlformats.org/officeDocument/2006/relationships/slideLayout" Target="../slideLayouts/slideLayout372.xml"/><Relationship Id="rId127" Type="http://schemas.openxmlformats.org/officeDocument/2006/relationships/slideLayout" Target="../slideLayouts/slideLayout393.xml"/><Relationship Id="rId10" Type="http://schemas.openxmlformats.org/officeDocument/2006/relationships/slideLayout" Target="../slideLayouts/slideLayout276.xml"/><Relationship Id="rId31" Type="http://schemas.openxmlformats.org/officeDocument/2006/relationships/slideLayout" Target="../slideLayouts/slideLayout297.xml"/><Relationship Id="rId52" Type="http://schemas.openxmlformats.org/officeDocument/2006/relationships/slideLayout" Target="../slideLayouts/slideLayout318.xml"/><Relationship Id="rId73" Type="http://schemas.openxmlformats.org/officeDocument/2006/relationships/slideLayout" Target="../slideLayouts/slideLayout339.xml"/><Relationship Id="rId78" Type="http://schemas.openxmlformats.org/officeDocument/2006/relationships/slideLayout" Target="../slideLayouts/slideLayout344.xml"/><Relationship Id="rId94" Type="http://schemas.openxmlformats.org/officeDocument/2006/relationships/slideLayout" Target="../slideLayouts/slideLayout360.xml"/><Relationship Id="rId99" Type="http://schemas.openxmlformats.org/officeDocument/2006/relationships/slideLayout" Target="../slideLayouts/slideLayout365.xml"/><Relationship Id="rId101" Type="http://schemas.openxmlformats.org/officeDocument/2006/relationships/slideLayout" Target="../slideLayouts/slideLayout367.xml"/><Relationship Id="rId122" Type="http://schemas.openxmlformats.org/officeDocument/2006/relationships/slideLayout" Target="../slideLayouts/slideLayout388.xml"/><Relationship Id="rId143" Type="http://schemas.openxmlformats.org/officeDocument/2006/relationships/slideLayout" Target="../slideLayouts/slideLayout409.xml"/><Relationship Id="rId148" Type="http://schemas.openxmlformats.org/officeDocument/2006/relationships/slideLayout" Target="../slideLayouts/slideLayout414.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26" Type="http://schemas.openxmlformats.org/officeDocument/2006/relationships/slideLayout" Target="../slideLayouts/slideLayout292.xml"/><Relationship Id="rId47" Type="http://schemas.openxmlformats.org/officeDocument/2006/relationships/slideLayout" Target="../slideLayouts/slideLayout313.xml"/><Relationship Id="rId68" Type="http://schemas.openxmlformats.org/officeDocument/2006/relationships/slideLayout" Target="../slideLayouts/slideLayout334.xml"/><Relationship Id="rId89" Type="http://schemas.openxmlformats.org/officeDocument/2006/relationships/slideLayout" Target="../slideLayouts/slideLayout355.xml"/><Relationship Id="rId112" Type="http://schemas.openxmlformats.org/officeDocument/2006/relationships/slideLayout" Target="../slideLayouts/slideLayout378.xml"/><Relationship Id="rId133" Type="http://schemas.openxmlformats.org/officeDocument/2006/relationships/slideLayout" Target="../slideLayouts/slideLayout399.xml"/><Relationship Id="rId16" Type="http://schemas.openxmlformats.org/officeDocument/2006/relationships/slideLayout" Target="../slideLayouts/slideLayout282.xml"/><Relationship Id="rId37" Type="http://schemas.openxmlformats.org/officeDocument/2006/relationships/slideLayout" Target="../slideLayouts/slideLayout303.xml"/><Relationship Id="rId58" Type="http://schemas.openxmlformats.org/officeDocument/2006/relationships/slideLayout" Target="../slideLayouts/slideLayout324.xml"/><Relationship Id="rId79" Type="http://schemas.openxmlformats.org/officeDocument/2006/relationships/slideLayout" Target="../slideLayouts/slideLayout345.xml"/><Relationship Id="rId102" Type="http://schemas.openxmlformats.org/officeDocument/2006/relationships/slideLayout" Target="../slideLayouts/slideLayout368.xml"/><Relationship Id="rId123" Type="http://schemas.openxmlformats.org/officeDocument/2006/relationships/slideLayout" Target="../slideLayouts/slideLayout389.xml"/><Relationship Id="rId144" Type="http://schemas.openxmlformats.org/officeDocument/2006/relationships/slideLayout" Target="../slideLayouts/slideLayout410.xml"/><Relationship Id="rId90" Type="http://schemas.openxmlformats.org/officeDocument/2006/relationships/slideLayout" Target="../slideLayouts/slideLayout356.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441.xml"/><Relationship Id="rId21" Type="http://schemas.openxmlformats.org/officeDocument/2006/relationships/slideLayout" Target="../slideLayouts/slideLayout436.xml"/><Relationship Id="rId42" Type="http://schemas.openxmlformats.org/officeDocument/2006/relationships/slideLayout" Target="../slideLayouts/slideLayout457.xml"/><Relationship Id="rId47" Type="http://schemas.openxmlformats.org/officeDocument/2006/relationships/slideLayout" Target="../slideLayouts/slideLayout462.xml"/><Relationship Id="rId63" Type="http://schemas.openxmlformats.org/officeDocument/2006/relationships/slideLayout" Target="../slideLayouts/slideLayout478.xml"/><Relationship Id="rId68" Type="http://schemas.openxmlformats.org/officeDocument/2006/relationships/slideLayout" Target="../slideLayouts/slideLayout483.xml"/><Relationship Id="rId84" Type="http://schemas.openxmlformats.org/officeDocument/2006/relationships/slideLayout" Target="../slideLayouts/slideLayout499.xml"/><Relationship Id="rId89" Type="http://schemas.openxmlformats.org/officeDocument/2006/relationships/slideLayout" Target="../slideLayouts/slideLayout504.xml"/><Relationship Id="rId16" Type="http://schemas.openxmlformats.org/officeDocument/2006/relationships/slideLayout" Target="../slideLayouts/slideLayout431.xml"/><Relationship Id="rId11" Type="http://schemas.openxmlformats.org/officeDocument/2006/relationships/slideLayout" Target="../slideLayouts/slideLayout426.xml"/><Relationship Id="rId32" Type="http://schemas.openxmlformats.org/officeDocument/2006/relationships/slideLayout" Target="../slideLayouts/slideLayout447.xml"/><Relationship Id="rId37" Type="http://schemas.openxmlformats.org/officeDocument/2006/relationships/slideLayout" Target="../slideLayouts/slideLayout452.xml"/><Relationship Id="rId53" Type="http://schemas.openxmlformats.org/officeDocument/2006/relationships/slideLayout" Target="../slideLayouts/slideLayout468.xml"/><Relationship Id="rId58" Type="http://schemas.openxmlformats.org/officeDocument/2006/relationships/slideLayout" Target="../slideLayouts/slideLayout473.xml"/><Relationship Id="rId74" Type="http://schemas.openxmlformats.org/officeDocument/2006/relationships/slideLayout" Target="../slideLayouts/slideLayout489.xml"/><Relationship Id="rId79" Type="http://schemas.openxmlformats.org/officeDocument/2006/relationships/slideLayout" Target="../slideLayouts/slideLayout494.xml"/><Relationship Id="rId5" Type="http://schemas.openxmlformats.org/officeDocument/2006/relationships/slideLayout" Target="../slideLayouts/slideLayout420.xml"/><Relationship Id="rId90" Type="http://schemas.openxmlformats.org/officeDocument/2006/relationships/slideLayout" Target="../slideLayouts/slideLayout505.xml"/><Relationship Id="rId95" Type="http://schemas.openxmlformats.org/officeDocument/2006/relationships/slideLayout" Target="../slideLayouts/slideLayout510.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43" Type="http://schemas.openxmlformats.org/officeDocument/2006/relationships/slideLayout" Target="../slideLayouts/slideLayout458.xml"/><Relationship Id="rId48" Type="http://schemas.openxmlformats.org/officeDocument/2006/relationships/slideLayout" Target="../slideLayouts/slideLayout463.xml"/><Relationship Id="rId64" Type="http://schemas.openxmlformats.org/officeDocument/2006/relationships/slideLayout" Target="../slideLayouts/slideLayout479.xml"/><Relationship Id="rId69" Type="http://schemas.openxmlformats.org/officeDocument/2006/relationships/slideLayout" Target="../slideLayouts/slideLayout484.xml"/><Relationship Id="rId8" Type="http://schemas.openxmlformats.org/officeDocument/2006/relationships/slideLayout" Target="../slideLayouts/slideLayout423.xml"/><Relationship Id="rId51" Type="http://schemas.openxmlformats.org/officeDocument/2006/relationships/slideLayout" Target="../slideLayouts/slideLayout466.xml"/><Relationship Id="rId72" Type="http://schemas.openxmlformats.org/officeDocument/2006/relationships/slideLayout" Target="../slideLayouts/slideLayout487.xml"/><Relationship Id="rId80" Type="http://schemas.openxmlformats.org/officeDocument/2006/relationships/slideLayout" Target="../slideLayouts/slideLayout495.xml"/><Relationship Id="rId85" Type="http://schemas.openxmlformats.org/officeDocument/2006/relationships/slideLayout" Target="../slideLayouts/slideLayout500.xml"/><Relationship Id="rId93" Type="http://schemas.openxmlformats.org/officeDocument/2006/relationships/slideLayout" Target="../slideLayouts/slideLayout508.xml"/><Relationship Id="rId3" Type="http://schemas.openxmlformats.org/officeDocument/2006/relationships/slideLayout" Target="../slideLayouts/slideLayout418.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slideLayout" Target="../slideLayouts/slideLayout453.xml"/><Relationship Id="rId46" Type="http://schemas.openxmlformats.org/officeDocument/2006/relationships/slideLayout" Target="../slideLayouts/slideLayout461.xml"/><Relationship Id="rId59" Type="http://schemas.openxmlformats.org/officeDocument/2006/relationships/slideLayout" Target="../slideLayouts/slideLayout474.xml"/><Relationship Id="rId67" Type="http://schemas.openxmlformats.org/officeDocument/2006/relationships/slideLayout" Target="../slideLayouts/slideLayout482.xml"/><Relationship Id="rId20" Type="http://schemas.openxmlformats.org/officeDocument/2006/relationships/slideLayout" Target="../slideLayouts/slideLayout435.xml"/><Relationship Id="rId41" Type="http://schemas.openxmlformats.org/officeDocument/2006/relationships/slideLayout" Target="../slideLayouts/slideLayout456.xml"/><Relationship Id="rId54" Type="http://schemas.openxmlformats.org/officeDocument/2006/relationships/slideLayout" Target="../slideLayouts/slideLayout469.xml"/><Relationship Id="rId62" Type="http://schemas.openxmlformats.org/officeDocument/2006/relationships/slideLayout" Target="../slideLayouts/slideLayout477.xml"/><Relationship Id="rId70" Type="http://schemas.openxmlformats.org/officeDocument/2006/relationships/slideLayout" Target="../slideLayouts/slideLayout485.xml"/><Relationship Id="rId75" Type="http://schemas.openxmlformats.org/officeDocument/2006/relationships/slideLayout" Target="../slideLayouts/slideLayout490.xml"/><Relationship Id="rId83" Type="http://schemas.openxmlformats.org/officeDocument/2006/relationships/slideLayout" Target="../slideLayouts/slideLayout498.xml"/><Relationship Id="rId88" Type="http://schemas.openxmlformats.org/officeDocument/2006/relationships/slideLayout" Target="../slideLayouts/slideLayout503.xml"/><Relationship Id="rId91" Type="http://schemas.openxmlformats.org/officeDocument/2006/relationships/slideLayout" Target="../slideLayouts/slideLayout506.xml"/><Relationship Id="rId96" Type="http://schemas.openxmlformats.org/officeDocument/2006/relationships/theme" Target="../theme/theme6.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49" Type="http://schemas.openxmlformats.org/officeDocument/2006/relationships/slideLayout" Target="../slideLayouts/slideLayout464.xml"/><Relationship Id="rId57" Type="http://schemas.openxmlformats.org/officeDocument/2006/relationships/slideLayout" Target="../slideLayouts/slideLayout472.xml"/><Relationship Id="rId10" Type="http://schemas.openxmlformats.org/officeDocument/2006/relationships/slideLayout" Target="../slideLayouts/slideLayout425.xml"/><Relationship Id="rId31" Type="http://schemas.openxmlformats.org/officeDocument/2006/relationships/slideLayout" Target="../slideLayouts/slideLayout446.xml"/><Relationship Id="rId44" Type="http://schemas.openxmlformats.org/officeDocument/2006/relationships/slideLayout" Target="../slideLayouts/slideLayout459.xml"/><Relationship Id="rId52" Type="http://schemas.openxmlformats.org/officeDocument/2006/relationships/slideLayout" Target="../slideLayouts/slideLayout467.xml"/><Relationship Id="rId60" Type="http://schemas.openxmlformats.org/officeDocument/2006/relationships/slideLayout" Target="../slideLayouts/slideLayout475.xml"/><Relationship Id="rId65" Type="http://schemas.openxmlformats.org/officeDocument/2006/relationships/slideLayout" Target="../slideLayouts/slideLayout480.xml"/><Relationship Id="rId73" Type="http://schemas.openxmlformats.org/officeDocument/2006/relationships/slideLayout" Target="../slideLayouts/slideLayout488.xml"/><Relationship Id="rId78" Type="http://schemas.openxmlformats.org/officeDocument/2006/relationships/slideLayout" Target="../slideLayouts/slideLayout493.xml"/><Relationship Id="rId81" Type="http://schemas.openxmlformats.org/officeDocument/2006/relationships/slideLayout" Target="../slideLayouts/slideLayout496.xml"/><Relationship Id="rId86" Type="http://schemas.openxmlformats.org/officeDocument/2006/relationships/slideLayout" Target="../slideLayouts/slideLayout501.xml"/><Relationship Id="rId94" Type="http://schemas.openxmlformats.org/officeDocument/2006/relationships/slideLayout" Target="../slideLayouts/slideLayout509.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39" Type="http://schemas.openxmlformats.org/officeDocument/2006/relationships/slideLayout" Target="../slideLayouts/slideLayout454.xml"/><Relationship Id="rId34" Type="http://schemas.openxmlformats.org/officeDocument/2006/relationships/slideLayout" Target="../slideLayouts/slideLayout449.xml"/><Relationship Id="rId50" Type="http://schemas.openxmlformats.org/officeDocument/2006/relationships/slideLayout" Target="../slideLayouts/slideLayout465.xml"/><Relationship Id="rId55" Type="http://schemas.openxmlformats.org/officeDocument/2006/relationships/slideLayout" Target="../slideLayouts/slideLayout470.xml"/><Relationship Id="rId76" Type="http://schemas.openxmlformats.org/officeDocument/2006/relationships/slideLayout" Target="../slideLayouts/slideLayout491.xml"/><Relationship Id="rId7" Type="http://schemas.openxmlformats.org/officeDocument/2006/relationships/slideLayout" Target="../slideLayouts/slideLayout422.xml"/><Relationship Id="rId71" Type="http://schemas.openxmlformats.org/officeDocument/2006/relationships/slideLayout" Target="../slideLayouts/slideLayout486.xml"/><Relationship Id="rId92" Type="http://schemas.openxmlformats.org/officeDocument/2006/relationships/slideLayout" Target="../slideLayouts/slideLayout507.xml"/><Relationship Id="rId2" Type="http://schemas.openxmlformats.org/officeDocument/2006/relationships/slideLayout" Target="../slideLayouts/slideLayout417.xml"/><Relationship Id="rId29" Type="http://schemas.openxmlformats.org/officeDocument/2006/relationships/slideLayout" Target="../slideLayouts/slideLayout444.xml"/><Relationship Id="rId24" Type="http://schemas.openxmlformats.org/officeDocument/2006/relationships/slideLayout" Target="../slideLayouts/slideLayout439.xml"/><Relationship Id="rId40" Type="http://schemas.openxmlformats.org/officeDocument/2006/relationships/slideLayout" Target="../slideLayouts/slideLayout455.xml"/><Relationship Id="rId45" Type="http://schemas.openxmlformats.org/officeDocument/2006/relationships/slideLayout" Target="../slideLayouts/slideLayout460.xml"/><Relationship Id="rId66" Type="http://schemas.openxmlformats.org/officeDocument/2006/relationships/slideLayout" Target="../slideLayouts/slideLayout481.xml"/><Relationship Id="rId87" Type="http://schemas.openxmlformats.org/officeDocument/2006/relationships/slideLayout" Target="../slideLayouts/slideLayout502.xml"/><Relationship Id="rId61" Type="http://schemas.openxmlformats.org/officeDocument/2006/relationships/slideLayout" Target="../slideLayouts/slideLayout476.xml"/><Relationship Id="rId82" Type="http://schemas.openxmlformats.org/officeDocument/2006/relationships/slideLayout" Target="../slideLayouts/slideLayout497.xml"/><Relationship Id="rId19" Type="http://schemas.openxmlformats.org/officeDocument/2006/relationships/slideLayout" Target="../slideLayouts/slideLayout434.xml"/><Relationship Id="rId14" Type="http://schemas.openxmlformats.org/officeDocument/2006/relationships/slideLayout" Target="../slideLayouts/slideLayout429.xml"/><Relationship Id="rId30" Type="http://schemas.openxmlformats.org/officeDocument/2006/relationships/slideLayout" Target="../slideLayouts/slideLayout445.xml"/><Relationship Id="rId35" Type="http://schemas.openxmlformats.org/officeDocument/2006/relationships/slideLayout" Target="../slideLayouts/slideLayout450.xml"/><Relationship Id="rId56" Type="http://schemas.openxmlformats.org/officeDocument/2006/relationships/slideLayout" Target="../slideLayouts/slideLayout471.xml"/><Relationship Id="rId77" Type="http://schemas.openxmlformats.org/officeDocument/2006/relationships/slideLayout" Target="../slideLayouts/slideLayout492.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536.xml"/><Relationship Id="rId21" Type="http://schemas.openxmlformats.org/officeDocument/2006/relationships/slideLayout" Target="../slideLayouts/slideLayout531.xml"/><Relationship Id="rId42" Type="http://schemas.openxmlformats.org/officeDocument/2006/relationships/slideLayout" Target="../slideLayouts/slideLayout552.xml"/><Relationship Id="rId47" Type="http://schemas.openxmlformats.org/officeDocument/2006/relationships/slideLayout" Target="../slideLayouts/slideLayout557.xml"/><Relationship Id="rId63" Type="http://schemas.openxmlformats.org/officeDocument/2006/relationships/slideLayout" Target="../slideLayouts/slideLayout573.xml"/><Relationship Id="rId68" Type="http://schemas.openxmlformats.org/officeDocument/2006/relationships/slideLayout" Target="../slideLayouts/slideLayout578.xml"/><Relationship Id="rId84" Type="http://schemas.openxmlformats.org/officeDocument/2006/relationships/slideLayout" Target="../slideLayouts/slideLayout594.xml"/><Relationship Id="rId89" Type="http://schemas.openxmlformats.org/officeDocument/2006/relationships/slideLayout" Target="../slideLayouts/slideLayout599.xml"/><Relationship Id="rId16" Type="http://schemas.openxmlformats.org/officeDocument/2006/relationships/slideLayout" Target="../slideLayouts/slideLayout526.xml"/><Relationship Id="rId11" Type="http://schemas.openxmlformats.org/officeDocument/2006/relationships/slideLayout" Target="../slideLayouts/slideLayout521.xml"/><Relationship Id="rId32" Type="http://schemas.openxmlformats.org/officeDocument/2006/relationships/slideLayout" Target="../slideLayouts/slideLayout542.xml"/><Relationship Id="rId37" Type="http://schemas.openxmlformats.org/officeDocument/2006/relationships/slideLayout" Target="../slideLayouts/slideLayout547.xml"/><Relationship Id="rId53" Type="http://schemas.openxmlformats.org/officeDocument/2006/relationships/slideLayout" Target="../slideLayouts/slideLayout563.xml"/><Relationship Id="rId58" Type="http://schemas.openxmlformats.org/officeDocument/2006/relationships/slideLayout" Target="../slideLayouts/slideLayout568.xml"/><Relationship Id="rId74" Type="http://schemas.openxmlformats.org/officeDocument/2006/relationships/slideLayout" Target="../slideLayouts/slideLayout584.xml"/><Relationship Id="rId79" Type="http://schemas.openxmlformats.org/officeDocument/2006/relationships/slideLayout" Target="../slideLayouts/slideLayout589.xml"/><Relationship Id="rId5" Type="http://schemas.openxmlformats.org/officeDocument/2006/relationships/slideLayout" Target="../slideLayouts/slideLayout515.xml"/><Relationship Id="rId90" Type="http://schemas.openxmlformats.org/officeDocument/2006/relationships/slideLayout" Target="../slideLayouts/slideLayout600.xml"/><Relationship Id="rId95" Type="http://schemas.openxmlformats.org/officeDocument/2006/relationships/slideLayout" Target="../slideLayouts/slideLayout605.xml"/><Relationship Id="rId22" Type="http://schemas.openxmlformats.org/officeDocument/2006/relationships/slideLayout" Target="../slideLayouts/slideLayout532.xml"/><Relationship Id="rId27" Type="http://schemas.openxmlformats.org/officeDocument/2006/relationships/slideLayout" Target="../slideLayouts/slideLayout537.xml"/><Relationship Id="rId43" Type="http://schemas.openxmlformats.org/officeDocument/2006/relationships/slideLayout" Target="../slideLayouts/slideLayout553.xml"/><Relationship Id="rId48" Type="http://schemas.openxmlformats.org/officeDocument/2006/relationships/slideLayout" Target="../slideLayouts/slideLayout558.xml"/><Relationship Id="rId64" Type="http://schemas.openxmlformats.org/officeDocument/2006/relationships/slideLayout" Target="../slideLayouts/slideLayout574.xml"/><Relationship Id="rId69" Type="http://schemas.openxmlformats.org/officeDocument/2006/relationships/slideLayout" Target="../slideLayouts/slideLayout579.xml"/><Relationship Id="rId8" Type="http://schemas.openxmlformats.org/officeDocument/2006/relationships/slideLayout" Target="../slideLayouts/slideLayout518.xml"/><Relationship Id="rId51" Type="http://schemas.openxmlformats.org/officeDocument/2006/relationships/slideLayout" Target="../slideLayouts/slideLayout561.xml"/><Relationship Id="rId72" Type="http://schemas.openxmlformats.org/officeDocument/2006/relationships/slideLayout" Target="../slideLayouts/slideLayout582.xml"/><Relationship Id="rId80" Type="http://schemas.openxmlformats.org/officeDocument/2006/relationships/slideLayout" Target="../slideLayouts/slideLayout590.xml"/><Relationship Id="rId85" Type="http://schemas.openxmlformats.org/officeDocument/2006/relationships/slideLayout" Target="../slideLayouts/slideLayout595.xml"/><Relationship Id="rId93" Type="http://schemas.openxmlformats.org/officeDocument/2006/relationships/slideLayout" Target="../slideLayouts/slideLayout603.xml"/><Relationship Id="rId3" Type="http://schemas.openxmlformats.org/officeDocument/2006/relationships/slideLayout" Target="../slideLayouts/slideLayout513.xml"/><Relationship Id="rId12" Type="http://schemas.openxmlformats.org/officeDocument/2006/relationships/slideLayout" Target="../slideLayouts/slideLayout522.xml"/><Relationship Id="rId17" Type="http://schemas.openxmlformats.org/officeDocument/2006/relationships/slideLayout" Target="../slideLayouts/slideLayout527.xml"/><Relationship Id="rId25" Type="http://schemas.openxmlformats.org/officeDocument/2006/relationships/slideLayout" Target="../slideLayouts/slideLayout535.xml"/><Relationship Id="rId33" Type="http://schemas.openxmlformats.org/officeDocument/2006/relationships/slideLayout" Target="../slideLayouts/slideLayout543.xml"/><Relationship Id="rId38" Type="http://schemas.openxmlformats.org/officeDocument/2006/relationships/slideLayout" Target="../slideLayouts/slideLayout548.xml"/><Relationship Id="rId46" Type="http://schemas.openxmlformats.org/officeDocument/2006/relationships/slideLayout" Target="../slideLayouts/slideLayout556.xml"/><Relationship Id="rId59" Type="http://schemas.openxmlformats.org/officeDocument/2006/relationships/slideLayout" Target="../slideLayouts/slideLayout569.xml"/><Relationship Id="rId67" Type="http://schemas.openxmlformats.org/officeDocument/2006/relationships/slideLayout" Target="../slideLayouts/slideLayout577.xml"/><Relationship Id="rId20" Type="http://schemas.openxmlformats.org/officeDocument/2006/relationships/slideLayout" Target="../slideLayouts/slideLayout530.xml"/><Relationship Id="rId41" Type="http://schemas.openxmlformats.org/officeDocument/2006/relationships/slideLayout" Target="../slideLayouts/slideLayout551.xml"/><Relationship Id="rId54" Type="http://schemas.openxmlformats.org/officeDocument/2006/relationships/slideLayout" Target="../slideLayouts/slideLayout564.xml"/><Relationship Id="rId62" Type="http://schemas.openxmlformats.org/officeDocument/2006/relationships/slideLayout" Target="../slideLayouts/slideLayout572.xml"/><Relationship Id="rId70" Type="http://schemas.openxmlformats.org/officeDocument/2006/relationships/slideLayout" Target="../slideLayouts/slideLayout580.xml"/><Relationship Id="rId75" Type="http://schemas.openxmlformats.org/officeDocument/2006/relationships/slideLayout" Target="../slideLayouts/slideLayout585.xml"/><Relationship Id="rId83" Type="http://schemas.openxmlformats.org/officeDocument/2006/relationships/slideLayout" Target="../slideLayouts/slideLayout593.xml"/><Relationship Id="rId88" Type="http://schemas.openxmlformats.org/officeDocument/2006/relationships/slideLayout" Target="../slideLayouts/slideLayout598.xml"/><Relationship Id="rId91" Type="http://schemas.openxmlformats.org/officeDocument/2006/relationships/slideLayout" Target="../slideLayouts/slideLayout601.xml"/><Relationship Id="rId96" Type="http://schemas.openxmlformats.org/officeDocument/2006/relationships/theme" Target="../theme/theme7.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5" Type="http://schemas.openxmlformats.org/officeDocument/2006/relationships/slideLayout" Target="../slideLayouts/slideLayout525.xml"/><Relationship Id="rId23" Type="http://schemas.openxmlformats.org/officeDocument/2006/relationships/slideLayout" Target="../slideLayouts/slideLayout533.xml"/><Relationship Id="rId28" Type="http://schemas.openxmlformats.org/officeDocument/2006/relationships/slideLayout" Target="../slideLayouts/slideLayout538.xml"/><Relationship Id="rId36" Type="http://schemas.openxmlformats.org/officeDocument/2006/relationships/slideLayout" Target="../slideLayouts/slideLayout546.xml"/><Relationship Id="rId49" Type="http://schemas.openxmlformats.org/officeDocument/2006/relationships/slideLayout" Target="../slideLayouts/slideLayout559.xml"/><Relationship Id="rId57" Type="http://schemas.openxmlformats.org/officeDocument/2006/relationships/slideLayout" Target="../slideLayouts/slideLayout567.xml"/><Relationship Id="rId10" Type="http://schemas.openxmlformats.org/officeDocument/2006/relationships/slideLayout" Target="../slideLayouts/slideLayout520.xml"/><Relationship Id="rId31" Type="http://schemas.openxmlformats.org/officeDocument/2006/relationships/slideLayout" Target="../slideLayouts/slideLayout541.xml"/><Relationship Id="rId44" Type="http://schemas.openxmlformats.org/officeDocument/2006/relationships/slideLayout" Target="../slideLayouts/slideLayout554.xml"/><Relationship Id="rId52" Type="http://schemas.openxmlformats.org/officeDocument/2006/relationships/slideLayout" Target="../slideLayouts/slideLayout562.xml"/><Relationship Id="rId60" Type="http://schemas.openxmlformats.org/officeDocument/2006/relationships/slideLayout" Target="../slideLayouts/slideLayout570.xml"/><Relationship Id="rId65" Type="http://schemas.openxmlformats.org/officeDocument/2006/relationships/slideLayout" Target="../slideLayouts/slideLayout575.xml"/><Relationship Id="rId73" Type="http://schemas.openxmlformats.org/officeDocument/2006/relationships/slideLayout" Target="../slideLayouts/slideLayout583.xml"/><Relationship Id="rId78" Type="http://schemas.openxmlformats.org/officeDocument/2006/relationships/slideLayout" Target="../slideLayouts/slideLayout588.xml"/><Relationship Id="rId81" Type="http://schemas.openxmlformats.org/officeDocument/2006/relationships/slideLayout" Target="../slideLayouts/slideLayout591.xml"/><Relationship Id="rId86" Type="http://schemas.openxmlformats.org/officeDocument/2006/relationships/slideLayout" Target="../slideLayouts/slideLayout596.xml"/><Relationship Id="rId94" Type="http://schemas.openxmlformats.org/officeDocument/2006/relationships/slideLayout" Target="../slideLayouts/slideLayout604.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3" Type="http://schemas.openxmlformats.org/officeDocument/2006/relationships/slideLayout" Target="../slideLayouts/slideLayout523.xml"/><Relationship Id="rId18" Type="http://schemas.openxmlformats.org/officeDocument/2006/relationships/slideLayout" Target="../slideLayouts/slideLayout528.xml"/><Relationship Id="rId39" Type="http://schemas.openxmlformats.org/officeDocument/2006/relationships/slideLayout" Target="../slideLayouts/slideLayout549.xml"/><Relationship Id="rId34" Type="http://schemas.openxmlformats.org/officeDocument/2006/relationships/slideLayout" Target="../slideLayouts/slideLayout544.xml"/><Relationship Id="rId50" Type="http://schemas.openxmlformats.org/officeDocument/2006/relationships/slideLayout" Target="../slideLayouts/slideLayout560.xml"/><Relationship Id="rId55" Type="http://schemas.openxmlformats.org/officeDocument/2006/relationships/slideLayout" Target="../slideLayouts/slideLayout565.xml"/><Relationship Id="rId76" Type="http://schemas.openxmlformats.org/officeDocument/2006/relationships/slideLayout" Target="../slideLayouts/slideLayout586.xml"/><Relationship Id="rId7" Type="http://schemas.openxmlformats.org/officeDocument/2006/relationships/slideLayout" Target="../slideLayouts/slideLayout517.xml"/><Relationship Id="rId71" Type="http://schemas.openxmlformats.org/officeDocument/2006/relationships/slideLayout" Target="../slideLayouts/slideLayout581.xml"/><Relationship Id="rId92" Type="http://schemas.openxmlformats.org/officeDocument/2006/relationships/slideLayout" Target="../slideLayouts/slideLayout602.xml"/><Relationship Id="rId2" Type="http://schemas.openxmlformats.org/officeDocument/2006/relationships/slideLayout" Target="../slideLayouts/slideLayout512.xml"/><Relationship Id="rId29" Type="http://schemas.openxmlformats.org/officeDocument/2006/relationships/slideLayout" Target="../slideLayouts/slideLayout539.xml"/><Relationship Id="rId24" Type="http://schemas.openxmlformats.org/officeDocument/2006/relationships/slideLayout" Target="../slideLayouts/slideLayout534.xml"/><Relationship Id="rId40" Type="http://schemas.openxmlformats.org/officeDocument/2006/relationships/slideLayout" Target="../slideLayouts/slideLayout550.xml"/><Relationship Id="rId45" Type="http://schemas.openxmlformats.org/officeDocument/2006/relationships/slideLayout" Target="../slideLayouts/slideLayout555.xml"/><Relationship Id="rId66" Type="http://schemas.openxmlformats.org/officeDocument/2006/relationships/slideLayout" Target="../slideLayouts/slideLayout576.xml"/><Relationship Id="rId87" Type="http://schemas.openxmlformats.org/officeDocument/2006/relationships/slideLayout" Target="../slideLayouts/slideLayout597.xml"/><Relationship Id="rId61" Type="http://schemas.openxmlformats.org/officeDocument/2006/relationships/slideLayout" Target="../slideLayouts/slideLayout571.xml"/><Relationship Id="rId82" Type="http://schemas.openxmlformats.org/officeDocument/2006/relationships/slideLayout" Target="../slideLayouts/slideLayout592.xml"/><Relationship Id="rId19" Type="http://schemas.openxmlformats.org/officeDocument/2006/relationships/slideLayout" Target="../slideLayouts/slideLayout529.xml"/><Relationship Id="rId14" Type="http://schemas.openxmlformats.org/officeDocument/2006/relationships/slideLayout" Target="../slideLayouts/slideLayout524.xml"/><Relationship Id="rId30" Type="http://schemas.openxmlformats.org/officeDocument/2006/relationships/slideLayout" Target="../slideLayouts/slideLayout540.xml"/><Relationship Id="rId35" Type="http://schemas.openxmlformats.org/officeDocument/2006/relationships/slideLayout" Target="../slideLayouts/slideLayout545.xml"/><Relationship Id="rId56" Type="http://schemas.openxmlformats.org/officeDocument/2006/relationships/slideLayout" Target="../slideLayouts/slideLayout566.xml"/><Relationship Id="rId77" Type="http://schemas.openxmlformats.org/officeDocument/2006/relationships/slideLayout" Target="../slideLayouts/slideLayout587.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631.xml"/><Relationship Id="rId21" Type="http://schemas.openxmlformats.org/officeDocument/2006/relationships/slideLayout" Target="../slideLayouts/slideLayout626.xml"/><Relationship Id="rId42" Type="http://schemas.openxmlformats.org/officeDocument/2006/relationships/slideLayout" Target="../slideLayouts/slideLayout647.xml"/><Relationship Id="rId47" Type="http://schemas.openxmlformats.org/officeDocument/2006/relationships/slideLayout" Target="../slideLayouts/slideLayout652.xml"/><Relationship Id="rId63" Type="http://schemas.openxmlformats.org/officeDocument/2006/relationships/slideLayout" Target="../slideLayouts/slideLayout668.xml"/><Relationship Id="rId68" Type="http://schemas.openxmlformats.org/officeDocument/2006/relationships/slideLayout" Target="../slideLayouts/slideLayout673.xml"/><Relationship Id="rId84" Type="http://schemas.openxmlformats.org/officeDocument/2006/relationships/slideLayout" Target="../slideLayouts/slideLayout689.xml"/><Relationship Id="rId89" Type="http://schemas.openxmlformats.org/officeDocument/2006/relationships/slideLayout" Target="../slideLayouts/slideLayout694.xml"/><Relationship Id="rId16" Type="http://schemas.openxmlformats.org/officeDocument/2006/relationships/slideLayout" Target="../slideLayouts/slideLayout621.xml"/><Relationship Id="rId11" Type="http://schemas.openxmlformats.org/officeDocument/2006/relationships/slideLayout" Target="../slideLayouts/slideLayout616.xml"/><Relationship Id="rId32" Type="http://schemas.openxmlformats.org/officeDocument/2006/relationships/slideLayout" Target="../slideLayouts/slideLayout637.xml"/><Relationship Id="rId37" Type="http://schemas.openxmlformats.org/officeDocument/2006/relationships/slideLayout" Target="../slideLayouts/slideLayout642.xml"/><Relationship Id="rId53" Type="http://schemas.openxmlformats.org/officeDocument/2006/relationships/slideLayout" Target="../slideLayouts/slideLayout658.xml"/><Relationship Id="rId58" Type="http://schemas.openxmlformats.org/officeDocument/2006/relationships/slideLayout" Target="../slideLayouts/slideLayout663.xml"/><Relationship Id="rId74" Type="http://schemas.openxmlformats.org/officeDocument/2006/relationships/slideLayout" Target="../slideLayouts/slideLayout679.xml"/><Relationship Id="rId79" Type="http://schemas.openxmlformats.org/officeDocument/2006/relationships/slideLayout" Target="../slideLayouts/slideLayout684.xml"/><Relationship Id="rId5" Type="http://schemas.openxmlformats.org/officeDocument/2006/relationships/slideLayout" Target="../slideLayouts/slideLayout610.xml"/><Relationship Id="rId90" Type="http://schemas.openxmlformats.org/officeDocument/2006/relationships/slideLayout" Target="../slideLayouts/slideLayout695.xml"/><Relationship Id="rId95" Type="http://schemas.openxmlformats.org/officeDocument/2006/relationships/slideLayout" Target="../slideLayouts/slideLayout700.xml"/><Relationship Id="rId22" Type="http://schemas.openxmlformats.org/officeDocument/2006/relationships/slideLayout" Target="../slideLayouts/slideLayout627.xml"/><Relationship Id="rId27" Type="http://schemas.openxmlformats.org/officeDocument/2006/relationships/slideLayout" Target="../slideLayouts/slideLayout632.xml"/><Relationship Id="rId43" Type="http://schemas.openxmlformats.org/officeDocument/2006/relationships/slideLayout" Target="../slideLayouts/slideLayout648.xml"/><Relationship Id="rId48" Type="http://schemas.openxmlformats.org/officeDocument/2006/relationships/slideLayout" Target="../slideLayouts/slideLayout653.xml"/><Relationship Id="rId64" Type="http://schemas.openxmlformats.org/officeDocument/2006/relationships/slideLayout" Target="../slideLayouts/slideLayout669.xml"/><Relationship Id="rId69" Type="http://schemas.openxmlformats.org/officeDocument/2006/relationships/slideLayout" Target="../slideLayouts/slideLayout674.xml"/><Relationship Id="rId8" Type="http://schemas.openxmlformats.org/officeDocument/2006/relationships/slideLayout" Target="../slideLayouts/slideLayout613.xml"/><Relationship Id="rId51" Type="http://schemas.openxmlformats.org/officeDocument/2006/relationships/slideLayout" Target="../slideLayouts/slideLayout656.xml"/><Relationship Id="rId72" Type="http://schemas.openxmlformats.org/officeDocument/2006/relationships/slideLayout" Target="../slideLayouts/slideLayout677.xml"/><Relationship Id="rId80" Type="http://schemas.openxmlformats.org/officeDocument/2006/relationships/slideLayout" Target="../slideLayouts/slideLayout685.xml"/><Relationship Id="rId85" Type="http://schemas.openxmlformats.org/officeDocument/2006/relationships/slideLayout" Target="../slideLayouts/slideLayout690.xml"/><Relationship Id="rId93" Type="http://schemas.openxmlformats.org/officeDocument/2006/relationships/slideLayout" Target="../slideLayouts/slideLayout698.xml"/><Relationship Id="rId3" Type="http://schemas.openxmlformats.org/officeDocument/2006/relationships/slideLayout" Target="../slideLayouts/slideLayout608.xml"/><Relationship Id="rId12" Type="http://schemas.openxmlformats.org/officeDocument/2006/relationships/slideLayout" Target="../slideLayouts/slideLayout617.xml"/><Relationship Id="rId17" Type="http://schemas.openxmlformats.org/officeDocument/2006/relationships/slideLayout" Target="../slideLayouts/slideLayout622.xml"/><Relationship Id="rId25" Type="http://schemas.openxmlformats.org/officeDocument/2006/relationships/slideLayout" Target="../slideLayouts/slideLayout630.xml"/><Relationship Id="rId33" Type="http://schemas.openxmlformats.org/officeDocument/2006/relationships/slideLayout" Target="../slideLayouts/slideLayout638.xml"/><Relationship Id="rId38" Type="http://schemas.openxmlformats.org/officeDocument/2006/relationships/slideLayout" Target="../slideLayouts/slideLayout643.xml"/><Relationship Id="rId46" Type="http://schemas.openxmlformats.org/officeDocument/2006/relationships/slideLayout" Target="../slideLayouts/slideLayout651.xml"/><Relationship Id="rId59" Type="http://schemas.openxmlformats.org/officeDocument/2006/relationships/slideLayout" Target="../slideLayouts/slideLayout664.xml"/><Relationship Id="rId67" Type="http://schemas.openxmlformats.org/officeDocument/2006/relationships/slideLayout" Target="../slideLayouts/slideLayout672.xml"/><Relationship Id="rId20" Type="http://schemas.openxmlformats.org/officeDocument/2006/relationships/slideLayout" Target="../slideLayouts/slideLayout625.xml"/><Relationship Id="rId41" Type="http://schemas.openxmlformats.org/officeDocument/2006/relationships/slideLayout" Target="../slideLayouts/slideLayout646.xml"/><Relationship Id="rId54" Type="http://schemas.openxmlformats.org/officeDocument/2006/relationships/slideLayout" Target="../slideLayouts/slideLayout659.xml"/><Relationship Id="rId62" Type="http://schemas.openxmlformats.org/officeDocument/2006/relationships/slideLayout" Target="../slideLayouts/slideLayout667.xml"/><Relationship Id="rId70" Type="http://schemas.openxmlformats.org/officeDocument/2006/relationships/slideLayout" Target="../slideLayouts/slideLayout675.xml"/><Relationship Id="rId75" Type="http://schemas.openxmlformats.org/officeDocument/2006/relationships/slideLayout" Target="../slideLayouts/slideLayout680.xml"/><Relationship Id="rId83" Type="http://schemas.openxmlformats.org/officeDocument/2006/relationships/slideLayout" Target="../slideLayouts/slideLayout688.xml"/><Relationship Id="rId88" Type="http://schemas.openxmlformats.org/officeDocument/2006/relationships/slideLayout" Target="../slideLayouts/slideLayout693.xml"/><Relationship Id="rId91" Type="http://schemas.openxmlformats.org/officeDocument/2006/relationships/slideLayout" Target="../slideLayouts/slideLayout696.xml"/><Relationship Id="rId96" Type="http://schemas.openxmlformats.org/officeDocument/2006/relationships/theme" Target="../theme/theme8.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5" Type="http://schemas.openxmlformats.org/officeDocument/2006/relationships/slideLayout" Target="../slideLayouts/slideLayout620.xml"/><Relationship Id="rId23" Type="http://schemas.openxmlformats.org/officeDocument/2006/relationships/slideLayout" Target="../slideLayouts/slideLayout628.xml"/><Relationship Id="rId28" Type="http://schemas.openxmlformats.org/officeDocument/2006/relationships/slideLayout" Target="../slideLayouts/slideLayout633.xml"/><Relationship Id="rId36" Type="http://schemas.openxmlformats.org/officeDocument/2006/relationships/slideLayout" Target="../slideLayouts/slideLayout641.xml"/><Relationship Id="rId49" Type="http://schemas.openxmlformats.org/officeDocument/2006/relationships/slideLayout" Target="../slideLayouts/slideLayout654.xml"/><Relationship Id="rId57" Type="http://schemas.openxmlformats.org/officeDocument/2006/relationships/slideLayout" Target="../slideLayouts/slideLayout662.xml"/><Relationship Id="rId10" Type="http://schemas.openxmlformats.org/officeDocument/2006/relationships/slideLayout" Target="../slideLayouts/slideLayout615.xml"/><Relationship Id="rId31" Type="http://schemas.openxmlformats.org/officeDocument/2006/relationships/slideLayout" Target="../slideLayouts/slideLayout636.xml"/><Relationship Id="rId44" Type="http://schemas.openxmlformats.org/officeDocument/2006/relationships/slideLayout" Target="../slideLayouts/slideLayout649.xml"/><Relationship Id="rId52" Type="http://schemas.openxmlformats.org/officeDocument/2006/relationships/slideLayout" Target="../slideLayouts/slideLayout657.xml"/><Relationship Id="rId60" Type="http://schemas.openxmlformats.org/officeDocument/2006/relationships/slideLayout" Target="../slideLayouts/slideLayout665.xml"/><Relationship Id="rId65" Type="http://schemas.openxmlformats.org/officeDocument/2006/relationships/slideLayout" Target="../slideLayouts/slideLayout670.xml"/><Relationship Id="rId73" Type="http://schemas.openxmlformats.org/officeDocument/2006/relationships/slideLayout" Target="../slideLayouts/slideLayout678.xml"/><Relationship Id="rId78" Type="http://schemas.openxmlformats.org/officeDocument/2006/relationships/slideLayout" Target="../slideLayouts/slideLayout683.xml"/><Relationship Id="rId81" Type="http://schemas.openxmlformats.org/officeDocument/2006/relationships/slideLayout" Target="../slideLayouts/slideLayout686.xml"/><Relationship Id="rId86" Type="http://schemas.openxmlformats.org/officeDocument/2006/relationships/slideLayout" Target="../slideLayouts/slideLayout691.xml"/><Relationship Id="rId94" Type="http://schemas.openxmlformats.org/officeDocument/2006/relationships/slideLayout" Target="../slideLayouts/slideLayout699.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3" Type="http://schemas.openxmlformats.org/officeDocument/2006/relationships/slideLayout" Target="../slideLayouts/slideLayout618.xml"/><Relationship Id="rId18" Type="http://schemas.openxmlformats.org/officeDocument/2006/relationships/slideLayout" Target="../slideLayouts/slideLayout623.xml"/><Relationship Id="rId39" Type="http://schemas.openxmlformats.org/officeDocument/2006/relationships/slideLayout" Target="../slideLayouts/slideLayout644.xml"/><Relationship Id="rId34" Type="http://schemas.openxmlformats.org/officeDocument/2006/relationships/slideLayout" Target="../slideLayouts/slideLayout639.xml"/><Relationship Id="rId50" Type="http://schemas.openxmlformats.org/officeDocument/2006/relationships/slideLayout" Target="../slideLayouts/slideLayout655.xml"/><Relationship Id="rId55" Type="http://schemas.openxmlformats.org/officeDocument/2006/relationships/slideLayout" Target="../slideLayouts/slideLayout660.xml"/><Relationship Id="rId76" Type="http://schemas.openxmlformats.org/officeDocument/2006/relationships/slideLayout" Target="../slideLayouts/slideLayout681.xml"/><Relationship Id="rId7" Type="http://schemas.openxmlformats.org/officeDocument/2006/relationships/slideLayout" Target="../slideLayouts/slideLayout612.xml"/><Relationship Id="rId71" Type="http://schemas.openxmlformats.org/officeDocument/2006/relationships/slideLayout" Target="../slideLayouts/slideLayout676.xml"/><Relationship Id="rId92" Type="http://schemas.openxmlformats.org/officeDocument/2006/relationships/slideLayout" Target="../slideLayouts/slideLayout697.xml"/><Relationship Id="rId2" Type="http://schemas.openxmlformats.org/officeDocument/2006/relationships/slideLayout" Target="../slideLayouts/slideLayout607.xml"/><Relationship Id="rId29" Type="http://schemas.openxmlformats.org/officeDocument/2006/relationships/slideLayout" Target="../slideLayouts/slideLayout634.xml"/><Relationship Id="rId24" Type="http://schemas.openxmlformats.org/officeDocument/2006/relationships/slideLayout" Target="../slideLayouts/slideLayout629.xml"/><Relationship Id="rId40" Type="http://schemas.openxmlformats.org/officeDocument/2006/relationships/slideLayout" Target="../slideLayouts/slideLayout645.xml"/><Relationship Id="rId45" Type="http://schemas.openxmlformats.org/officeDocument/2006/relationships/slideLayout" Target="../slideLayouts/slideLayout650.xml"/><Relationship Id="rId66" Type="http://schemas.openxmlformats.org/officeDocument/2006/relationships/slideLayout" Target="../slideLayouts/slideLayout671.xml"/><Relationship Id="rId87" Type="http://schemas.openxmlformats.org/officeDocument/2006/relationships/slideLayout" Target="../slideLayouts/slideLayout692.xml"/><Relationship Id="rId61" Type="http://schemas.openxmlformats.org/officeDocument/2006/relationships/slideLayout" Target="../slideLayouts/slideLayout666.xml"/><Relationship Id="rId82" Type="http://schemas.openxmlformats.org/officeDocument/2006/relationships/slideLayout" Target="../slideLayouts/slideLayout687.xml"/><Relationship Id="rId19" Type="http://schemas.openxmlformats.org/officeDocument/2006/relationships/slideLayout" Target="../slideLayouts/slideLayout624.xml"/><Relationship Id="rId14" Type="http://schemas.openxmlformats.org/officeDocument/2006/relationships/slideLayout" Target="../slideLayouts/slideLayout619.xml"/><Relationship Id="rId30" Type="http://schemas.openxmlformats.org/officeDocument/2006/relationships/slideLayout" Target="../slideLayouts/slideLayout635.xml"/><Relationship Id="rId35" Type="http://schemas.openxmlformats.org/officeDocument/2006/relationships/slideLayout" Target="../slideLayouts/slideLayout640.xml"/><Relationship Id="rId56" Type="http://schemas.openxmlformats.org/officeDocument/2006/relationships/slideLayout" Target="../slideLayouts/slideLayout661.xml"/><Relationship Id="rId77" Type="http://schemas.openxmlformats.org/officeDocument/2006/relationships/slideLayout" Target="../slideLayouts/slideLayout6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uide markers">
            <a:extLst>
              <a:ext uri="{FF2B5EF4-FFF2-40B4-BE49-F238E27FC236}">
                <a16:creationId xmlns:a16="http://schemas.microsoft.com/office/drawing/2014/main" id="{379BCA64-632F-4C87-953D-361511E7C430}"/>
              </a:ext>
            </a:extLst>
          </p:cNvPr>
          <p:cNvGrpSpPr/>
          <p:nvPr/>
        </p:nvGrpSpPr>
        <p:grpSpPr>
          <a:xfrm>
            <a:off x="-584143" y="-654488"/>
            <a:ext cx="12632297" cy="7058317"/>
            <a:chOff x="-584143" y="-654488"/>
            <a:chExt cx="12632297" cy="7058317"/>
          </a:xfrm>
        </p:grpSpPr>
        <p:cxnSp>
          <p:nvCxnSpPr>
            <p:cNvPr id="28" name="Straight Connector 27">
              <a:extLst>
                <a:ext uri="{FF2B5EF4-FFF2-40B4-BE49-F238E27FC236}">
                  <a16:creationId xmlns:a16="http://schemas.microsoft.com/office/drawing/2014/main" id="{7687926C-3B56-455A-9D03-7D735825D7BB}"/>
                </a:ext>
              </a:extLst>
            </p:cNvPr>
            <p:cNvCxnSpPr/>
            <p:nvPr/>
          </p:nvCxnSpPr>
          <p:spPr>
            <a:xfrm>
              <a:off x="609600" y="-654488"/>
              <a:ext cx="0" cy="3817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AD19051-B6BA-4C7A-9CAD-F07223E0F98B}"/>
                </a:ext>
              </a:extLst>
            </p:cNvPr>
            <p:cNvSpPr txBox="1"/>
            <p:nvPr/>
          </p:nvSpPr>
          <p:spPr>
            <a:xfrm>
              <a:off x="709324" y="-575503"/>
              <a:ext cx="631424" cy="223793"/>
            </a:xfrm>
            <a:prstGeom prst="rect">
              <a:avLst/>
            </a:prstGeom>
            <a:noFill/>
          </p:spPr>
          <p:txBody>
            <a:bodyPr wrap="none" lIns="0" tIns="0" rIns="0" bIns="0" rtlCol="0">
              <a:noAutofit/>
            </a:bodyPr>
            <a:lstStyle/>
            <a:p>
              <a:r>
                <a:rPr lang="en-US" sz="1467"/>
                <a:t>6.00</a:t>
              </a:r>
            </a:p>
            <a:p>
              <a:endParaRPr lang="en-US" sz="1467"/>
            </a:p>
          </p:txBody>
        </p:sp>
        <p:cxnSp>
          <p:nvCxnSpPr>
            <p:cNvPr id="30" name="Straight Connector 29">
              <a:extLst>
                <a:ext uri="{FF2B5EF4-FFF2-40B4-BE49-F238E27FC236}">
                  <a16:creationId xmlns:a16="http://schemas.microsoft.com/office/drawing/2014/main" id="{956392E9-D027-4892-A157-BED83A14E1B8}"/>
                </a:ext>
              </a:extLst>
            </p:cNvPr>
            <p:cNvCxnSpPr/>
            <p:nvPr/>
          </p:nvCxnSpPr>
          <p:spPr>
            <a:xfrm rot="5400000">
              <a:off x="-344192" y="593313"/>
              <a:ext cx="0" cy="47990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FE088CF-4974-4E2A-99F5-5CB60AAAEE78}"/>
                </a:ext>
              </a:extLst>
            </p:cNvPr>
            <p:cNvSpPr txBox="1"/>
            <p:nvPr/>
          </p:nvSpPr>
          <p:spPr>
            <a:xfrm>
              <a:off x="-520642" y="529305"/>
              <a:ext cx="479901" cy="178720"/>
            </a:xfrm>
            <a:prstGeom prst="rect">
              <a:avLst/>
            </a:prstGeom>
            <a:noFill/>
          </p:spPr>
          <p:txBody>
            <a:bodyPr wrap="none" lIns="0" tIns="0" rIns="0" bIns="0" rtlCol="0">
              <a:noAutofit/>
            </a:bodyPr>
            <a:lstStyle/>
            <a:p>
              <a:r>
                <a:rPr lang="en-US" sz="1467"/>
                <a:t>2.83</a:t>
              </a:r>
            </a:p>
            <a:p>
              <a:endParaRPr lang="en-US" sz="1467"/>
            </a:p>
          </p:txBody>
        </p:sp>
        <p:cxnSp>
          <p:nvCxnSpPr>
            <p:cNvPr id="32" name="Straight Connector 31">
              <a:extLst>
                <a:ext uri="{FF2B5EF4-FFF2-40B4-BE49-F238E27FC236}">
                  <a16:creationId xmlns:a16="http://schemas.microsoft.com/office/drawing/2014/main" id="{4052052F-21E1-4FDE-8E0C-1439BAED2F9F}"/>
                </a:ext>
              </a:extLst>
            </p:cNvPr>
            <p:cNvCxnSpPr/>
            <p:nvPr/>
          </p:nvCxnSpPr>
          <p:spPr>
            <a:xfrm rot="5400000">
              <a:off x="-293392" y="5775817"/>
              <a:ext cx="0" cy="47990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92A1F14-D2A4-45F9-981F-019FAC898856}"/>
                </a:ext>
              </a:extLst>
            </p:cNvPr>
            <p:cNvSpPr txBox="1"/>
            <p:nvPr/>
          </p:nvSpPr>
          <p:spPr>
            <a:xfrm>
              <a:off x="-533343" y="6153072"/>
              <a:ext cx="479901" cy="250757"/>
            </a:xfrm>
            <a:prstGeom prst="rect">
              <a:avLst/>
            </a:prstGeom>
            <a:noFill/>
          </p:spPr>
          <p:txBody>
            <a:bodyPr wrap="none" lIns="0" tIns="0" rIns="0" bIns="0" rtlCol="0">
              <a:noAutofit/>
            </a:bodyPr>
            <a:lstStyle/>
            <a:p>
              <a:r>
                <a:rPr lang="en-US" sz="1467"/>
                <a:t>2.83</a:t>
              </a:r>
            </a:p>
          </p:txBody>
        </p:sp>
        <p:cxnSp>
          <p:nvCxnSpPr>
            <p:cNvPr id="34" name="Straight Connector 33">
              <a:extLst>
                <a:ext uri="{FF2B5EF4-FFF2-40B4-BE49-F238E27FC236}">
                  <a16:creationId xmlns:a16="http://schemas.microsoft.com/office/drawing/2014/main" id="{E9FC97C1-1701-4BE9-BA5C-D0E0F42CCF70}"/>
                </a:ext>
              </a:extLst>
            </p:cNvPr>
            <p:cNvCxnSpPr/>
            <p:nvPr/>
          </p:nvCxnSpPr>
          <p:spPr>
            <a:xfrm>
              <a:off x="11353800" y="-654488"/>
              <a:ext cx="0" cy="3817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F4C6721-48AF-4ECF-A4B4-AF15C2C73DCB}"/>
                </a:ext>
              </a:extLst>
            </p:cNvPr>
            <p:cNvSpPr txBox="1"/>
            <p:nvPr/>
          </p:nvSpPr>
          <p:spPr>
            <a:xfrm>
              <a:off x="11482676" y="-615737"/>
              <a:ext cx="565478" cy="264027"/>
            </a:xfrm>
            <a:prstGeom prst="rect">
              <a:avLst/>
            </a:prstGeom>
            <a:noFill/>
          </p:spPr>
          <p:txBody>
            <a:bodyPr wrap="none" lIns="0" tIns="0" rIns="0" bIns="0" rtlCol="0">
              <a:noAutofit/>
            </a:bodyPr>
            <a:lstStyle/>
            <a:p>
              <a:r>
                <a:rPr lang="en-US" sz="1467"/>
                <a:t>5.75</a:t>
              </a:r>
            </a:p>
            <a:p>
              <a:endParaRPr lang="en-US" sz="1467"/>
            </a:p>
          </p:txBody>
        </p:sp>
      </p:grpSp>
      <p:sp>
        <p:nvSpPr>
          <p:cNvPr id="2" name="Page_Title"/>
          <p:cNvSpPr>
            <a:spLocks noGrp="1"/>
          </p:cNvSpPr>
          <p:nvPr>
            <p:ph type="title"/>
          </p:nvPr>
        </p:nvSpPr>
        <p:spPr>
          <a:xfrm>
            <a:off x="609600" y="237600"/>
            <a:ext cx="10741200" cy="496800"/>
          </a:xfrm>
          <a:prstGeom prst="rect">
            <a:avLst/>
          </a:prstGeom>
        </p:spPr>
        <p:txBody>
          <a:bodyPr vert="horz" lIns="0" tIns="0" rIns="0" bIns="0" rtlCol="0" anchor="b" anchorCtr="0">
            <a:noAutofit/>
          </a:bodyPr>
          <a:lstStyle/>
          <a:p>
            <a:r>
              <a:rPr lang="en-US"/>
              <a:t>Click to edit Master title style</a:t>
            </a:r>
          </a:p>
        </p:txBody>
      </p:sp>
      <p:sp>
        <p:nvSpPr>
          <p:cNvPr id="3" name="Body master placeholder"/>
          <p:cNvSpPr>
            <a:spLocks noGrp="1"/>
          </p:cNvSpPr>
          <p:nvPr>
            <p:ph type="body" idx="1"/>
          </p:nvPr>
        </p:nvSpPr>
        <p:spPr>
          <a:xfrm>
            <a:off x="609600" y="846000"/>
            <a:ext cx="10744800" cy="5173200"/>
          </a:xfrm>
          <a:prstGeom prst="rect">
            <a:avLst/>
          </a:prstGeom>
        </p:spPr>
        <p:txBody>
          <a:bodyPr vert="horz" lIns="0" tIns="0" rIns="0" bIns="0" numCol="1" spcCol="360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4" name="RSM Logo" descr="Z:\RSM International\1 Design\2015\Brand\Guidelines\Logos\Logos-03.png"/>
          <p:cNvPicPr>
            <a:picLocks noChangeAspect="1" noChangeArrowheads="1"/>
          </p:cNvPicPr>
          <p:nvPr/>
        </p:nvPicPr>
        <p:blipFill>
          <a:blip r:embed="rId37" cstate="print">
            <a:extLst>
              <a:ext uri="{28A0092B-C50C-407E-A947-70E740481C1C}">
                <a14:useLocalDpi xmlns:a14="http://schemas.microsoft.com/office/drawing/2010/main" val="0"/>
              </a:ext>
            </a:extLst>
          </a:blip>
          <a:stretch>
            <a:fillRect/>
          </a:stretch>
        </p:blipFill>
        <p:spPr bwMode="auto">
          <a:xfrm>
            <a:off x="10281525" y="6063001"/>
            <a:ext cx="1072899" cy="459233"/>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616839" y="6181344"/>
            <a:ext cx="1022351" cy="246221"/>
          </a:xfrm>
          <a:prstGeom prst="rect">
            <a:avLst/>
          </a:prstGeom>
        </p:spPr>
        <p:txBody>
          <a:bodyPr vert="horz" wrap="none" lIns="0" tIns="0" rIns="0" bIns="0" rtlCol="0" anchor="ctr">
            <a:noAutofit/>
          </a:bodyPr>
          <a:lstStyle>
            <a:lvl1pPr algn="l">
              <a:defRPr sz="1000">
                <a:solidFill>
                  <a:schemeClr val="tx1">
                    <a:tint val="75000"/>
                  </a:schemeClr>
                </a:solidFill>
              </a:defRPr>
            </a:lvl1pPr>
          </a:lstStyle>
          <a:p>
            <a:fld id="{AF4FAD32-EA27-4361-AB7D-99AD52059D67}" type="slidenum">
              <a:rPr lang="en-US" smtClean="0"/>
              <a:pPr/>
              <a:t>‹#›</a:t>
            </a:fld>
            <a:endParaRPr lang="en-US"/>
          </a:p>
        </p:txBody>
      </p:sp>
      <p:sp>
        <p:nvSpPr>
          <p:cNvPr id="26" name="Filename" hidden="1">
            <a:extLst>
              <a:ext uri="{FF2B5EF4-FFF2-40B4-BE49-F238E27FC236}">
                <a16:creationId xmlns:a16="http://schemas.microsoft.com/office/drawing/2014/main" id="{657A3858-CAE3-4DFB-ABD5-87B2AF81AFA2}"/>
              </a:ext>
            </a:extLst>
          </p:cNvPr>
          <p:cNvSpPr txBox="1"/>
          <p:nvPr/>
        </p:nvSpPr>
        <p:spPr>
          <a:xfrm>
            <a:off x="607695" y="6437311"/>
            <a:ext cx="9120000" cy="304800"/>
          </a:xfrm>
          <a:prstGeom prst="rect">
            <a:avLst/>
          </a:prstGeom>
          <a:noFill/>
        </p:spPr>
        <p:txBody>
          <a:bodyPr wrap="square" lIns="0" tIns="0" rIns="0" bIns="0" rtlCol="0" anchor="b" anchorCtr="0">
            <a:noAutofit/>
          </a:bodyPr>
          <a:lstStyle/>
          <a:p>
            <a:r>
              <a:rPr lang="en-US" sz="533" noProof="1">
                <a:solidFill>
                  <a:schemeClr val="tx1"/>
                </a:solidFill>
                <a:latin typeface="+mn-lt"/>
                <a:cs typeface="Arial" pitchFamily="34" charset="0"/>
              </a:rPr>
              <a:t>https://rsmnet-my.sharepoint.com/personal/e069582_mcgladrey_rsm_net/Documents/all/AACE/ASCEND 2025-26/Session 1/Ascend - Financial Systems Landscape and Trends Session 1 FINAL.pptx</a:t>
            </a:r>
          </a:p>
        </p:txBody>
      </p:sp>
      <p:sp>
        <p:nvSpPr>
          <p:cNvPr id="27" name="Draft" hidden="1">
            <a:extLst>
              <a:ext uri="{FF2B5EF4-FFF2-40B4-BE49-F238E27FC236}">
                <a16:creationId xmlns:a16="http://schemas.microsoft.com/office/drawing/2014/main" id="{9DAD76A5-CBBF-4CAC-8323-020DA1B5EB13}"/>
              </a:ext>
            </a:extLst>
          </p:cNvPr>
          <p:cNvSpPr txBox="1"/>
          <p:nvPr/>
        </p:nvSpPr>
        <p:spPr>
          <a:xfrm>
            <a:off x="9474217" y="28599"/>
            <a:ext cx="1869000" cy="222227"/>
          </a:xfrm>
          <a:prstGeom prst="rect">
            <a:avLst/>
          </a:prstGeom>
          <a:noFill/>
        </p:spPr>
        <p:txBody>
          <a:bodyPr wrap="square" lIns="0" tIns="0" rIns="0" bIns="0" rtlCol="0">
            <a:noAutofit/>
          </a:bodyPr>
          <a:lstStyle/>
          <a:p>
            <a:pPr algn="r"/>
            <a:r>
              <a:rPr lang="en-US" sz="1467">
                <a:solidFill>
                  <a:schemeClr val="bg1">
                    <a:lumMod val="75000"/>
                  </a:schemeClr>
                </a:solidFill>
                <a:latin typeface="+mn-lt"/>
                <a:cs typeface="Arial" pitchFamily="34" charset="0"/>
              </a:rPr>
              <a:t>DRAFT</a:t>
            </a:r>
          </a:p>
        </p:txBody>
      </p:sp>
      <p:pic>
        <p:nvPicPr>
          <p:cNvPr id="18" name="Side progress bar">
            <a:extLst>
              <a:ext uri="{FF2B5EF4-FFF2-40B4-BE49-F238E27FC236}">
                <a16:creationId xmlns:a16="http://schemas.microsoft.com/office/drawing/2014/main" id="{E1633AE7-9FE6-4514-A6CE-AF061195D045}"/>
              </a:ext>
            </a:extLst>
          </p:cNvPr>
          <p:cNvPicPr>
            <a:picLocks noChangeAspect="1"/>
          </p:cNvPicPr>
          <p:nvPr/>
        </p:nvPicPr>
        <p:blipFill rotWithShape="1">
          <a:blip r:embed="rId38">
            <a:extLst>
              <a:ext uri="{28A0092B-C50C-407E-A947-70E740481C1C}">
                <a14:useLocalDpi xmlns:a14="http://schemas.microsoft.com/office/drawing/2010/main" val="0"/>
              </a:ext>
            </a:extLst>
          </a:blip>
          <a:srcRect l="94515"/>
          <a:stretch/>
        </p:blipFill>
        <p:spPr>
          <a:xfrm>
            <a:off x="11523306" y="884"/>
            <a:ext cx="668693" cy="6856445"/>
          </a:xfrm>
          <a:prstGeom prst="rect">
            <a:avLst/>
          </a:prstGeom>
        </p:spPr>
      </p:pic>
      <p:sp>
        <p:nvSpPr>
          <p:cNvPr id="19" name="Copyright">
            <a:extLst>
              <a:ext uri="{FF2B5EF4-FFF2-40B4-BE49-F238E27FC236}">
                <a16:creationId xmlns:a16="http://schemas.microsoft.com/office/drawing/2014/main" id="{68A8CC40-DDFB-6009-283E-9EEF736D52A7}"/>
              </a:ext>
            </a:extLst>
          </p:cNvPr>
          <p:cNvSpPr txBox="1">
            <a:spLocks/>
          </p:cNvSpPr>
          <p:nvPr>
            <p:custDataLst>
              <p:tags r:id="rId36"/>
            </p:custDataLst>
          </p:nvPr>
        </p:nvSpPr>
        <p:spPr bwMode="auto">
          <a:xfrm>
            <a:off x="609600" y="6515115"/>
            <a:ext cx="6120000" cy="105285"/>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US" sz="700" b="0" i="0" u="none" strike="noStrike" kern="1200" baseline="0">
                <a:solidFill>
                  <a:srgbClr val="888B8D"/>
                </a:solidFill>
                <a:latin typeface="Arial" panose="020B0604020202020204" pitchFamily="34" charset="0"/>
              </a:rPr>
              <a:t>© 2023 RSM US LLP. All Rights Reserved.</a:t>
            </a:r>
          </a:p>
        </p:txBody>
      </p:sp>
    </p:spTree>
    <p:extLst>
      <p:ext uri="{BB962C8B-B14F-4D97-AF65-F5344CB8AC3E}">
        <p14:creationId xmlns:p14="http://schemas.microsoft.com/office/powerpoint/2010/main" val="1066049325"/>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75" r:id="rId18"/>
    <p:sldLayoutId id="2147484076" r:id="rId19"/>
    <p:sldLayoutId id="2147484077" r:id="rId20"/>
    <p:sldLayoutId id="2147484046" r:id="rId21"/>
    <p:sldLayoutId id="2147484047" r:id="rId22"/>
    <p:sldLayoutId id="2147484048" r:id="rId23"/>
    <p:sldLayoutId id="2147484050" r:id="rId24"/>
    <p:sldLayoutId id="2147484052" r:id="rId25"/>
    <p:sldLayoutId id="2147484056" r:id="rId26"/>
    <p:sldLayoutId id="2147484079" r:id="rId27"/>
    <p:sldLayoutId id="2147484084" r:id="rId28"/>
    <p:sldLayoutId id="2147484086" r:id="rId29"/>
    <p:sldLayoutId id="2147484087" r:id="rId30"/>
    <p:sldLayoutId id="2147484088" r:id="rId31"/>
    <p:sldLayoutId id="2147484089" r:id="rId32"/>
    <p:sldLayoutId id="2147484719" r:id="rId33"/>
    <p:sldLayoutId id="2147484816" r:id="rId34"/>
  </p:sldLayoutIdLst>
  <p:hf hdr="0" ftr="0" dt="0"/>
  <p:txStyles>
    <p:titleStyle>
      <a:lvl1pPr algn="l" defTabSz="1088333" rtl="0" eaLnBrk="1" latinLnBrk="0" hangingPunct="1">
        <a:spcBef>
          <a:spcPct val="0"/>
        </a:spcBef>
        <a:buNone/>
        <a:defRPr sz="2800" kern="1200" cap="none" baseline="0">
          <a:solidFill>
            <a:schemeClr val="accent1"/>
          </a:solidFill>
          <a:latin typeface="+mj-lt"/>
          <a:ea typeface="+mj-ea"/>
          <a:cs typeface="+mj-cs"/>
        </a:defRPr>
      </a:lvl1pPr>
    </p:titleStyle>
    <p:bodyStyle>
      <a:lvl1pPr marL="0" indent="0" algn="l" defTabSz="1088333" rtl="0" eaLnBrk="1" latinLnBrk="0" hangingPunct="1">
        <a:lnSpc>
          <a:spcPct val="100000"/>
        </a:lnSpc>
        <a:spcBef>
          <a:spcPts val="1000"/>
        </a:spcBef>
        <a:spcAft>
          <a:spcPts val="0"/>
        </a:spcAft>
        <a:buFontTx/>
        <a:buNone/>
        <a:defRPr sz="2800" b="0" kern="1200">
          <a:solidFill>
            <a:schemeClr val="tx1"/>
          </a:solidFill>
          <a:latin typeface="+mn-lt"/>
          <a:ea typeface="+mn-ea"/>
          <a:cs typeface="+mn-cs"/>
        </a:defRPr>
      </a:lvl1pPr>
      <a:lvl2pPr marL="228600" indent="-228600" algn="l" defTabSz="1088333" rtl="0" eaLnBrk="1" latinLnBrk="0" hangingPunct="1">
        <a:lnSpc>
          <a:spcPct val="100000"/>
        </a:lnSpc>
        <a:spcBef>
          <a:spcPts val="1000"/>
        </a:spcBef>
        <a:spcAft>
          <a:spcPts val="0"/>
        </a:spcAft>
        <a:buClr>
          <a:srgbClr val="63666A"/>
        </a:buClr>
        <a:buFont typeface="Wingdings" panose="05000000000000000000" pitchFamily="2" charset="2"/>
        <a:buChar char=""/>
        <a:defRPr sz="2800" kern="1200">
          <a:solidFill>
            <a:schemeClr val="tx1"/>
          </a:solidFill>
          <a:latin typeface="+mn-lt"/>
          <a:ea typeface="+mn-ea"/>
          <a:cs typeface="+mn-cs"/>
        </a:defRPr>
      </a:lvl2pPr>
      <a:lvl3pPr marL="6858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defRPr sz="2400" kern="1200" baseline="0">
          <a:solidFill>
            <a:schemeClr val="tx1"/>
          </a:solidFill>
          <a:latin typeface="+mn-lt"/>
          <a:ea typeface="+mn-ea"/>
          <a:cs typeface="+mn-cs"/>
        </a:defRPr>
      </a:lvl3pPr>
      <a:lvl4pPr marL="1143000" indent="-228600" algn="l" defTabSz="1088333" rtl="0" eaLnBrk="1" latinLnBrk="0" hangingPunct="1">
        <a:lnSpc>
          <a:spcPct val="100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16002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tabLst/>
        <a:defRPr sz="1800" kern="1200" baseline="0">
          <a:solidFill>
            <a:schemeClr val="tx1"/>
          </a:solidFill>
          <a:latin typeface="+mn-lt"/>
          <a:ea typeface="+mn-ea"/>
          <a:cs typeface="+mn-cs"/>
        </a:defRPr>
      </a:lvl5pPr>
      <a:lvl6pPr marL="2057400" indent="-228600" algn="l" defTabSz="1088333" rtl="0" eaLnBrk="1" latinLnBrk="0" hangingPunct="1">
        <a:lnSpc>
          <a:spcPct val="100000"/>
        </a:lnSpc>
        <a:spcBef>
          <a:spcPts val="500"/>
        </a:spcBef>
        <a:spcAft>
          <a:spcPts val="0"/>
        </a:spcAft>
        <a:buFont typeface="Arial" panose="020B0604020202020204" pitchFamily="34" charset="0"/>
        <a:buChar char="•"/>
        <a:defRPr sz="1800" kern="1200" cap="none" baseline="0">
          <a:solidFill>
            <a:schemeClr val="tx1"/>
          </a:solidFill>
          <a:latin typeface="+mn-lt"/>
          <a:ea typeface="+mn-ea"/>
          <a:cs typeface="+mn-cs"/>
        </a:defRPr>
      </a:lvl6pPr>
      <a:lvl7pPr marL="0" indent="0" algn="l" defTabSz="1088333" rtl="0" eaLnBrk="1" latinLnBrk="0" hangingPunct="1">
        <a:lnSpc>
          <a:spcPct val="110000"/>
        </a:lnSpc>
        <a:spcBef>
          <a:spcPts val="0"/>
        </a:spcBef>
        <a:spcAft>
          <a:spcPts val="1333"/>
        </a:spcAft>
        <a:buFontTx/>
        <a:buNone/>
        <a:defRPr sz="3200" kern="1200" cap="none" baseline="0">
          <a:solidFill>
            <a:schemeClr val="tx2"/>
          </a:solidFill>
          <a:latin typeface="+mj-lt"/>
          <a:ea typeface="+mn-ea"/>
          <a:cs typeface="+mn-cs"/>
        </a:defRPr>
      </a:lvl7pPr>
      <a:lvl8pPr marL="0" indent="0" algn="l" defTabSz="1088333" rtl="0" eaLnBrk="1" latinLnBrk="0" hangingPunct="1">
        <a:lnSpc>
          <a:spcPct val="110000"/>
        </a:lnSpc>
        <a:spcBef>
          <a:spcPts val="0"/>
        </a:spcBef>
        <a:spcAft>
          <a:spcPts val="681"/>
        </a:spcAft>
        <a:buFontTx/>
        <a:buNone/>
        <a:defRPr sz="3200" b="0" kern="1200" baseline="0">
          <a:solidFill>
            <a:schemeClr val="accent1"/>
          </a:solidFill>
          <a:latin typeface="+mn-lt"/>
          <a:ea typeface="+mn-ea"/>
          <a:cs typeface="+mn-cs"/>
        </a:defRPr>
      </a:lvl8pPr>
      <a:lvl9pPr marL="0" indent="0" algn="l" defTabSz="1088333" rtl="0" eaLnBrk="1" latinLnBrk="0" hangingPunct="1">
        <a:lnSpc>
          <a:spcPct val="110000"/>
        </a:lnSpc>
        <a:spcBef>
          <a:spcPts val="0"/>
        </a:spcBef>
        <a:spcAft>
          <a:spcPts val="1136"/>
        </a:spcAft>
        <a:buFontTx/>
        <a:buNone/>
        <a:defRPr sz="2133" b="1" kern="1200" baseline="0">
          <a:solidFill>
            <a:schemeClr val="accent1"/>
          </a:solidFill>
          <a:latin typeface="+mj-lt"/>
          <a:ea typeface="+mn-ea"/>
          <a:cs typeface="+mn-cs"/>
        </a:defRPr>
      </a:lvl9pPr>
    </p:bodyStyle>
    <p:otherStyle>
      <a:defPPr>
        <a:defRPr lang="en-US"/>
      </a:defPPr>
      <a:lvl1pPr marL="0" algn="l" defTabSz="1088333" rtl="0" eaLnBrk="1" latinLnBrk="0" hangingPunct="1">
        <a:defRPr sz="2133" kern="1200">
          <a:solidFill>
            <a:schemeClr val="tx1"/>
          </a:solidFill>
          <a:latin typeface="+mn-lt"/>
          <a:ea typeface="+mn-ea"/>
          <a:cs typeface="+mn-cs"/>
        </a:defRPr>
      </a:lvl1pPr>
      <a:lvl2pPr marL="544166" algn="l" defTabSz="1088333" rtl="0" eaLnBrk="1" latinLnBrk="0" hangingPunct="1">
        <a:defRPr sz="2133" kern="1200">
          <a:solidFill>
            <a:schemeClr val="tx1"/>
          </a:solidFill>
          <a:latin typeface="+mn-lt"/>
          <a:ea typeface="+mn-ea"/>
          <a:cs typeface="+mn-cs"/>
        </a:defRPr>
      </a:lvl2pPr>
      <a:lvl3pPr marL="1088333" algn="l" defTabSz="1088333" rtl="0" eaLnBrk="1" latinLnBrk="0" hangingPunct="1">
        <a:defRPr sz="2133" kern="1200">
          <a:solidFill>
            <a:schemeClr val="tx1"/>
          </a:solidFill>
          <a:latin typeface="+mn-lt"/>
          <a:ea typeface="+mn-ea"/>
          <a:cs typeface="+mn-cs"/>
        </a:defRPr>
      </a:lvl3pPr>
      <a:lvl4pPr marL="1632498" algn="l" defTabSz="1088333" rtl="0" eaLnBrk="1" latinLnBrk="0" hangingPunct="1">
        <a:defRPr sz="2133" kern="1200">
          <a:solidFill>
            <a:schemeClr val="tx1"/>
          </a:solidFill>
          <a:latin typeface="+mn-lt"/>
          <a:ea typeface="+mn-ea"/>
          <a:cs typeface="+mn-cs"/>
        </a:defRPr>
      </a:lvl4pPr>
      <a:lvl5pPr marL="2176666" algn="l" defTabSz="1088333" rtl="0" eaLnBrk="1" latinLnBrk="0" hangingPunct="1">
        <a:defRPr sz="2133" kern="1200">
          <a:solidFill>
            <a:schemeClr val="tx1"/>
          </a:solidFill>
          <a:latin typeface="+mn-lt"/>
          <a:ea typeface="+mn-ea"/>
          <a:cs typeface="+mn-cs"/>
        </a:defRPr>
      </a:lvl5pPr>
      <a:lvl6pPr marL="2720832" algn="l" defTabSz="1088333" rtl="0" eaLnBrk="1" latinLnBrk="0" hangingPunct="1">
        <a:defRPr sz="2133" kern="1200">
          <a:solidFill>
            <a:schemeClr val="tx1"/>
          </a:solidFill>
          <a:latin typeface="+mn-lt"/>
          <a:ea typeface="+mn-ea"/>
          <a:cs typeface="+mn-cs"/>
        </a:defRPr>
      </a:lvl6pPr>
      <a:lvl7pPr marL="3264997" algn="l" defTabSz="1088333" rtl="0" eaLnBrk="1" latinLnBrk="0" hangingPunct="1">
        <a:defRPr sz="2133" kern="1200">
          <a:solidFill>
            <a:schemeClr val="tx1"/>
          </a:solidFill>
          <a:latin typeface="+mn-lt"/>
          <a:ea typeface="+mn-ea"/>
          <a:cs typeface="+mn-cs"/>
        </a:defRPr>
      </a:lvl7pPr>
      <a:lvl8pPr marL="3809163" algn="l" defTabSz="1088333" rtl="0" eaLnBrk="1" latinLnBrk="0" hangingPunct="1">
        <a:defRPr sz="2133" kern="1200">
          <a:solidFill>
            <a:schemeClr val="tx1"/>
          </a:solidFill>
          <a:latin typeface="+mn-lt"/>
          <a:ea typeface="+mn-ea"/>
          <a:cs typeface="+mn-cs"/>
        </a:defRPr>
      </a:lvl8pPr>
      <a:lvl9pPr marL="4353330" algn="l" defTabSz="1088333"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p15:clr>
            <a:srgbClr val="F26B43"/>
          </p15:clr>
        </p15:guide>
        <p15:guide id="2" pos="384">
          <p15:clr>
            <a:srgbClr val="F26B43"/>
          </p15:clr>
        </p15:guide>
        <p15:guide id="5" pos="7152">
          <p15:clr>
            <a:srgbClr val="F26B43"/>
          </p15:clr>
        </p15:guide>
        <p15:guide id="6" orient="horz" pos="52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uide markers">
            <a:extLst>
              <a:ext uri="{FF2B5EF4-FFF2-40B4-BE49-F238E27FC236}">
                <a16:creationId xmlns:a16="http://schemas.microsoft.com/office/drawing/2014/main" id="{379BCA64-632F-4C87-953D-361511E7C430}"/>
              </a:ext>
            </a:extLst>
          </p:cNvPr>
          <p:cNvGrpSpPr/>
          <p:nvPr/>
        </p:nvGrpSpPr>
        <p:grpSpPr>
          <a:xfrm>
            <a:off x="-584143" y="-654488"/>
            <a:ext cx="12632297" cy="7058317"/>
            <a:chOff x="-584143" y="-654488"/>
            <a:chExt cx="12632297" cy="7058317"/>
          </a:xfrm>
        </p:grpSpPr>
        <p:cxnSp>
          <p:nvCxnSpPr>
            <p:cNvPr id="28" name="Straight Connector 27">
              <a:extLst>
                <a:ext uri="{FF2B5EF4-FFF2-40B4-BE49-F238E27FC236}">
                  <a16:creationId xmlns:a16="http://schemas.microsoft.com/office/drawing/2014/main" id="{7687926C-3B56-455A-9D03-7D735825D7BB}"/>
                </a:ext>
              </a:extLst>
            </p:cNvPr>
            <p:cNvCxnSpPr/>
            <p:nvPr/>
          </p:nvCxnSpPr>
          <p:spPr>
            <a:xfrm>
              <a:off x="609600" y="-654488"/>
              <a:ext cx="0" cy="3817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AD19051-B6BA-4C7A-9CAD-F07223E0F98B}"/>
                </a:ext>
              </a:extLst>
            </p:cNvPr>
            <p:cNvSpPr txBox="1"/>
            <p:nvPr/>
          </p:nvSpPr>
          <p:spPr>
            <a:xfrm>
              <a:off x="709324" y="-575503"/>
              <a:ext cx="631424" cy="223793"/>
            </a:xfrm>
            <a:prstGeom prst="rect">
              <a:avLst/>
            </a:prstGeom>
            <a:noFill/>
          </p:spPr>
          <p:txBody>
            <a:bodyPr wrap="none" lIns="0" tIns="0" rIns="0" bIns="0" rtlCol="0">
              <a:noAutofit/>
            </a:bodyPr>
            <a:lstStyle/>
            <a:p>
              <a:r>
                <a:rPr lang="en-US" sz="1467"/>
                <a:t>6.00</a:t>
              </a:r>
            </a:p>
            <a:p>
              <a:endParaRPr lang="en-US" sz="1467"/>
            </a:p>
          </p:txBody>
        </p:sp>
        <p:cxnSp>
          <p:nvCxnSpPr>
            <p:cNvPr id="30" name="Straight Connector 29">
              <a:extLst>
                <a:ext uri="{FF2B5EF4-FFF2-40B4-BE49-F238E27FC236}">
                  <a16:creationId xmlns:a16="http://schemas.microsoft.com/office/drawing/2014/main" id="{956392E9-D027-4892-A157-BED83A14E1B8}"/>
                </a:ext>
              </a:extLst>
            </p:cNvPr>
            <p:cNvCxnSpPr/>
            <p:nvPr/>
          </p:nvCxnSpPr>
          <p:spPr>
            <a:xfrm rot="5400000">
              <a:off x="-344192" y="593313"/>
              <a:ext cx="0" cy="47990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FE088CF-4974-4E2A-99F5-5CB60AAAEE78}"/>
                </a:ext>
              </a:extLst>
            </p:cNvPr>
            <p:cNvSpPr txBox="1"/>
            <p:nvPr/>
          </p:nvSpPr>
          <p:spPr>
            <a:xfrm>
              <a:off x="-520642" y="529305"/>
              <a:ext cx="479901" cy="178720"/>
            </a:xfrm>
            <a:prstGeom prst="rect">
              <a:avLst/>
            </a:prstGeom>
            <a:noFill/>
          </p:spPr>
          <p:txBody>
            <a:bodyPr wrap="none" lIns="0" tIns="0" rIns="0" bIns="0" rtlCol="0">
              <a:noAutofit/>
            </a:bodyPr>
            <a:lstStyle/>
            <a:p>
              <a:r>
                <a:rPr lang="en-US" sz="1467"/>
                <a:t>2.83</a:t>
              </a:r>
            </a:p>
            <a:p>
              <a:endParaRPr lang="en-US" sz="1467"/>
            </a:p>
          </p:txBody>
        </p:sp>
        <p:cxnSp>
          <p:nvCxnSpPr>
            <p:cNvPr id="32" name="Straight Connector 31">
              <a:extLst>
                <a:ext uri="{FF2B5EF4-FFF2-40B4-BE49-F238E27FC236}">
                  <a16:creationId xmlns:a16="http://schemas.microsoft.com/office/drawing/2014/main" id="{4052052F-21E1-4FDE-8E0C-1439BAED2F9F}"/>
                </a:ext>
              </a:extLst>
            </p:cNvPr>
            <p:cNvCxnSpPr/>
            <p:nvPr/>
          </p:nvCxnSpPr>
          <p:spPr>
            <a:xfrm rot="5400000">
              <a:off x="-293392" y="5775817"/>
              <a:ext cx="0" cy="47990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92A1F14-D2A4-45F9-981F-019FAC898856}"/>
                </a:ext>
              </a:extLst>
            </p:cNvPr>
            <p:cNvSpPr txBox="1"/>
            <p:nvPr/>
          </p:nvSpPr>
          <p:spPr>
            <a:xfrm>
              <a:off x="-533343" y="6153072"/>
              <a:ext cx="479901" cy="250757"/>
            </a:xfrm>
            <a:prstGeom prst="rect">
              <a:avLst/>
            </a:prstGeom>
            <a:noFill/>
          </p:spPr>
          <p:txBody>
            <a:bodyPr wrap="none" lIns="0" tIns="0" rIns="0" bIns="0" rtlCol="0">
              <a:noAutofit/>
            </a:bodyPr>
            <a:lstStyle/>
            <a:p>
              <a:r>
                <a:rPr lang="en-US" sz="1467"/>
                <a:t>2.83</a:t>
              </a:r>
            </a:p>
          </p:txBody>
        </p:sp>
        <p:cxnSp>
          <p:nvCxnSpPr>
            <p:cNvPr id="34" name="Straight Connector 33">
              <a:extLst>
                <a:ext uri="{FF2B5EF4-FFF2-40B4-BE49-F238E27FC236}">
                  <a16:creationId xmlns:a16="http://schemas.microsoft.com/office/drawing/2014/main" id="{E9FC97C1-1701-4BE9-BA5C-D0E0F42CCF70}"/>
                </a:ext>
              </a:extLst>
            </p:cNvPr>
            <p:cNvCxnSpPr/>
            <p:nvPr/>
          </p:nvCxnSpPr>
          <p:spPr>
            <a:xfrm>
              <a:off x="11353800" y="-654488"/>
              <a:ext cx="0" cy="3817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F4C6721-48AF-4ECF-A4B4-AF15C2C73DCB}"/>
                </a:ext>
              </a:extLst>
            </p:cNvPr>
            <p:cNvSpPr txBox="1"/>
            <p:nvPr/>
          </p:nvSpPr>
          <p:spPr>
            <a:xfrm>
              <a:off x="11482676" y="-615737"/>
              <a:ext cx="565478" cy="264027"/>
            </a:xfrm>
            <a:prstGeom prst="rect">
              <a:avLst/>
            </a:prstGeom>
            <a:noFill/>
          </p:spPr>
          <p:txBody>
            <a:bodyPr wrap="none" lIns="0" tIns="0" rIns="0" bIns="0" rtlCol="0">
              <a:noAutofit/>
            </a:bodyPr>
            <a:lstStyle/>
            <a:p>
              <a:r>
                <a:rPr lang="en-US" sz="1467"/>
                <a:t>5.75</a:t>
              </a:r>
            </a:p>
            <a:p>
              <a:endParaRPr lang="en-US" sz="1467"/>
            </a:p>
          </p:txBody>
        </p:sp>
      </p:grpSp>
      <p:sp>
        <p:nvSpPr>
          <p:cNvPr id="2" name="Page_Title"/>
          <p:cNvSpPr>
            <a:spLocks noGrp="1"/>
          </p:cNvSpPr>
          <p:nvPr>
            <p:ph type="title"/>
          </p:nvPr>
        </p:nvSpPr>
        <p:spPr>
          <a:xfrm>
            <a:off x="609600" y="237600"/>
            <a:ext cx="10741200" cy="496800"/>
          </a:xfrm>
          <a:prstGeom prst="rect">
            <a:avLst/>
          </a:prstGeom>
        </p:spPr>
        <p:txBody>
          <a:bodyPr vert="horz" lIns="0" tIns="0" rIns="0" bIns="0" rtlCol="0" anchor="b" anchorCtr="0">
            <a:noAutofit/>
          </a:bodyPr>
          <a:lstStyle/>
          <a:p>
            <a:r>
              <a:rPr lang="en-US"/>
              <a:t>Click to edit Master title style</a:t>
            </a:r>
          </a:p>
        </p:txBody>
      </p:sp>
      <p:sp>
        <p:nvSpPr>
          <p:cNvPr id="3" name="Body master placeholder"/>
          <p:cNvSpPr>
            <a:spLocks noGrp="1"/>
          </p:cNvSpPr>
          <p:nvPr>
            <p:ph type="body" idx="1"/>
          </p:nvPr>
        </p:nvSpPr>
        <p:spPr>
          <a:xfrm>
            <a:off x="609600" y="846000"/>
            <a:ext cx="10744800" cy="5173200"/>
          </a:xfrm>
          <a:prstGeom prst="rect">
            <a:avLst/>
          </a:prstGeom>
        </p:spPr>
        <p:txBody>
          <a:bodyPr vert="horz" lIns="0" tIns="0" rIns="0" bIns="0" numCol="1" spcCol="360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4" name="RSM Logo" descr="Z:\RSM International\1 Design\2015\Brand\Guidelines\Logos\Logos-03.png"/>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10281525" y="6063001"/>
            <a:ext cx="1072899" cy="459233"/>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616839" y="6181344"/>
            <a:ext cx="1022351" cy="246221"/>
          </a:xfrm>
          <a:prstGeom prst="rect">
            <a:avLst/>
          </a:prstGeom>
        </p:spPr>
        <p:txBody>
          <a:bodyPr vert="horz" wrap="none" lIns="0" tIns="0" rIns="0" bIns="0" rtlCol="0" anchor="ctr">
            <a:noAutofit/>
          </a:bodyPr>
          <a:lstStyle>
            <a:lvl1pPr algn="l">
              <a:defRPr sz="1000">
                <a:solidFill>
                  <a:schemeClr val="tx1">
                    <a:tint val="75000"/>
                  </a:schemeClr>
                </a:solidFill>
              </a:defRPr>
            </a:lvl1pPr>
          </a:lstStyle>
          <a:p>
            <a:fld id="{AF4FAD32-EA27-4361-AB7D-99AD52059D67}" type="slidenum">
              <a:rPr lang="en-US" smtClean="0"/>
              <a:pPr/>
              <a:t>‹#›</a:t>
            </a:fld>
            <a:endParaRPr lang="en-US"/>
          </a:p>
        </p:txBody>
      </p:sp>
      <p:sp>
        <p:nvSpPr>
          <p:cNvPr id="26" name="Filename" hidden="1">
            <a:extLst>
              <a:ext uri="{FF2B5EF4-FFF2-40B4-BE49-F238E27FC236}">
                <a16:creationId xmlns:a16="http://schemas.microsoft.com/office/drawing/2014/main" id="{657A3858-CAE3-4DFB-ABD5-87B2AF81AFA2}"/>
              </a:ext>
            </a:extLst>
          </p:cNvPr>
          <p:cNvSpPr txBox="1"/>
          <p:nvPr/>
        </p:nvSpPr>
        <p:spPr>
          <a:xfrm>
            <a:off x="607695" y="6437311"/>
            <a:ext cx="9120000" cy="304800"/>
          </a:xfrm>
          <a:prstGeom prst="rect">
            <a:avLst/>
          </a:prstGeom>
          <a:noFill/>
        </p:spPr>
        <p:txBody>
          <a:bodyPr wrap="square" lIns="0" tIns="0" rIns="0" bIns="0" rtlCol="0" anchor="b" anchorCtr="0">
            <a:noAutofit/>
          </a:bodyPr>
          <a:lstStyle/>
          <a:p>
            <a:r>
              <a:rPr lang="en-US" sz="533" noProof="1">
                <a:solidFill>
                  <a:schemeClr val="tx1"/>
                </a:solidFill>
                <a:latin typeface="+mn-lt"/>
                <a:cs typeface="Arial" pitchFamily="34" charset="0"/>
              </a:rPr>
              <a:t>https://rsmnet-my.sharepoint.com/personal/e069582_mcgladrey_rsm_net/Documents/all/AACE/ASCEND 2025-26/Session 1/Ascend - Financial Systems Landscape and Trends Session 1 FINAL.pptx</a:t>
            </a:r>
          </a:p>
        </p:txBody>
      </p:sp>
      <p:sp>
        <p:nvSpPr>
          <p:cNvPr id="27" name="Draft" hidden="1">
            <a:extLst>
              <a:ext uri="{FF2B5EF4-FFF2-40B4-BE49-F238E27FC236}">
                <a16:creationId xmlns:a16="http://schemas.microsoft.com/office/drawing/2014/main" id="{9DAD76A5-CBBF-4CAC-8323-020DA1B5EB13}"/>
              </a:ext>
            </a:extLst>
          </p:cNvPr>
          <p:cNvSpPr txBox="1"/>
          <p:nvPr/>
        </p:nvSpPr>
        <p:spPr>
          <a:xfrm>
            <a:off x="9474217" y="28599"/>
            <a:ext cx="1869000" cy="222227"/>
          </a:xfrm>
          <a:prstGeom prst="rect">
            <a:avLst/>
          </a:prstGeom>
          <a:noFill/>
        </p:spPr>
        <p:txBody>
          <a:bodyPr wrap="square" lIns="0" tIns="0" rIns="0" bIns="0" rtlCol="0">
            <a:noAutofit/>
          </a:bodyPr>
          <a:lstStyle/>
          <a:p>
            <a:pPr algn="r"/>
            <a:r>
              <a:rPr lang="en-US" sz="1467">
                <a:solidFill>
                  <a:schemeClr val="bg1">
                    <a:lumMod val="75000"/>
                  </a:schemeClr>
                </a:solidFill>
                <a:latin typeface="+mn-lt"/>
                <a:cs typeface="Arial" pitchFamily="34" charset="0"/>
              </a:rPr>
              <a:t>DRAFT</a:t>
            </a:r>
          </a:p>
        </p:txBody>
      </p:sp>
      <p:pic>
        <p:nvPicPr>
          <p:cNvPr id="18" name="Side progress bar">
            <a:extLst>
              <a:ext uri="{FF2B5EF4-FFF2-40B4-BE49-F238E27FC236}">
                <a16:creationId xmlns:a16="http://schemas.microsoft.com/office/drawing/2014/main" id="{E1633AE7-9FE6-4514-A6CE-AF061195D045}"/>
              </a:ext>
            </a:extLst>
          </p:cNvPr>
          <p:cNvPicPr>
            <a:picLocks noChangeAspect="1"/>
          </p:cNvPicPr>
          <p:nvPr/>
        </p:nvPicPr>
        <p:blipFill rotWithShape="1">
          <a:blip r:embed="rId24">
            <a:extLst>
              <a:ext uri="{28A0092B-C50C-407E-A947-70E740481C1C}">
                <a14:useLocalDpi xmlns:a14="http://schemas.microsoft.com/office/drawing/2010/main" val="0"/>
              </a:ext>
            </a:extLst>
          </a:blip>
          <a:srcRect l="94515"/>
          <a:stretch/>
        </p:blipFill>
        <p:spPr>
          <a:xfrm>
            <a:off x="11523306" y="884"/>
            <a:ext cx="668693" cy="6856445"/>
          </a:xfrm>
          <a:prstGeom prst="rect">
            <a:avLst/>
          </a:prstGeom>
        </p:spPr>
      </p:pic>
      <p:sp>
        <p:nvSpPr>
          <p:cNvPr id="19" name="Copyright">
            <a:extLst>
              <a:ext uri="{FF2B5EF4-FFF2-40B4-BE49-F238E27FC236}">
                <a16:creationId xmlns:a16="http://schemas.microsoft.com/office/drawing/2014/main" id="{68A8CC40-DDFB-6009-283E-9EEF736D52A7}"/>
              </a:ext>
            </a:extLst>
          </p:cNvPr>
          <p:cNvSpPr txBox="1">
            <a:spLocks/>
          </p:cNvSpPr>
          <p:nvPr>
            <p:custDataLst>
              <p:tags r:id="rId22"/>
            </p:custDataLst>
          </p:nvPr>
        </p:nvSpPr>
        <p:spPr bwMode="auto">
          <a:xfrm>
            <a:off x="609600" y="6515115"/>
            <a:ext cx="6120000" cy="105285"/>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US" sz="700" b="0" i="0" u="none" strike="noStrike" kern="1200" baseline="0">
                <a:solidFill>
                  <a:srgbClr val="888B8D"/>
                </a:solidFill>
                <a:latin typeface="Arial" panose="020B0604020202020204" pitchFamily="34" charset="0"/>
              </a:rPr>
              <a:t>© 2023 RSM US LLP. All Rights Reserved.</a:t>
            </a:r>
          </a:p>
        </p:txBody>
      </p:sp>
    </p:spTree>
    <p:extLst>
      <p:ext uri="{BB962C8B-B14F-4D97-AF65-F5344CB8AC3E}">
        <p14:creationId xmlns:p14="http://schemas.microsoft.com/office/powerpoint/2010/main" val="1066049325"/>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43" r:id="rId18"/>
    <p:sldLayoutId id="2147484044" r:id="rId19"/>
    <p:sldLayoutId id="2147484045" r:id="rId20"/>
  </p:sldLayoutIdLst>
  <p:hf hdr="0" ftr="0" dt="0"/>
  <p:txStyles>
    <p:titleStyle>
      <a:lvl1pPr algn="l" defTabSz="1088333" rtl="0" eaLnBrk="1" latinLnBrk="0" hangingPunct="1">
        <a:spcBef>
          <a:spcPct val="0"/>
        </a:spcBef>
        <a:buNone/>
        <a:defRPr sz="2800" kern="1200" cap="none" baseline="0">
          <a:solidFill>
            <a:schemeClr val="accent1"/>
          </a:solidFill>
          <a:latin typeface="+mj-lt"/>
          <a:ea typeface="+mj-ea"/>
          <a:cs typeface="+mj-cs"/>
        </a:defRPr>
      </a:lvl1pPr>
    </p:titleStyle>
    <p:bodyStyle>
      <a:lvl1pPr marL="0" indent="0" algn="l" defTabSz="1088333" rtl="0" eaLnBrk="1" latinLnBrk="0" hangingPunct="1">
        <a:lnSpc>
          <a:spcPct val="100000"/>
        </a:lnSpc>
        <a:spcBef>
          <a:spcPts val="1000"/>
        </a:spcBef>
        <a:spcAft>
          <a:spcPts val="0"/>
        </a:spcAft>
        <a:buFontTx/>
        <a:buNone/>
        <a:defRPr sz="2800" b="0" kern="1200">
          <a:solidFill>
            <a:schemeClr val="tx1"/>
          </a:solidFill>
          <a:latin typeface="+mn-lt"/>
          <a:ea typeface="+mn-ea"/>
          <a:cs typeface="+mn-cs"/>
        </a:defRPr>
      </a:lvl1pPr>
      <a:lvl2pPr marL="228600" indent="-228600" algn="l" defTabSz="1088333" rtl="0" eaLnBrk="1" latinLnBrk="0" hangingPunct="1">
        <a:lnSpc>
          <a:spcPct val="100000"/>
        </a:lnSpc>
        <a:spcBef>
          <a:spcPts val="1000"/>
        </a:spcBef>
        <a:spcAft>
          <a:spcPts val="0"/>
        </a:spcAft>
        <a:buClr>
          <a:srgbClr val="63666A"/>
        </a:buClr>
        <a:buFont typeface="Wingdings" panose="05000000000000000000" pitchFamily="2" charset="2"/>
        <a:buChar char=""/>
        <a:defRPr sz="2800" kern="1200">
          <a:solidFill>
            <a:schemeClr val="tx1"/>
          </a:solidFill>
          <a:latin typeface="+mn-lt"/>
          <a:ea typeface="+mn-ea"/>
          <a:cs typeface="+mn-cs"/>
        </a:defRPr>
      </a:lvl2pPr>
      <a:lvl3pPr marL="6858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defRPr sz="2400" kern="1200" baseline="0">
          <a:solidFill>
            <a:schemeClr val="tx1"/>
          </a:solidFill>
          <a:latin typeface="+mn-lt"/>
          <a:ea typeface="+mn-ea"/>
          <a:cs typeface="+mn-cs"/>
        </a:defRPr>
      </a:lvl3pPr>
      <a:lvl4pPr marL="1143000" indent="-228600" algn="l" defTabSz="1088333" rtl="0" eaLnBrk="1" latinLnBrk="0" hangingPunct="1">
        <a:lnSpc>
          <a:spcPct val="100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16002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tabLst/>
        <a:defRPr sz="1800" kern="1200" baseline="0">
          <a:solidFill>
            <a:schemeClr val="tx1"/>
          </a:solidFill>
          <a:latin typeface="+mn-lt"/>
          <a:ea typeface="+mn-ea"/>
          <a:cs typeface="+mn-cs"/>
        </a:defRPr>
      </a:lvl5pPr>
      <a:lvl6pPr marL="2057400" indent="-228600" algn="l" defTabSz="1088333" rtl="0" eaLnBrk="1" latinLnBrk="0" hangingPunct="1">
        <a:lnSpc>
          <a:spcPct val="100000"/>
        </a:lnSpc>
        <a:spcBef>
          <a:spcPts val="500"/>
        </a:spcBef>
        <a:spcAft>
          <a:spcPts val="0"/>
        </a:spcAft>
        <a:buFont typeface="Arial" panose="020B0604020202020204" pitchFamily="34" charset="0"/>
        <a:buChar char="•"/>
        <a:defRPr sz="1800" kern="1200" cap="none" baseline="0">
          <a:solidFill>
            <a:schemeClr val="tx1"/>
          </a:solidFill>
          <a:latin typeface="+mn-lt"/>
          <a:ea typeface="+mn-ea"/>
          <a:cs typeface="+mn-cs"/>
        </a:defRPr>
      </a:lvl6pPr>
      <a:lvl7pPr marL="0" indent="0" algn="l" defTabSz="1088333" rtl="0" eaLnBrk="1" latinLnBrk="0" hangingPunct="1">
        <a:lnSpc>
          <a:spcPct val="110000"/>
        </a:lnSpc>
        <a:spcBef>
          <a:spcPts val="0"/>
        </a:spcBef>
        <a:spcAft>
          <a:spcPts val="1333"/>
        </a:spcAft>
        <a:buFontTx/>
        <a:buNone/>
        <a:defRPr sz="3200" kern="1200" cap="none" baseline="0">
          <a:solidFill>
            <a:schemeClr val="tx2"/>
          </a:solidFill>
          <a:latin typeface="+mj-lt"/>
          <a:ea typeface="+mn-ea"/>
          <a:cs typeface="+mn-cs"/>
        </a:defRPr>
      </a:lvl7pPr>
      <a:lvl8pPr marL="0" indent="0" algn="l" defTabSz="1088333" rtl="0" eaLnBrk="1" latinLnBrk="0" hangingPunct="1">
        <a:lnSpc>
          <a:spcPct val="110000"/>
        </a:lnSpc>
        <a:spcBef>
          <a:spcPts val="0"/>
        </a:spcBef>
        <a:spcAft>
          <a:spcPts val="681"/>
        </a:spcAft>
        <a:buFontTx/>
        <a:buNone/>
        <a:defRPr sz="3200" b="0" kern="1200" baseline="0">
          <a:solidFill>
            <a:schemeClr val="accent1"/>
          </a:solidFill>
          <a:latin typeface="+mn-lt"/>
          <a:ea typeface="+mn-ea"/>
          <a:cs typeface="+mn-cs"/>
        </a:defRPr>
      </a:lvl8pPr>
      <a:lvl9pPr marL="0" indent="0" algn="l" defTabSz="1088333" rtl="0" eaLnBrk="1" latinLnBrk="0" hangingPunct="1">
        <a:lnSpc>
          <a:spcPct val="110000"/>
        </a:lnSpc>
        <a:spcBef>
          <a:spcPts val="0"/>
        </a:spcBef>
        <a:spcAft>
          <a:spcPts val="1136"/>
        </a:spcAft>
        <a:buFontTx/>
        <a:buNone/>
        <a:defRPr sz="2133" b="1" kern="1200" baseline="0">
          <a:solidFill>
            <a:schemeClr val="accent1"/>
          </a:solidFill>
          <a:latin typeface="+mj-lt"/>
          <a:ea typeface="+mn-ea"/>
          <a:cs typeface="+mn-cs"/>
        </a:defRPr>
      </a:lvl9pPr>
    </p:bodyStyle>
    <p:otherStyle>
      <a:defPPr>
        <a:defRPr lang="en-US"/>
      </a:defPPr>
      <a:lvl1pPr marL="0" algn="l" defTabSz="1088333" rtl="0" eaLnBrk="1" latinLnBrk="0" hangingPunct="1">
        <a:defRPr sz="2133" kern="1200">
          <a:solidFill>
            <a:schemeClr val="tx1"/>
          </a:solidFill>
          <a:latin typeface="+mn-lt"/>
          <a:ea typeface="+mn-ea"/>
          <a:cs typeface="+mn-cs"/>
        </a:defRPr>
      </a:lvl1pPr>
      <a:lvl2pPr marL="544166" algn="l" defTabSz="1088333" rtl="0" eaLnBrk="1" latinLnBrk="0" hangingPunct="1">
        <a:defRPr sz="2133" kern="1200">
          <a:solidFill>
            <a:schemeClr val="tx1"/>
          </a:solidFill>
          <a:latin typeface="+mn-lt"/>
          <a:ea typeface="+mn-ea"/>
          <a:cs typeface="+mn-cs"/>
        </a:defRPr>
      </a:lvl2pPr>
      <a:lvl3pPr marL="1088333" algn="l" defTabSz="1088333" rtl="0" eaLnBrk="1" latinLnBrk="0" hangingPunct="1">
        <a:defRPr sz="2133" kern="1200">
          <a:solidFill>
            <a:schemeClr val="tx1"/>
          </a:solidFill>
          <a:latin typeface="+mn-lt"/>
          <a:ea typeface="+mn-ea"/>
          <a:cs typeface="+mn-cs"/>
        </a:defRPr>
      </a:lvl3pPr>
      <a:lvl4pPr marL="1632498" algn="l" defTabSz="1088333" rtl="0" eaLnBrk="1" latinLnBrk="0" hangingPunct="1">
        <a:defRPr sz="2133" kern="1200">
          <a:solidFill>
            <a:schemeClr val="tx1"/>
          </a:solidFill>
          <a:latin typeface="+mn-lt"/>
          <a:ea typeface="+mn-ea"/>
          <a:cs typeface="+mn-cs"/>
        </a:defRPr>
      </a:lvl4pPr>
      <a:lvl5pPr marL="2176666" algn="l" defTabSz="1088333" rtl="0" eaLnBrk="1" latinLnBrk="0" hangingPunct="1">
        <a:defRPr sz="2133" kern="1200">
          <a:solidFill>
            <a:schemeClr val="tx1"/>
          </a:solidFill>
          <a:latin typeface="+mn-lt"/>
          <a:ea typeface="+mn-ea"/>
          <a:cs typeface="+mn-cs"/>
        </a:defRPr>
      </a:lvl5pPr>
      <a:lvl6pPr marL="2720832" algn="l" defTabSz="1088333" rtl="0" eaLnBrk="1" latinLnBrk="0" hangingPunct="1">
        <a:defRPr sz="2133" kern="1200">
          <a:solidFill>
            <a:schemeClr val="tx1"/>
          </a:solidFill>
          <a:latin typeface="+mn-lt"/>
          <a:ea typeface="+mn-ea"/>
          <a:cs typeface="+mn-cs"/>
        </a:defRPr>
      </a:lvl6pPr>
      <a:lvl7pPr marL="3264997" algn="l" defTabSz="1088333" rtl="0" eaLnBrk="1" latinLnBrk="0" hangingPunct="1">
        <a:defRPr sz="2133" kern="1200">
          <a:solidFill>
            <a:schemeClr val="tx1"/>
          </a:solidFill>
          <a:latin typeface="+mn-lt"/>
          <a:ea typeface="+mn-ea"/>
          <a:cs typeface="+mn-cs"/>
        </a:defRPr>
      </a:lvl7pPr>
      <a:lvl8pPr marL="3809163" algn="l" defTabSz="1088333" rtl="0" eaLnBrk="1" latinLnBrk="0" hangingPunct="1">
        <a:defRPr sz="2133" kern="1200">
          <a:solidFill>
            <a:schemeClr val="tx1"/>
          </a:solidFill>
          <a:latin typeface="+mn-lt"/>
          <a:ea typeface="+mn-ea"/>
          <a:cs typeface="+mn-cs"/>
        </a:defRPr>
      </a:lvl8pPr>
      <a:lvl9pPr marL="4353330" algn="l" defTabSz="1088333"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p15:clr>
            <a:srgbClr val="F26B43"/>
          </p15:clr>
        </p15:guide>
        <p15:guide id="2" pos="384">
          <p15:clr>
            <a:srgbClr val="F26B43"/>
          </p15:clr>
        </p15:guide>
        <p15:guide id="5" pos="7152">
          <p15:clr>
            <a:srgbClr val="F26B43"/>
          </p15:clr>
        </p15:guide>
        <p15:guide id="6" orient="horz" pos="5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Tree>
    <p:extLst>
      <p:ext uri="{BB962C8B-B14F-4D97-AF65-F5344CB8AC3E}">
        <p14:creationId xmlns:p14="http://schemas.microsoft.com/office/powerpoint/2010/main" val="1243314098"/>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 id="2147484120" r:id="rId30"/>
    <p:sldLayoutId id="2147484121" r:id="rId31"/>
    <p:sldLayoutId id="2147484122" r:id="rId32"/>
    <p:sldLayoutId id="2147484123" r:id="rId33"/>
    <p:sldLayoutId id="2147484124" r:id="rId34"/>
    <p:sldLayoutId id="2147484125" r:id="rId35"/>
    <p:sldLayoutId id="2147484126" r:id="rId36"/>
    <p:sldLayoutId id="2147484127" r:id="rId37"/>
    <p:sldLayoutId id="2147484128" r:id="rId38"/>
    <p:sldLayoutId id="2147484129" r:id="rId39"/>
    <p:sldLayoutId id="2147484130" r:id="rId40"/>
    <p:sldLayoutId id="2147484131" r:id="rId41"/>
    <p:sldLayoutId id="2147484132" r:id="rId42"/>
    <p:sldLayoutId id="2147484133" r:id="rId43"/>
    <p:sldLayoutId id="2147484134" r:id="rId44"/>
    <p:sldLayoutId id="2147484135" r:id="rId45"/>
    <p:sldLayoutId id="2147484136" r:id="rId46"/>
    <p:sldLayoutId id="2147484137" r:id="rId47"/>
    <p:sldLayoutId id="2147484138" r:id="rId48"/>
    <p:sldLayoutId id="2147484139" r:id="rId49"/>
    <p:sldLayoutId id="2147484140" r:id="rId50"/>
    <p:sldLayoutId id="2147484141" r:id="rId51"/>
    <p:sldLayoutId id="2147484142" r:id="rId52"/>
    <p:sldLayoutId id="2147484143" r:id="rId53"/>
    <p:sldLayoutId id="2147484144" r:id="rId54"/>
    <p:sldLayoutId id="2147484145" r:id="rId55"/>
    <p:sldLayoutId id="2147484146" r:id="rId56"/>
    <p:sldLayoutId id="2147484147" r:id="rId57"/>
    <p:sldLayoutId id="2147484148" r:id="rId58"/>
    <p:sldLayoutId id="2147484149" r:id="rId59"/>
    <p:sldLayoutId id="2147484150" r:id="rId60"/>
    <p:sldLayoutId id="2147484151" r:id="rId61"/>
    <p:sldLayoutId id="2147484152" r:id="rId62"/>
    <p:sldLayoutId id="2147484153" r:id="rId63"/>
    <p:sldLayoutId id="2147484154" r:id="rId64"/>
    <p:sldLayoutId id="2147484155" r:id="rId65"/>
    <p:sldLayoutId id="2147484156" r:id="rId66"/>
    <p:sldLayoutId id="2147484157" r:id="rId67"/>
    <p:sldLayoutId id="2147484158" r:id="rId68"/>
    <p:sldLayoutId id="2147484159" r:id="rId69"/>
    <p:sldLayoutId id="2147484160" r:id="rId70"/>
    <p:sldLayoutId id="2147484161" r:id="rId71"/>
    <p:sldLayoutId id="2147484162" r:id="rId72"/>
    <p:sldLayoutId id="2147484163" r:id="rId73"/>
    <p:sldLayoutId id="2147484164" r:id="rId74"/>
    <p:sldLayoutId id="2147484166" r:id="rId75"/>
    <p:sldLayoutId id="2147484167" r:id="rId76"/>
    <p:sldLayoutId id="2147484168" r:id="rId77"/>
    <p:sldLayoutId id="2147484169" r:id="rId78"/>
    <p:sldLayoutId id="2147484170" r:id="rId79"/>
    <p:sldLayoutId id="2147484171" r:id="rId80"/>
    <p:sldLayoutId id="2147484172" r:id="rId81"/>
    <p:sldLayoutId id="2147484173" r:id="rId82"/>
    <p:sldLayoutId id="2147484174" r:id="rId83"/>
    <p:sldLayoutId id="2147484175" r:id="rId84"/>
    <p:sldLayoutId id="2147484176" r:id="rId85"/>
    <p:sldLayoutId id="2147484177" r:id="rId86"/>
    <p:sldLayoutId id="2147484178" r:id="rId87"/>
    <p:sldLayoutId id="2147484179" r:id="rId88"/>
    <p:sldLayoutId id="2147484180" r:id="rId89"/>
    <p:sldLayoutId id="2147484181" r:id="rId90"/>
    <p:sldLayoutId id="2147484182" r:id="rId91"/>
    <p:sldLayoutId id="2147484183" r:id="rId92"/>
    <p:sldLayoutId id="2147484184" r:id="rId93"/>
    <p:sldLayoutId id="2147484185" r:id="rId94"/>
    <p:sldLayoutId id="2147484186" r:id="rId95"/>
    <p:sldLayoutId id="2147484187" r:id="rId96"/>
  </p:sldLayoutIdLst>
  <p:hf hdr="0" ftr="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3" name="Slide Number Placeholder 2">
            <a:extLst>
              <a:ext uri="{FF2B5EF4-FFF2-40B4-BE49-F238E27FC236}">
                <a16:creationId xmlns:a16="http://schemas.microsoft.com/office/drawing/2014/main" id="{FA0EFE87-B079-4284-AF70-A841F390BE2F}"/>
              </a:ext>
            </a:extLst>
          </p:cNvPr>
          <p:cNvSpPr>
            <a:spLocks noGrp="1"/>
          </p:cNvSpPr>
          <p:nvPr userDrawn="1">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US"/>
              <a:t>RSM | </a:t>
            </a:r>
            <a:fld id="{D3664AF6-26E3-4378-990F-C4F4E21208D6}" type="slidenum">
              <a:rPr smtClean="0"/>
              <a:pPr algn="r"/>
              <a:t>‹#›</a:t>
            </a:fld>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Tree>
    <p:extLst>
      <p:ext uri="{BB962C8B-B14F-4D97-AF65-F5344CB8AC3E}">
        <p14:creationId xmlns:p14="http://schemas.microsoft.com/office/powerpoint/2010/main" val="2013879612"/>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 id="2147484226" r:id="rId38"/>
    <p:sldLayoutId id="2147484227" r:id="rId39"/>
    <p:sldLayoutId id="2147484228" r:id="rId40"/>
    <p:sldLayoutId id="2147484229" r:id="rId41"/>
    <p:sldLayoutId id="2147484230" r:id="rId42"/>
    <p:sldLayoutId id="2147484231" r:id="rId43"/>
    <p:sldLayoutId id="2147484232" r:id="rId44"/>
    <p:sldLayoutId id="2147484233" r:id="rId45"/>
    <p:sldLayoutId id="2147484234" r:id="rId46"/>
    <p:sldLayoutId id="2147484235" r:id="rId47"/>
    <p:sldLayoutId id="2147484236" r:id="rId48"/>
    <p:sldLayoutId id="2147484237" r:id="rId49"/>
    <p:sldLayoutId id="2147484238" r:id="rId50"/>
    <p:sldLayoutId id="2147484239" r:id="rId51"/>
    <p:sldLayoutId id="2147484240" r:id="rId52"/>
    <p:sldLayoutId id="2147484241" r:id="rId53"/>
    <p:sldLayoutId id="2147484242" r:id="rId54"/>
    <p:sldLayoutId id="2147484243" r:id="rId55"/>
    <p:sldLayoutId id="2147484244" r:id="rId56"/>
    <p:sldLayoutId id="2147484245" r:id="rId57"/>
    <p:sldLayoutId id="2147484246" r:id="rId58"/>
    <p:sldLayoutId id="2147484247" r:id="rId59"/>
    <p:sldLayoutId id="2147484248" r:id="rId60"/>
    <p:sldLayoutId id="2147484249" r:id="rId61"/>
    <p:sldLayoutId id="2147484250" r:id="rId62"/>
    <p:sldLayoutId id="2147484251" r:id="rId63"/>
    <p:sldLayoutId id="2147484252" r:id="rId64"/>
    <p:sldLayoutId id="2147484253" r:id="rId65"/>
    <p:sldLayoutId id="2147484254" r:id="rId66"/>
    <p:sldLayoutId id="2147484255" r:id="rId67"/>
    <p:sldLayoutId id="2147484256" r:id="rId68"/>
    <p:sldLayoutId id="2147484257" r:id="rId69"/>
    <p:sldLayoutId id="2147484258" r:id="rId70"/>
    <p:sldLayoutId id="2147484259" r:id="rId71"/>
    <p:sldLayoutId id="2147484260" r:id="rId72"/>
    <p:sldLayoutId id="2147484261" r:id="rId73"/>
    <p:sldLayoutId id="2147484262" r:id="rId74"/>
    <p:sldLayoutId id="2147484263" r:id="rId75"/>
    <p:sldLayoutId id="2147484264" r:id="rId76"/>
    <p:sldLayoutId id="2147484265" r:id="rId77"/>
    <p:sldLayoutId id="2147484266" r:id="rId78"/>
    <p:sldLayoutId id="2147484267" r:id="rId79"/>
    <p:sldLayoutId id="2147484268" r:id="rId80"/>
    <p:sldLayoutId id="2147484269" r:id="rId81"/>
    <p:sldLayoutId id="2147484270" r:id="rId82"/>
    <p:sldLayoutId id="2147484271" r:id="rId83"/>
    <p:sldLayoutId id="2147484272" r:id="rId84"/>
    <p:sldLayoutId id="2147484273" r:id="rId85"/>
    <p:sldLayoutId id="2147484274" r:id="rId86"/>
    <p:sldLayoutId id="2147484275" r:id="rId87"/>
    <p:sldLayoutId id="2147484276" r:id="rId88"/>
    <p:sldLayoutId id="2147484277" r:id="rId89"/>
    <p:sldLayoutId id="2147484278" r:id="rId90"/>
    <p:sldLayoutId id="2147484279" r:id="rId91"/>
    <p:sldLayoutId id="2147484280" r:id="rId92"/>
    <p:sldLayoutId id="2147484281" r:id="rId93"/>
    <p:sldLayoutId id="2147484282" r:id="rId94"/>
    <p:sldLayoutId id="2147484283" r:id="rId95"/>
    <p:sldLayoutId id="2147484284" r:id="rId96"/>
    <p:sldLayoutId id="2147484285" r:id="rId97"/>
    <p:sldLayoutId id="2147484286" r:id="rId98"/>
    <p:sldLayoutId id="2147484287" r:id="rId99"/>
    <p:sldLayoutId id="2147484288" r:id="rId100"/>
    <p:sldLayoutId id="2147484289" r:id="rId101"/>
    <p:sldLayoutId id="2147484290" r:id="rId102"/>
    <p:sldLayoutId id="2147484291" r:id="rId103"/>
    <p:sldLayoutId id="2147484292" r:id="rId104"/>
    <p:sldLayoutId id="2147484293" r:id="rId105"/>
    <p:sldLayoutId id="2147484294" r:id="rId106"/>
    <p:sldLayoutId id="2147484295" r:id="rId107"/>
    <p:sldLayoutId id="2147484296" r:id="rId108"/>
    <p:sldLayoutId id="2147484297" r:id="rId109"/>
    <p:sldLayoutId id="2147484298" r:id="rId110"/>
    <p:sldLayoutId id="2147484299" r:id="rId111"/>
    <p:sldLayoutId id="2147484300" r:id="rId112"/>
    <p:sldLayoutId id="2147484301" r:id="rId113"/>
    <p:sldLayoutId id="2147484302" r:id="rId114"/>
    <p:sldLayoutId id="2147484303" r:id="rId115"/>
    <p:sldLayoutId id="2147484304" r:id="rId116"/>
  </p:sldLayoutIdLst>
  <p:hf hdr="0" ftr="0" dt="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3" name="Slide Number Placeholder 2">
            <a:extLst>
              <a:ext uri="{FF2B5EF4-FFF2-40B4-BE49-F238E27FC236}">
                <a16:creationId xmlns:a16="http://schemas.microsoft.com/office/drawing/2014/main" id="{FA0EFE87-B079-4284-AF70-A841F390BE2F}"/>
              </a:ext>
            </a:extLst>
          </p:cNvPr>
          <p:cNvSpPr>
            <a:spLocks noGrp="1"/>
          </p:cNvSpPr>
          <p:nvPr userDrawn="1">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2" name="TextBox 1">
            <a:extLst>
              <a:ext uri="{FF2B5EF4-FFF2-40B4-BE49-F238E27FC236}">
                <a16:creationId xmlns:a16="http://schemas.microsoft.com/office/drawing/2014/main" id="{3C64FFF8-3B78-9C38-14C4-D8A2FC30E2F4}"/>
              </a:ext>
            </a:extLst>
          </p:cNvPr>
          <p:cNvSpPr txBox="1"/>
          <p:nvPr userDrawn="1">
            <p:extLst>
              <p:ext uri="{1162E1C5-73C7-4A58-AE30-91384D911F3F}">
                <p184:classification xmlns:p184="http://schemas.microsoft.com/office/powerpoint/2018/4/main" val="ftr"/>
              </p:ext>
            </p:extLst>
          </p:nvPr>
        </p:nvSpPr>
        <p:spPr>
          <a:xfrm>
            <a:off x="4615688" y="6672580"/>
            <a:ext cx="2046224" cy="123111"/>
          </a:xfrm>
          <a:prstGeom prst="rect">
            <a:avLst/>
          </a:prstGeom>
        </p:spPr>
        <p:txBody>
          <a:bodyPr horzOverflow="overflow" wrap="square" lIns="0" tIns="0" rIns="0" bIns="0">
            <a:spAutoFit/>
          </a:bodyPr>
          <a:lstStyle/>
          <a:p>
            <a:pPr algn="ctr"/>
            <a:r>
              <a:rPr lang="en-US" sz="800">
                <a:solidFill>
                  <a:srgbClr val="FF0000"/>
                </a:solidFill>
                <a:latin typeface="Arial" panose="020B0604020202020204" pitchFamily="34" charset="0"/>
                <a:cs typeface="Arial" panose="020B0604020202020204" pitchFamily="34" charset="0"/>
              </a:rPr>
              <a:t>Confidential-Only for intended persons</a:t>
            </a:r>
          </a:p>
        </p:txBody>
      </p:sp>
    </p:spTree>
    <p:extLst>
      <p:ext uri="{BB962C8B-B14F-4D97-AF65-F5344CB8AC3E}">
        <p14:creationId xmlns:p14="http://schemas.microsoft.com/office/powerpoint/2010/main" val="3503048476"/>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 id="2147484337" r:id="rId32"/>
    <p:sldLayoutId id="2147484338" r:id="rId33"/>
    <p:sldLayoutId id="2147484339" r:id="rId34"/>
    <p:sldLayoutId id="2147484340" r:id="rId35"/>
    <p:sldLayoutId id="2147484341" r:id="rId36"/>
    <p:sldLayoutId id="2147484342" r:id="rId37"/>
    <p:sldLayoutId id="2147484343" r:id="rId38"/>
    <p:sldLayoutId id="2147484344" r:id="rId39"/>
    <p:sldLayoutId id="2147484345" r:id="rId40"/>
    <p:sldLayoutId id="2147484346" r:id="rId41"/>
    <p:sldLayoutId id="2147484347" r:id="rId42"/>
    <p:sldLayoutId id="2147484348" r:id="rId43"/>
    <p:sldLayoutId id="2147484349" r:id="rId44"/>
    <p:sldLayoutId id="2147484350" r:id="rId45"/>
    <p:sldLayoutId id="2147484351" r:id="rId46"/>
    <p:sldLayoutId id="2147484352" r:id="rId47"/>
    <p:sldLayoutId id="2147484353" r:id="rId48"/>
    <p:sldLayoutId id="2147484354" r:id="rId49"/>
    <p:sldLayoutId id="2147484355" r:id="rId50"/>
    <p:sldLayoutId id="2147484356" r:id="rId51"/>
    <p:sldLayoutId id="2147484357" r:id="rId52"/>
    <p:sldLayoutId id="2147484358" r:id="rId53"/>
    <p:sldLayoutId id="2147484359" r:id="rId54"/>
    <p:sldLayoutId id="2147484360" r:id="rId55"/>
    <p:sldLayoutId id="2147484361" r:id="rId56"/>
    <p:sldLayoutId id="2147484362" r:id="rId57"/>
    <p:sldLayoutId id="2147484363" r:id="rId58"/>
    <p:sldLayoutId id="2147484364" r:id="rId59"/>
    <p:sldLayoutId id="2147484365" r:id="rId60"/>
    <p:sldLayoutId id="2147484366" r:id="rId61"/>
    <p:sldLayoutId id="2147484367" r:id="rId62"/>
    <p:sldLayoutId id="2147484368" r:id="rId63"/>
    <p:sldLayoutId id="2147484369" r:id="rId64"/>
    <p:sldLayoutId id="2147484370" r:id="rId65"/>
    <p:sldLayoutId id="2147484371" r:id="rId66"/>
    <p:sldLayoutId id="2147484372" r:id="rId67"/>
    <p:sldLayoutId id="2147484373" r:id="rId68"/>
    <p:sldLayoutId id="2147484374" r:id="rId69"/>
    <p:sldLayoutId id="2147484375" r:id="rId70"/>
    <p:sldLayoutId id="2147484376" r:id="rId71"/>
    <p:sldLayoutId id="2147484377" r:id="rId72"/>
    <p:sldLayoutId id="2147484378" r:id="rId73"/>
    <p:sldLayoutId id="2147484379" r:id="rId74"/>
    <p:sldLayoutId id="2147484380" r:id="rId75"/>
    <p:sldLayoutId id="2147484381" r:id="rId76"/>
    <p:sldLayoutId id="2147484382" r:id="rId77"/>
    <p:sldLayoutId id="2147484383" r:id="rId78"/>
    <p:sldLayoutId id="2147484384" r:id="rId79"/>
    <p:sldLayoutId id="2147484385" r:id="rId80"/>
    <p:sldLayoutId id="2147484386" r:id="rId81"/>
    <p:sldLayoutId id="2147484387" r:id="rId82"/>
    <p:sldLayoutId id="2147484388" r:id="rId83"/>
    <p:sldLayoutId id="2147484389" r:id="rId84"/>
    <p:sldLayoutId id="2147484390" r:id="rId85"/>
    <p:sldLayoutId id="2147484391" r:id="rId86"/>
    <p:sldLayoutId id="2147484392" r:id="rId87"/>
    <p:sldLayoutId id="2147484393" r:id="rId88"/>
    <p:sldLayoutId id="2147484394" r:id="rId89"/>
    <p:sldLayoutId id="2147484395" r:id="rId90"/>
    <p:sldLayoutId id="2147484396" r:id="rId91"/>
    <p:sldLayoutId id="2147484397" r:id="rId92"/>
    <p:sldLayoutId id="2147484398" r:id="rId93"/>
    <p:sldLayoutId id="2147484399" r:id="rId94"/>
    <p:sldLayoutId id="2147484400" r:id="rId95"/>
    <p:sldLayoutId id="2147484401" r:id="rId96"/>
    <p:sldLayoutId id="2147484402" r:id="rId97"/>
    <p:sldLayoutId id="2147484403" r:id="rId98"/>
    <p:sldLayoutId id="2147484404" r:id="rId99"/>
    <p:sldLayoutId id="2147484405" r:id="rId100"/>
    <p:sldLayoutId id="2147484406" r:id="rId101"/>
    <p:sldLayoutId id="2147484407" r:id="rId102"/>
    <p:sldLayoutId id="2147484408" r:id="rId103"/>
    <p:sldLayoutId id="2147484409" r:id="rId104"/>
    <p:sldLayoutId id="2147484410" r:id="rId105"/>
    <p:sldLayoutId id="2147484411" r:id="rId106"/>
    <p:sldLayoutId id="2147484412" r:id="rId107"/>
    <p:sldLayoutId id="2147484413" r:id="rId108"/>
    <p:sldLayoutId id="2147484414" r:id="rId109"/>
    <p:sldLayoutId id="2147484415" r:id="rId110"/>
    <p:sldLayoutId id="2147484416" r:id="rId111"/>
    <p:sldLayoutId id="2147484417" r:id="rId112"/>
    <p:sldLayoutId id="2147484418" r:id="rId113"/>
    <p:sldLayoutId id="2147484419" r:id="rId114"/>
    <p:sldLayoutId id="2147484420" r:id="rId115"/>
    <p:sldLayoutId id="2147484421" r:id="rId116"/>
    <p:sldLayoutId id="2147484422" r:id="rId117"/>
    <p:sldLayoutId id="2147484423" r:id="rId118"/>
    <p:sldLayoutId id="2147484424" r:id="rId119"/>
    <p:sldLayoutId id="2147484425" r:id="rId120"/>
    <p:sldLayoutId id="2147484426" r:id="rId121"/>
    <p:sldLayoutId id="2147484427" r:id="rId122"/>
    <p:sldLayoutId id="2147484428" r:id="rId123"/>
    <p:sldLayoutId id="2147484429" r:id="rId124"/>
    <p:sldLayoutId id="2147484430" r:id="rId125"/>
    <p:sldLayoutId id="2147484431" r:id="rId126"/>
    <p:sldLayoutId id="2147484432" r:id="rId127"/>
    <p:sldLayoutId id="2147484433" r:id="rId128"/>
    <p:sldLayoutId id="2147484434" r:id="rId129"/>
    <p:sldLayoutId id="2147484435" r:id="rId130"/>
    <p:sldLayoutId id="2147484436" r:id="rId131"/>
    <p:sldLayoutId id="2147484437" r:id="rId132"/>
    <p:sldLayoutId id="2147484438" r:id="rId133"/>
    <p:sldLayoutId id="2147484439" r:id="rId134"/>
    <p:sldLayoutId id="2147484440" r:id="rId135"/>
    <p:sldLayoutId id="2147484441" r:id="rId136"/>
    <p:sldLayoutId id="2147484442" r:id="rId137"/>
    <p:sldLayoutId id="2147484451" r:id="rId138"/>
    <p:sldLayoutId id="2147484454" r:id="rId139"/>
    <p:sldLayoutId id="2147484483" r:id="rId140"/>
    <p:sldLayoutId id="2147484504" r:id="rId141"/>
    <p:sldLayoutId id="2147484508" r:id="rId142"/>
    <p:sldLayoutId id="2147484518" r:id="rId143"/>
    <p:sldLayoutId id="2147484519" r:id="rId144"/>
    <p:sldLayoutId id="2147484520" r:id="rId145"/>
    <p:sldLayoutId id="2147484521" r:id="rId146"/>
    <p:sldLayoutId id="2147484524" r:id="rId147"/>
    <p:sldLayoutId id="2147484525" r:id="rId148"/>
    <p:sldLayoutId id="2147484526" r:id="rId149"/>
  </p:sldLayoutIdLst>
  <p:hf hdr="0" ftr="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Tree>
    <p:extLst>
      <p:ext uri="{BB962C8B-B14F-4D97-AF65-F5344CB8AC3E}">
        <p14:creationId xmlns:p14="http://schemas.microsoft.com/office/powerpoint/2010/main" val="1078609682"/>
      </p:ext>
    </p:extLst>
  </p:cSld>
  <p:clrMap bg1="lt1" tx1="dk1" bg2="lt2" tx2="dk2" accent1="accent1" accent2="accent2" accent3="accent3" accent4="accent4" accent5="accent5" accent6="accent6" hlink="hlink" folHlink="folHlink"/>
  <p:sldLayoutIdLst>
    <p:sldLayoutId id="2147484528" r:id="rId1"/>
    <p:sldLayoutId id="2147484529" r:id="rId2"/>
    <p:sldLayoutId id="2147484530" r:id="rId3"/>
    <p:sldLayoutId id="2147484531" r:id="rId4"/>
    <p:sldLayoutId id="2147484532" r:id="rId5"/>
    <p:sldLayoutId id="2147484533" r:id="rId6"/>
    <p:sldLayoutId id="2147484534" r:id="rId7"/>
    <p:sldLayoutId id="2147484535" r:id="rId8"/>
    <p:sldLayoutId id="2147484536" r:id="rId9"/>
    <p:sldLayoutId id="2147484537" r:id="rId10"/>
    <p:sldLayoutId id="2147484538" r:id="rId11"/>
    <p:sldLayoutId id="2147484539" r:id="rId12"/>
    <p:sldLayoutId id="2147484540" r:id="rId13"/>
    <p:sldLayoutId id="2147484541" r:id="rId14"/>
    <p:sldLayoutId id="2147484542" r:id="rId15"/>
    <p:sldLayoutId id="2147484543" r:id="rId16"/>
    <p:sldLayoutId id="2147484544" r:id="rId17"/>
    <p:sldLayoutId id="2147484545" r:id="rId18"/>
    <p:sldLayoutId id="2147484546" r:id="rId19"/>
    <p:sldLayoutId id="2147484547" r:id="rId20"/>
    <p:sldLayoutId id="2147484548" r:id="rId21"/>
    <p:sldLayoutId id="2147484549" r:id="rId22"/>
    <p:sldLayoutId id="2147484550" r:id="rId23"/>
    <p:sldLayoutId id="2147484551" r:id="rId24"/>
    <p:sldLayoutId id="2147484552" r:id="rId25"/>
    <p:sldLayoutId id="2147484553" r:id="rId26"/>
    <p:sldLayoutId id="2147484554" r:id="rId27"/>
    <p:sldLayoutId id="2147484555" r:id="rId28"/>
    <p:sldLayoutId id="2147484556" r:id="rId29"/>
    <p:sldLayoutId id="2147484557" r:id="rId30"/>
    <p:sldLayoutId id="2147484558" r:id="rId31"/>
    <p:sldLayoutId id="2147484559" r:id="rId32"/>
    <p:sldLayoutId id="2147484560" r:id="rId33"/>
    <p:sldLayoutId id="2147484561" r:id="rId34"/>
    <p:sldLayoutId id="2147484562" r:id="rId35"/>
    <p:sldLayoutId id="2147484563" r:id="rId36"/>
    <p:sldLayoutId id="2147484564" r:id="rId37"/>
    <p:sldLayoutId id="2147484565" r:id="rId38"/>
    <p:sldLayoutId id="2147484566" r:id="rId39"/>
    <p:sldLayoutId id="2147484567" r:id="rId40"/>
    <p:sldLayoutId id="2147484568" r:id="rId41"/>
    <p:sldLayoutId id="2147484569" r:id="rId42"/>
    <p:sldLayoutId id="2147484570" r:id="rId43"/>
    <p:sldLayoutId id="2147484571" r:id="rId44"/>
    <p:sldLayoutId id="2147484572" r:id="rId45"/>
    <p:sldLayoutId id="2147484573" r:id="rId46"/>
    <p:sldLayoutId id="2147484574" r:id="rId47"/>
    <p:sldLayoutId id="2147484575" r:id="rId48"/>
    <p:sldLayoutId id="2147484576" r:id="rId49"/>
    <p:sldLayoutId id="2147484577" r:id="rId50"/>
    <p:sldLayoutId id="2147484578" r:id="rId51"/>
    <p:sldLayoutId id="2147484579" r:id="rId52"/>
    <p:sldLayoutId id="2147484580" r:id="rId53"/>
    <p:sldLayoutId id="2147484581" r:id="rId54"/>
    <p:sldLayoutId id="2147484582" r:id="rId55"/>
    <p:sldLayoutId id="2147484583" r:id="rId56"/>
    <p:sldLayoutId id="2147484584" r:id="rId57"/>
    <p:sldLayoutId id="2147484585" r:id="rId58"/>
    <p:sldLayoutId id="2147484586" r:id="rId59"/>
    <p:sldLayoutId id="2147484587" r:id="rId60"/>
    <p:sldLayoutId id="2147484588" r:id="rId61"/>
    <p:sldLayoutId id="2147484589" r:id="rId62"/>
    <p:sldLayoutId id="2147484590" r:id="rId63"/>
    <p:sldLayoutId id="2147484591" r:id="rId64"/>
    <p:sldLayoutId id="2147484592" r:id="rId65"/>
    <p:sldLayoutId id="2147484593" r:id="rId66"/>
    <p:sldLayoutId id="2147484594" r:id="rId67"/>
    <p:sldLayoutId id="2147484595" r:id="rId68"/>
    <p:sldLayoutId id="2147484596" r:id="rId69"/>
    <p:sldLayoutId id="2147484597" r:id="rId70"/>
    <p:sldLayoutId id="2147484598" r:id="rId71"/>
    <p:sldLayoutId id="2147484599" r:id="rId72"/>
    <p:sldLayoutId id="2147484600" r:id="rId73"/>
    <p:sldLayoutId id="2147484601" r:id="rId74"/>
    <p:sldLayoutId id="2147484602" r:id="rId75"/>
    <p:sldLayoutId id="2147484603" r:id="rId76"/>
    <p:sldLayoutId id="2147484604" r:id="rId77"/>
    <p:sldLayoutId id="2147484605" r:id="rId78"/>
    <p:sldLayoutId id="2147484606" r:id="rId79"/>
    <p:sldLayoutId id="2147484607" r:id="rId80"/>
    <p:sldLayoutId id="2147484608" r:id="rId81"/>
    <p:sldLayoutId id="2147484609" r:id="rId82"/>
    <p:sldLayoutId id="2147484610" r:id="rId83"/>
    <p:sldLayoutId id="2147484611" r:id="rId84"/>
    <p:sldLayoutId id="2147484612" r:id="rId85"/>
    <p:sldLayoutId id="2147484613" r:id="rId86"/>
    <p:sldLayoutId id="2147484614" r:id="rId87"/>
    <p:sldLayoutId id="2147484615" r:id="rId88"/>
    <p:sldLayoutId id="2147484616" r:id="rId89"/>
    <p:sldLayoutId id="2147484617" r:id="rId90"/>
    <p:sldLayoutId id="2147484618" r:id="rId91"/>
    <p:sldLayoutId id="2147484619" r:id="rId92"/>
    <p:sldLayoutId id="2147484620" r:id="rId93"/>
    <p:sldLayoutId id="2147484621" r:id="rId94"/>
    <p:sldLayoutId id="2147484622" r:id="rId95"/>
  </p:sldLayoutIdLst>
  <p:hf hdr="0" ftr="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Tree>
    <p:extLst>
      <p:ext uri="{BB962C8B-B14F-4D97-AF65-F5344CB8AC3E}">
        <p14:creationId xmlns:p14="http://schemas.microsoft.com/office/powerpoint/2010/main" val="1648492141"/>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4" r:id="rId21"/>
    <p:sldLayoutId id="2147484645" r:id="rId22"/>
    <p:sldLayoutId id="2147484646" r:id="rId23"/>
    <p:sldLayoutId id="2147484647" r:id="rId24"/>
    <p:sldLayoutId id="2147484648" r:id="rId25"/>
    <p:sldLayoutId id="2147484649" r:id="rId26"/>
    <p:sldLayoutId id="2147484650" r:id="rId27"/>
    <p:sldLayoutId id="2147484651" r:id="rId28"/>
    <p:sldLayoutId id="2147484652" r:id="rId29"/>
    <p:sldLayoutId id="2147484653" r:id="rId30"/>
    <p:sldLayoutId id="2147484654" r:id="rId31"/>
    <p:sldLayoutId id="2147484655" r:id="rId32"/>
    <p:sldLayoutId id="2147484656" r:id="rId33"/>
    <p:sldLayoutId id="2147484657" r:id="rId34"/>
    <p:sldLayoutId id="2147484658" r:id="rId35"/>
    <p:sldLayoutId id="2147484659" r:id="rId36"/>
    <p:sldLayoutId id="2147484660" r:id="rId37"/>
    <p:sldLayoutId id="2147484661" r:id="rId38"/>
    <p:sldLayoutId id="2147484662" r:id="rId39"/>
    <p:sldLayoutId id="2147484663" r:id="rId40"/>
    <p:sldLayoutId id="2147484664" r:id="rId41"/>
    <p:sldLayoutId id="2147484665" r:id="rId42"/>
    <p:sldLayoutId id="2147484666" r:id="rId43"/>
    <p:sldLayoutId id="2147484667" r:id="rId44"/>
    <p:sldLayoutId id="2147484668" r:id="rId45"/>
    <p:sldLayoutId id="2147484669" r:id="rId46"/>
    <p:sldLayoutId id="2147484670" r:id="rId47"/>
    <p:sldLayoutId id="2147484671" r:id="rId48"/>
    <p:sldLayoutId id="2147484672" r:id="rId49"/>
    <p:sldLayoutId id="2147484673" r:id="rId50"/>
    <p:sldLayoutId id="2147484674" r:id="rId51"/>
    <p:sldLayoutId id="2147484675" r:id="rId52"/>
    <p:sldLayoutId id="2147484676" r:id="rId53"/>
    <p:sldLayoutId id="2147484677" r:id="rId54"/>
    <p:sldLayoutId id="2147484678" r:id="rId55"/>
    <p:sldLayoutId id="2147484679" r:id="rId56"/>
    <p:sldLayoutId id="2147484680" r:id="rId57"/>
    <p:sldLayoutId id="2147484681" r:id="rId58"/>
    <p:sldLayoutId id="2147484682" r:id="rId59"/>
    <p:sldLayoutId id="2147484683" r:id="rId60"/>
    <p:sldLayoutId id="2147484684" r:id="rId61"/>
    <p:sldLayoutId id="2147484685" r:id="rId62"/>
    <p:sldLayoutId id="2147484686" r:id="rId63"/>
    <p:sldLayoutId id="2147484687" r:id="rId64"/>
    <p:sldLayoutId id="2147484688" r:id="rId65"/>
    <p:sldLayoutId id="2147484689" r:id="rId66"/>
    <p:sldLayoutId id="2147484690" r:id="rId67"/>
    <p:sldLayoutId id="2147484691" r:id="rId68"/>
    <p:sldLayoutId id="2147484692" r:id="rId69"/>
    <p:sldLayoutId id="2147484693" r:id="rId70"/>
    <p:sldLayoutId id="2147484694" r:id="rId71"/>
    <p:sldLayoutId id="2147484695" r:id="rId72"/>
    <p:sldLayoutId id="2147484696" r:id="rId73"/>
    <p:sldLayoutId id="2147484697" r:id="rId74"/>
    <p:sldLayoutId id="2147484698" r:id="rId75"/>
    <p:sldLayoutId id="2147484699" r:id="rId76"/>
    <p:sldLayoutId id="2147484700" r:id="rId77"/>
    <p:sldLayoutId id="2147484701" r:id="rId78"/>
    <p:sldLayoutId id="2147484702" r:id="rId79"/>
    <p:sldLayoutId id="2147484703" r:id="rId80"/>
    <p:sldLayoutId id="2147484704" r:id="rId81"/>
    <p:sldLayoutId id="2147484705" r:id="rId82"/>
    <p:sldLayoutId id="2147484706" r:id="rId83"/>
    <p:sldLayoutId id="2147484707" r:id="rId84"/>
    <p:sldLayoutId id="2147484708" r:id="rId85"/>
    <p:sldLayoutId id="2147484709" r:id="rId86"/>
    <p:sldLayoutId id="2147484710" r:id="rId87"/>
    <p:sldLayoutId id="2147484711" r:id="rId88"/>
    <p:sldLayoutId id="2147484712" r:id="rId89"/>
    <p:sldLayoutId id="2147484713" r:id="rId90"/>
    <p:sldLayoutId id="2147484714" r:id="rId91"/>
    <p:sldLayoutId id="2147484715" r:id="rId92"/>
    <p:sldLayoutId id="2147484716" r:id="rId93"/>
    <p:sldLayoutId id="2147484717" r:id="rId94"/>
    <p:sldLayoutId id="2147484718" r:id="rId95"/>
  </p:sldLayoutIdLst>
  <p:hf hdr="0" ftr="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69582_mcgladrey_rsm_net/Documents/all/AACE/ASCEND 2025-26/Session 1/Ascend - Financial Systems Landscape and Trends Session 1 FINAL.pptx</a:t>
            </a:r>
            <a:endParaRPr lang="en-GB" sz="700" noProof="1">
              <a:solidFill>
                <a:schemeClr val="bg2"/>
              </a:solidFill>
              <a:latin typeface="+mn-lt"/>
              <a:cs typeface="Arial" pitchFamily="34" charset="0"/>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Tree>
    <p:extLst>
      <p:ext uri="{BB962C8B-B14F-4D97-AF65-F5344CB8AC3E}">
        <p14:creationId xmlns:p14="http://schemas.microsoft.com/office/powerpoint/2010/main" val="228640371"/>
      </p:ext>
    </p:extLst>
  </p:cSld>
  <p:clrMap bg1="lt1" tx1="dk1" bg2="lt2" tx2="dk2" accent1="accent1" accent2="accent2" accent3="accent3" accent4="accent4" accent5="accent5" accent6="accent6" hlink="hlink" folHlink="folHlink"/>
  <p:sldLayoutIdLst>
    <p:sldLayoutId id="2147484721" r:id="rId1"/>
    <p:sldLayoutId id="2147484722" r:id="rId2"/>
    <p:sldLayoutId id="2147484723" r:id="rId3"/>
    <p:sldLayoutId id="2147484724" r:id="rId4"/>
    <p:sldLayoutId id="2147484725" r:id="rId5"/>
    <p:sldLayoutId id="2147484726" r:id="rId6"/>
    <p:sldLayoutId id="2147484727" r:id="rId7"/>
    <p:sldLayoutId id="2147484728" r:id="rId8"/>
    <p:sldLayoutId id="2147484729" r:id="rId9"/>
    <p:sldLayoutId id="2147484730" r:id="rId10"/>
    <p:sldLayoutId id="2147484731" r:id="rId11"/>
    <p:sldLayoutId id="2147484732" r:id="rId12"/>
    <p:sldLayoutId id="2147484733" r:id="rId13"/>
    <p:sldLayoutId id="2147484734" r:id="rId14"/>
    <p:sldLayoutId id="2147484735" r:id="rId15"/>
    <p:sldLayoutId id="2147484736" r:id="rId16"/>
    <p:sldLayoutId id="2147484737" r:id="rId17"/>
    <p:sldLayoutId id="2147484738" r:id="rId18"/>
    <p:sldLayoutId id="2147484739" r:id="rId19"/>
    <p:sldLayoutId id="2147484740" r:id="rId20"/>
    <p:sldLayoutId id="2147484741" r:id="rId21"/>
    <p:sldLayoutId id="2147484742" r:id="rId22"/>
    <p:sldLayoutId id="2147484743" r:id="rId23"/>
    <p:sldLayoutId id="2147484744" r:id="rId24"/>
    <p:sldLayoutId id="2147484745" r:id="rId25"/>
    <p:sldLayoutId id="2147484746" r:id="rId26"/>
    <p:sldLayoutId id="2147484747" r:id="rId27"/>
    <p:sldLayoutId id="2147484748" r:id="rId28"/>
    <p:sldLayoutId id="2147484749" r:id="rId29"/>
    <p:sldLayoutId id="2147484750" r:id="rId30"/>
    <p:sldLayoutId id="2147484751" r:id="rId31"/>
    <p:sldLayoutId id="2147484752" r:id="rId32"/>
    <p:sldLayoutId id="2147484753" r:id="rId33"/>
    <p:sldLayoutId id="2147484754" r:id="rId34"/>
    <p:sldLayoutId id="2147484755" r:id="rId35"/>
    <p:sldLayoutId id="2147484756" r:id="rId36"/>
    <p:sldLayoutId id="2147484757" r:id="rId37"/>
    <p:sldLayoutId id="2147484758" r:id="rId38"/>
    <p:sldLayoutId id="2147484759" r:id="rId39"/>
    <p:sldLayoutId id="2147484760" r:id="rId40"/>
    <p:sldLayoutId id="2147484761" r:id="rId41"/>
    <p:sldLayoutId id="2147484762" r:id="rId42"/>
    <p:sldLayoutId id="2147484763" r:id="rId43"/>
    <p:sldLayoutId id="2147484764" r:id="rId44"/>
    <p:sldLayoutId id="2147484765" r:id="rId45"/>
    <p:sldLayoutId id="2147484766" r:id="rId46"/>
    <p:sldLayoutId id="2147484767" r:id="rId47"/>
    <p:sldLayoutId id="2147484768" r:id="rId48"/>
    <p:sldLayoutId id="2147484769" r:id="rId49"/>
    <p:sldLayoutId id="2147484770" r:id="rId50"/>
    <p:sldLayoutId id="2147484771" r:id="rId51"/>
    <p:sldLayoutId id="2147484772" r:id="rId52"/>
    <p:sldLayoutId id="2147484773" r:id="rId53"/>
    <p:sldLayoutId id="2147484774" r:id="rId54"/>
    <p:sldLayoutId id="2147484775" r:id="rId55"/>
    <p:sldLayoutId id="2147484776" r:id="rId56"/>
    <p:sldLayoutId id="2147484777" r:id="rId57"/>
    <p:sldLayoutId id="2147484778" r:id="rId58"/>
    <p:sldLayoutId id="2147484779" r:id="rId59"/>
    <p:sldLayoutId id="2147484780" r:id="rId60"/>
    <p:sldLayoutId id="2147484781" r:id="rId61"/>
    <p:sldLayoutId id="2147484782" r:id="rId62"/>
    <p:sldLayoutId id="2147484783" r:id="rId63"/>
    <p:sldLayoutId id="2147484784" r:id="rId64"/>
    <p:sldLayoutId id="2147484785" r:id="rId65"/>
    <p:sldLayoutId id="2147484786" r:id="rId66"/>
    <p:sldLayoutId id="2147484787" r:id="rId67"/>
    <p:sldLayoutId id="2147484788" r:id="rId68"/>
    <p:sldLayoutId id="2147484789" r:id="rId69"/>
    <p:sldLayoutId id="2147484790" r:id="rId70"/>
    <p:sldLayoutId id="2147484791" r:id="rId71"/>
    <p:sldLayoutId id="2147484792" r:id="rId72"/>
    <p:sldLayoutId id="2147484793" r:id="rId73"/>
    <p:sldLayoutId id="2147484794" r:id="rId74"/>
    <p:sldLayoutId id="2147484795" r:id="rId75"/>
    <p:sldLayoutId id="2147484796" r:id="rId76"/>
    <p:sldLayoutId id="2147484797" r:id="rId77"/>
    <p:sldLayoutId id="2147484798" r:id="rId78"/>
    <p:sldLayoutId id="2147484799" r:id="rId79"/>
    <p:sldLayoutId id="2147484800" r:id="rId80"/>
    <p:sldLayoutId id="2147484801" r:id="rId81"/>
    <p:sldLayoutId id="2147484802" r:id="rId82"/>
    <p:sldLayoutId id="2147484803" r:id="rId83"/>
    <p:sldLayoutId id="2147484804" r:id="rId84"/>
    <p:sldLayoutId id="2147484805" r:id="rId85"/>
    <p:sldLayoutId id="2147484806" r:id="rId86"/>
    <p:sldLayoutId id="2147484807" r:id="rId87"/>
    <p:sldLayoutId id="2147484808" r:id="rId88"/>
    <p:sldLayoutId id="2147484809" r:id="rId89"/>
    <p:sldLayoutId id="2147484810" r:id="rId90"/>
    <p:sldLayoutId id="2147484811" r:id="rId91"/>
    <p:sldLayoutId id="2147484812" r:id="rId92"/>
    <p:sldLayoutId id="2147484813" r:id="rId93"/>
    <p:sldLayoutId id="2147484814" r:id="rId94"/>
    <p:sldLayoutId id="2147484815" r:id="rId95"/>
  </p:sldLayoutIdLst>
  <p:hf hdr="0" ftr="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xml"/><Relationship Id="rId1" Type="http://schemas.openxmlformats.org/officeDocument/2006/relationships/slideLayout" Target="../slideLayouts/slideLayout531.xml"/></Relationships>
</file>

<file path=ppt/slides/_rels/slide10.xml.rels><?xml version="1.0" encoding="UTF-8" standalone="yes"?>
<Relationships xmlns="http://schemas.openxmlformats.org/package/2006/relationships"><Relationship Id="rId3" Type="http://schemas.openxmlformats.org/officeDocument/2006/relationships/image" Target="../media/image81.png"/><Relationship Id="rId2" Type="http://schemas.microsoft.com/office/2018/10/relationships/comments" Target="../comments/modernComment_163_E253D62F.xml"/><Relationship Id="rId1" Type="http://schemas.openxmlformats.org/officeDocument/2006/relationships/slideLayout" Target="../slideLayouts/slideLayout175.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6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jpeg"/></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microsoft.com/office/2018/10/relationships/comments" Target="../comments/modernComment_168_474D60D7.xml"/><Relationship Id="rId1" Type="http://schemas.openxmlformats.org/officeDocument/2006/relationships/slideLayout" Target="../slideLayouts/slideLayout61.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8.xml"/></Relationships>
</file>

<file path=ppt/slides/_rels/slide14.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image" Target="../media/image97.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svg"/><Relationship Id="rId2" Type="http://schemas.openxmlformats.org/officeDocument/2006/relationships/notesSlide" Target="../notesSlides/notesSlide7.xml"/><Relationship Id="rId16" Type="http://schemas.openxmlformats.org/officeDocument/2006/relationships/image" Target="../media/image100.svg"/><Relationship Id="rId1" Type="http://schemas.openxmlformats.org/officeDocument/2006/relationships/slideLayout" Target="../slideLayouts/slideLayout133.xml"/><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svg"/><Relationship Id="rId4" Type="http://schemas.openxmlformats.org/officeDocument/2006/relationships/image" Target="../media/image88.svg"/><Relationship Id="rId9" Type="http://schemas.openxmlformats.org/officeDocument/2006/relationships/image" Target="../media/image93.png"/><Relationship Id="rId14" Type="http://schemas.openxmlformats.org/officeDocument/2006/relationships/image" Target="../media/image98.svg"/></Relationships>
</file>

<file path=ppt/slides/_rels/slide15.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7.jpeg"/><Relationship Id="rId18" Type="http://schemas.openxmlformats.org/officeDocument/2006/relationships/image" Target="../media/image112.png"/><Relationship Id="rId3" Type="http://schemas.openxmlformats.org/officeDocument/2006/relationships/tags" Target="../tags/tag202.xml"/><Relationship Id="rId21" Type="http://schemas.openxmlformats.org/officeDocument/2006/relationships/image" Target="../media/image115.png"/><Relationship Id="rId7" Type="http://schemas.openxmlformats.org/officeDocument/2006/relationships/image" Target="../media/image102.png"/><Relationship Id="rId12" Type="http://schemas.openxmlformats.org/officeDocument/2006/relationships/image" Target="../media/image106.png"/><Relationship Id="rId17" Type="http://schemas.openxmlformats.org/officeDocument/2006/relationships/image" Target="../media/image111.svg"/><Relationship Id="rId2" Type="http://schemas.openxmlformats.org/officeDocument/2006/relationships/tags" Target="../tags/tag201.xml"/><Relationship Id="rId16" Type="http://schemas.openxmlformats.org/officeDocument/2006/relationships/image" Target="../media/image110.png"/><Relationship Id="rId20" Type="http://schemas.openxmlformats.org/officeDocument/2006/relationships/image" Target="../media/image114.png"/><Relationship Id="rId1" Type="http://schemas.openxmlformats.org/officeDocument/2006/relationships/tags" Target="../tags/tag200.xml"/><Relationship Id="rId6" Type="http://schemas.openxmlformats.org/officeDocument/2006/relationships/image" Target="../media/image101.png"/><Relationship Id="rId11" Type="http://schemas.microsoft.com/office/2007/relationships/hdphoto" Target="../media/hdphoto2.wdp"/><Relationship Id="rId5" Type="http://schemas.openxmlformats.org/officeDocument/2006/relationships/notesSlide" Target="../notesSlides/notesSlide8.xml"/><Relationship Id="rId15" Type="http://schemas.openxmlformats.org/officeDocument/2006/relationships/image" Target="../media/image109.svg"/><Relationship Id="rId10" Type="http://schemas.openxmlformats.org/officeDocument/2006/relationships/image" Target="../media/image105.png"/><Relationship Id="rId19" Type="http://schemas.openxmlformats.org/officeDocument/2006/relationships/image" Target="../media/image113.svg"/><Relationship Id="rId4" Type="http://schemas.openxmlformats.org/officeDocument/2006/relationships/slideLayout" Target="../slideLayouts/slideLayout68.xml"/><Relationship Id="rId9" Type="http://schemas.openxmlformats.org/officeDocument/2006/relationships/image" Target="../media/image104.png"/><Relationship Id="rId14" Type="http://schemas.openxmlformats.org/officeDocument/2006/relationships/image" Target="../media/image108.png"/><Relationship Id="rId22" Type="http://schemas.openxmlformats.org/officeDocument/2006/relationships/image" Target="../media/image116.png"/></Relationships>
</file>

<file path=ppt/slides/_rels/slide1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tags" Target="../tags/tag205.xml"/><Relationship Id="rId21" Type="http://schemas.openxmlformats.org/officeDocument/2006/relationships/image" Target="../media/image126.png"/><Relationship Id="rId7" Type="http://schemas.openxmlformats.org/officeDocument/2006/relationships/tags" Target="../tags/tag209.xml"/><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tags" Target="../tags/tag204.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notesSlide" Target="../notesSlides/notesSlide9.xml"/><Relationship Id="rId5" Type="http://schemas.openxmlformats.org/officeDocument/2006/relationships/tags" Target="../tags/tag207.xml"/><Relationship Id="rId15" Type="http://schemas.openxmlformats.org/officeDocument/2006/relationships/image" Target="../media/image120.jpeg"/><Relationship Id="rId10" Type="http://schemas.openxmlformats.org/officeDocument/2006/relationships/slideLayout" Target="../slideLayouts/slideLayout130.xml"/><Relationship Id="rId19" Type="http://schemas.openxmlformats.org/officeDocument/2006/relationships/image" Target="../media/image124.png"/><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image" Target="../media/image119.png"/></Relationships>
</file>

<file path=ppt/slides/_rels/slide17.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image" Target="../media/image139.jpeg"/><Relationship Id="rId18" Type="http://schemas.openxmlformats.org/officeDocument/2006/relationships/image" Target="../media/image144.png"/><Relationship Id="rId3" Type="http://schemas.openxmlformats.org/officeDocument/2006/relationships/image" Target="../media/image129.jpeg"/><Relationship Id="rId7" Type="http://schemas.openxmlformats.org/officeDocument/2006/relationships/image" Target="../media/image133.png"/><Relationship Id="rId12" Type="http://schemas.openxmlformats.org/officeDocument/2006/relationships/image" Target="../media/image138.png"/><Relationship Id="rId17" Type="http://schemas.openxmlformats.org/officeDocument/2006/relationships/image" Target="../media/image143.jpeg"/><Relationship Id="rId2" Type="http://schemas.openxmlformats.org/officeDocument/2006/relationships/image" Target="../media/image128.jpeg"/><Relationship Id="rId16" Type="http://schemas.openxmlformats.org/officeDocument/2006/relationships/image" Target="../media/image142.jpeg"/><Relationship Id="rId20" Type="http://schemas.openxmlformats.org/officeDocument/2006/relationships/image" Target="../media/image146.jpeg"/><Relationship Id="rId1" Type="http://schemas.openxmlformats.org/officeDocument/2006/relationships/slideLayout" Target="../slideLayouts/slideLayout68.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131.png"/><Relationship Id="rId15" Type="http://schemas.openxmlformats.org/officeDocument/2006/relationships/image" Target="../media/image141.png"/><Relationship Id="rId10" Type="http://schemas.openxmlformats.org/officeDocument/2006/relationships/image" Target="../media/image136.jpeg"/><Relationship Id="rId19" Type="http://schemas.openxmlformats.org/officeDocument/2006/relationships/image" Target="../media/image145.png"/><Relationship Id="rId4" Type="http://schemas.openxmlformats.org/officeDocument/2006/relationships/image" Target="../media/image130.jpeg"/><Relationship Id="rId9" Type="http://schemas.openxmlformats.org/officeDocument/2006/relationships/image" Target="../media/image135.png"/><Relationship Id="rId14" Type="http://schemas.openxmlformats.org/officeDocument/2006/relationships/image" Target="../media/image140.png"/></Relationships>
</file>

<file path=ppt/slides/_rels/slide2.xml.rels><?xml version="1.0" encoding="UTF-8" standalone="yes"?>
<Relationships xmlns="http://schemas.openxmlformats.org/package/2006/relationships"><Relationship Id="rId3" Type="http://schemas.openxmlformats.org/officeDocument/2006/relationships/image" Target="../media/image73.png"/><Relationship Id="rId2" Type="http://schemas.microsoft.com/office/2018/10/relationships/comments" Target="../comments/modernComment_15C_69F5D9EB.xml"/><Relationship Id="rId1" Type="http://schemas.openxmlformats.org/officeDocument/2006/relationships/slideLayout" Target="../slideLayouts/slideLayout1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1.png"/><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4.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microsoft.com/office/2018/10/relationships/comments" Target="../comments/modernComment_1B6_BDAF78BA.xml"/><Relationship Id="rId1" Type="http://schemas.openxmlformats.org/officeDocument/2006/relationships/slideLayout" Target="../slideLayouts/slideLayout61.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75.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74.png"/><Relationship Id="rId5" Type="http://schemas.openxmlformats.org/officeDocument/2006/relationships/slideLayout" Target="../slideLayouts/slideLayout492.xml"/><Relationship Id="rId4" Type="http://schemas.openxmlformats.org/officeDocument/2006/relationships/tags" Target="../tags/tag199.xml"/></Relationships>
</file>

<file path=ppt/slides/_rels/slide30.xml.rels><?xml version="1.0" encoding="UTF-8" standalone="yes"?>
<Relationships xmlns="http://schemas.openxmlformats.org/package/2006/relationships"><Relationship Id="rId2" Type="http://schemas.microsoft.com/office/2018/10/relationships/comments" Target="../comments/modernComment_3A0_94AD22AF.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1.xml"/><Relationship Id="rId1" Type="http://schemas.openxmlformats.org/officeDocument/2006/relationships/slideLayout" Target="../slideLayouts/slideLayout30.xml"/><Relationship Id="rId5" Type="http://schemas.openxmlformats.org/officeDocument/2006/relationships/image" Target="../media/image150.png"/><Relationship Id="rId4" Type="http://schemas.openxmlformats.org/officeDocument/2006/relationships/image" Target="../media/image14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60.svg"/><Relationship Id="rId18" Type="http://schemas.openxmlformats.org/officeDocument/2006/relationships/image" Target="../media/image165.png"/><Relationship Id="rId3" Type="http://schemas.openxmlformats.org/officeDocument/2006/relationships/notesSlide" Target="../notesSlides/notesSlide13.xml"/><Relationship Id="rId7" Type="http://schemas.openxmlformats.org/officeDocument/2006/relationships/image" Target="../media/image154.svg"/><Relationship Id="rId12" Type="http://schemas.openxmlformats.org/officeDocument/2006/relationships/image" Target="../media/image159.png"/><Relationship Id="rId17" Type="http://schemas.openxmlformats.org/officeDocument/2006/relationships/image" Target="../media/image164.svg"/><Relationship Id="rId2" Type="http://schemas.openxmlformats.org/officeDocument/2006/relationships/slideLayout" Target="../slideLayouts/slideLayout31.xml"/><Relationship Id="rId16" Type="http://schemas.openxmlformats.org/officeDocument/2006/relationships/image" Target="../media/image163.png"/><Relationship Id="rId1" Type="http://schemas.openxmlformats.org/officeDocument/2006/relationships/customXml" Target="../../customXml/item1.xml"/><Relationship Id="rId6" Type="http://schemas.openxmlformats.org/officeDocument/2006/relationships/image" Target="../media/image153.png"/><Relationship Id="rId11" Type="http://schemas.openxmlformats.org/officeDocument/2006/relationships/image" Target="../media/image158.svg"/><Relationship Id="rId5" Type="http://schemas.openxmlformats.org/officeDocument/2006/relationships/image" Target="../media/image152.svg"/><Relationship Id="rId15" Type="http://schemas.openxmlformats.org/officeDocument/2006/relationships/image" Target="../media/image162.svg"/><Relationship Id="rId10" Type="http://schemas.openxmlformats.org/officeDocument/2006/relationships/image" Target="../media/image157.png"/><Relationship Id="rId19" Type="http://schemas.openxmlformats.org/officeDocument/2006/relationships/image" Target="../media/image166.svg"/><Relationship Id="rId4" Type="http://schemas.openxmlformats.org/officeDocument/2006/relationships/image" Target="../media/image151.png"/><Relationship Id="rId9" Type="http://schemas.openxmlformats.org/officeDocument/2006/relationships/image" Target="../media/image156.svg"/><Relationship Id="rId14" Type="http://schemas.openxmlformats.org/officeDocument/2006/relationships/image" Target="../media/image161.png"/></Relationships>
</file>

<file path=ppt/slides/_rels/slide34.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notesSlide" Target="../notesSlides/notesSlide14.xml"/><Relationship Id="rId1" Type="http://schemas.openxmlformats.org/officeDocument/2006/relationships/slideLayout" Target="../slideLayouts/slideLayout30.xml"/><Relationship Id="rId6" Type="http://schemas.openxmlformats.org/officeDocument/2006/relationships/image" Target="../media/image170.svg"/><Relationship Id="rId5" Type="http://schemas.openxmlformats.org/officeDocument/2006/relationships/image" Target="../media/image169.png"/><Relationship Id="rId10" Type="http://schemas.openxmlformats.org/officeDocument/2006/relationships/image" Target="../media/image174.svg"/><Relationship Id="rId4" Type="http://schemas.openxmlformats.org/officeDocument/2006/relationships/image" Target="../media/image168.png"/><Relationship Id="rId9" Type="http://schemas.openxmlformats.org/officeDocument/2006/relationships/image" Target="../media/image173.png"/></Relationships>
</file>

<file path=ppt/slides/_rels/slide35.xml.rels><?xml version="1.0" encoding="UTF-8" standalone="yes"?>
<Relationships xmlns="http://schemas.openxmlformats.org/package/2006/relationships"><Relationship Id="rId13" Type="http://schemas.openxmlformats.org/officeDocument/2006/relationships/tags" Target="../tags/tag224.xml"/><Relationship Id="rId18" Type="http://schemas.openxmlformats.org/officeDocument/2006/relationships/tags" Target="../tags/tag229.xml"/><Relationship Id="rId26" Type="http://schemas.openxmlformats.org/officeDocument/2006/relationships/tags" Target="../tags/tag237.xml"/><Relationship Id="rId39" Type="http://schemas.openxmlformats.org/officeDocument/2006/relationships/tags" Target="../tags/tag250.xml"/><Relationship Id="rId21" Type="http://schemas.openxmlformats.org/officeDocument/2006/relationships/tags" Target="../tags/tag232.xml"/><Relationship Id="rId34" Type="http://schemas.openxmlformats.org/officeDocument/2006/relationships/tags" Target="../tags/tag245.xml"/><Relationship Id="rId7" Type="http://schemas.openxmlformats.org/officeDocument/2006/relationships/tags" Target="../tags/tag218.xml"/><Relationship Id="rId2" Type="http://schemas.openxmlformats.org/officeDocument/2006/relationships/tags" Target="../tags/tag213.xml"/><Relationship Id="rId16" Type="http://schemas.openxmlformats.org/officeDocument/2006/relationships/tags" Target="../tags/tag227.xml"/><Relationship Id="rId20" Type="http://schemas.openxmlformats.org/officeDocument/2006/relationships/tags" Target="../tags/tag231.xml"/><Relationship Id="rId29" Type="http://schemas.openxmlformats.org/officeDocument/2006/relationships/tags" Target="../tags/tag240.xml"/><Relationship Id="rId41" Type="http://schemas.openxmlformats.org/officeDocument/2006/relationships/slideLayout" Target="../slideLayouts/slideLayout32.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tags" Target="../tags/tag222.xml"/><Relationship Id="rId24" Type="http://schemas.openxmlformats.org/officeDocument/2006/relationships/tags" Target="../tags/tag235.xml"/><Relationship Id="rId32" Type="http://schemas.openxmlformats.org/officeDocument/2006/relationships/tags" Target="../tags/tag243.xml"/><Relationship Id="rId37" Type="http://schemas.openxmlformats.org/officeDocument/2006/relationships/tags" Target="../tags/tag248.xml"/><Relationship Id="rId40" Type="http://schemas.openxmlformats.org/officeDocument/2006/relationships/tags" Target="../tags/tag251.xml"/><Relationship Id="rId5" Type="http://schemas.openxmlformats.org/officeDocument/2006/relationships/tags" Target="../tags/tag216.xml"/><Relationship Id="rId15" Type="http://schemas.openxmlformats.org/officeDocument/2006/relationships/tags" Target="../tags/tag226.xml"/><Relationship Id="rId23" Type="http://schemas.openxmlformats.org/officeDocument/2006/relationships/tags" Target="../tags/tag234.xml"/><Relationship Id="rId28" Type="http://schemas.openxmlformats.org/officeDocument/2006/relationships/tags" Target="../tags/tag239.xml"/><Relationship Id="rId36" Type="http://schemas.openxmlformats.org/officeDocument/2006/relationships/tags" Target="../tags/tag247.xml"/><Relationship Id="rId10" Type="http://schemas.openxmlformats.org/officeDocument/2006/relationships/tags" Target="../tags/tag221.xml"/><Relationship Id="rId19" Type="http://schemas.openxmlformats.org/officeDocument/2006/relationships/tags" Target="../tags/tag230.xml"/><Relationship Id="rId31" Type="http://schemas.openxmlformats.org/officeDocument/2006/relationships/tags" Target="../tags/tag242.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tags" Target="../tags/tag225.xml"/><Relationship Id="rId22" Type="http://schemas.openxmlformats.org/officeDocument/2006/relationships/tags" Target="../tags/tag233.xml"/><Relationship Id="rId27" Type="http://schemas.openxmlformats.org/officeDocument/2006/relationships/tags" Target="../tags/tag238.xml"/><Relationship Id="rId30" Type="http://schemas.openxmlformats.org/officeDocument/2006/relationships/tags" Target="../tags/tag241.xml"/><Relationship Id="rId35" Type="http://schemas.openxmlformats.org/officeDocument/2006/relationships/tags" Target="../tags/tag246.xml"/><Relationship Id="rId8" Type="http://schemas.openxmlformats.org/officeDocument/2006/relationships/tags" Target="../tags/tag219.xml"/><Relationship Id="rId3" Type="http://schemas.openxmlformats.org/officeDocument/2006/relationships/tags" Target="../tags/tag214.xml"/><Relationship Id="rId12" Type="http://schemas.openxmlformats.org/officeDocument/2006/relationships/tags" Target="../tags/tag223.xml"/><Relationship Id="rId17" Type="http://schemas.openxmlformats.org/officeDocument/2006/relationships/tags" Target="../tags/tag228.xml"/><Relationship Id="rId25" Type="http://schemas.openxmlformats.org/officeDocument/2006/relationships/tags" Target="../tags/tag236.xml"/><Relationship Id="rId33" Type="http://schemas.openxmlformats.org/officeDocument/2006/relationships/tags" Target="../tags/tag244.xml"/><Relationship Id="rId38" Type="http://schemas.openxmlformats.org/officeDocument/2006/relationships/tags" Target="../tags/tag249.xml"/></Relationships>
</file>

<file path=ppt/slides/_rels/slide36.xml.rels><?xml version="1.0" encoding="UTF-8" standalone="yes"?>
<Relationships xmlns="http://schemas.openxmlformats.org/package/2006/relationships"><Relationship Id="rId8" Type="http://schemas.openxmlformats.org/officeDocument/2006/relationships/image" Target="../media/image179.png"/><Relationship Id="rId3" Type="http://schemas.microsoft.com/office/2018/10/relationships/comments" Target="../comments/modernComment_7FFFFEF9_AB43E293.xml"/><Relationship Id="rId7" Type="http://schemas.openxmlformats.org/officeDocument/2006/relationships/image" Target="../media/image178.png"/><Relationship Id="rId2" Type="http://schemas.openxmlformats.org/officeDocument/2006/relationships/notesSlide" Target="../notesSlides/notesSlide15.xml"/><Relationship Id="rId1" Type="http://schemas.openxmlformats.org/officeDocument/2006/relationships/slideLayout" Target="../slideLayouts/slideLayout27.xml"/><Relationship Id="rId6" Type="http://schemas.openxmlformats.org/officeDocument/2006/relationships/image" Target="../media/image177.svg"/><Relationship Id="rId5" Type="http://schemas.openxmlformats.org/officeDocument/2006/relationships/image" Target="../media/image176.png"/><Relationship Id="rId10" Type="http://schemas.openxmlformats.org/officeDocument/2006/relationships/image" Target="../media/image181.svg"/><Relationship Id="rId4" Type="http://schemas.openxmlformats.org/officeDocument/2006/relationships/image" Target="../media/image175.png"/><Relationship Id="rId9" Type="http://schemas.openxmlformats.org/officeDocument/2006/relationships/image" Target="../media/image180.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9.xml"/><Relationship Id="rId1" Type="http://schemas.openxmlformats.org/officeDocument/2006/relationships/tags" Target="../tags/tag25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notesSlide" Target="../notesSlides/notesSlide17.xml"/><Relationship Id="rId5" Type="http://schemas.openxmlformats.org/officeDocument/2006/relationships/tags" Target="../tags/tag257.xml"/><Relationship Id="rId10" Type="http://schemas.openxmlformats.org/officeDocument/2006/relationships/slideLayout" Target="../slideLayouts/slideLayout153.xml"/><Relationship Id="rId4" Type="http://schemas.openxmlformats.org/officeDocument/2006/relationships/tags" Target="../tags/tag256.xml"/><Relationship Id="rId9" Type="http://schemas.openxmlformats.org/officeDocument/2006/relationships/tags" Target="../tags/tag261.xml"/></Relationships>
</file>

<file path=ppt/slides/_rels/slide4.xml.rels><?xml version="1.0" encoding="UTF-8" standalone="yes"?>
<Relationships xmlns="http://schemas.openxmlformats.org/package/2006/relationships"><Relationship Id="rId3" Type="http://schemas.microsoft.com/office/2018/10/relationships/comments" Target="../comments/modernComment_15E_2430067F.xml"/><Relationship Id="rId2" Type="http://schemas.openxmlformats.org/officeDocument/2006/relationships/notesSlide" Target="../notesSlides/notesSlide2.xml"/><Relationship Id="rId1" Type="http://schemas.openxmlformats.org/officeDocument/2006/relationships/slideLayout" Target="../slideLayouts/slideLayout492.xml"/><Relationship Id="rId4" Type="http://schemas.openxmlformats.org/officeDocument/2006/relationships/image" Target="../media/image76.jpeg"/></Relationships>
</file>

<file path=ppt/slides/_rels/slide40.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185.svg"/><Relationship Id="rId2" Type="http://schemas.openxmlformats.org/officeDocument/2006/relationships/image" Target="../media/image182.png"/><Relationship Id="rId1" Type="http://schemas.openxmlformats.org/officeDocument/2006/relationships/slideLayout" Target="../slideLayouts/slideLayout272.xml"/><Relationship Id="rId6" Type="http://schemas.openxmlformats.org/officeDocument/2006/relationships/image" Target="../media/image184.png"/><Relationship Id="rId5" Type="http://schemas.microsoft.com/office/2007/relationships/hdphoto" Target="../media/hdphoto4.wdp"/><Relationship Id="rId4" Type="http://schemas.openxmlformats.org/officeDocument/2006/relationships/image" Target="../media/image183.pn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128.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42.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tags" Target="../tags/tag274.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tags" Target="../tags/tag273.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tags" Target="../tags/tag272.xml"/><Relationship Id="rId5" Type="http://schemas.openxmlformats.org/officeDocument/2006/relationships/tags" Target="../tags/tag266.xml"/><Relationship Id="rId10" Type="http://schemas.openxmlformats.org/officeDocument/2006/relationships/tags" Target="../tags/tag271.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slideLayout" Target="../slideLayouts/slideLayout132.xml"/></Relationships>
</file>

<file path=ppt/slides/_rels/slide43.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slideLayout" Target="../slideLayouts/slideLayout132.xml"/><Relationship Id="rId2" Type="http://schemas.openxmlformats.org/officeDocument/2006/relationships/tags" Target="../tags/tag276.xml"/><Relationship Id="rId16" Type="http://schemas.openxmlformats.org/officeDocument/2006/relationships/tags" Target="../tags/tag290.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tags" Target="../tags/tag289.xml"/><Relationship Id="rId10" Type="http://schemas.openxmlformats.org/officeDocument/2006/relationships/tags" Target="../tags/tag28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6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3" Type="http://schemas.microsoft.com/office/2018/10/relationships/comments" Target="../comments/modernComment_1AB_1BBF689C.xml"/><Relationship Id="rId2" Type="http://schemas.openxmlformats.org/officeDocument/2006/relationships/notesSlide" Target="../notesSlides/notesSlide20.xml"/><Relationship Id="rId1" Type="http://schemas.openxmlformats.org/officeDocument/2006/relationships/slideLayout" Target="../slideLayouts/slideLayout61.xml"/><Relationship Id="rId5" Type="http://schemas.microsoft.com/office/2007/relationships/hdphoto" Target="../media/hdphoto1.wdp"/><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2" Type="http://schemas.microsoft.com/office/2018/10/relationships/comments" Target="../comments/modernComment_1AC_8F461FB6.xml"/><Relationship Id="rId1" Type="http://schemas.openxmlformats.org/officeDocument/2006/relationships/slideLayout" Target="../slideLayouts/slideLayout68.xml"/></Relationships>
</file>

<file path=ppt/slides/_rels/slide49.xml.rels><?xml version="1.0" encoding="UTF-8" standalone="yes"?>
<Relationships xmlns="http://schemas.openxmlformats.org/package/2006/relationships"><Relationship Id="rId2" Type="http://schemas.microsoft.com/office/2018/10/relationships/comments" Target="../comments/modernComment_1AD_C0A163F8.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92.xml"/></Relationships>
</file>

<file path=ppt/slides/_rels/slide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1.png"/><Relationship Id="rId1" Type="http://schemas.openxmlformats.org/officeDocument/2006/relationships/slideLayout" Target="../slideLayouts/slideLayout1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52.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hyperlink" Target="https://rsmus.com/insights/economics/the-3-pillars-of-artificial-intelligence.html" TargetMode="External"/><Relationship Id="rId7" Type="http://schemas.openxmlformats.org/officeDocument/2006/relationships/hyperlink" Target="https://rsmus.com/events/2023-events/data-analytics-ai-webcast-series.html" TargetMode="External"/><Relationship Id="rId2" Type="http://schemas.openxmlformats.org/officeDocument/2006/relationships/notesSlide" Target="../notesSlides/notesSlide21.xml"/><Relationship Id="rId1" Type="http://schemas.openxmlformats.org/officeDocument/2006/relationships/slideLayout" Target="../slideLayouts/slideLayout133.xml"/><Relationship Id="rId6" Type="http://schemas.openxmlformats.org/officeDocument/2006/relationships/hyperlink" Target="https://www.netsuite.com/portal/resource/articles/erp/ai-erp.shtml" TargetMode="External"/><Relationship Id="rId5" Type="http://schemas.openxmlformats.org/officeDocument/2006/relationships/hyperlink" Target="https://rsmus.com/insights/services/digital-transformation/capitalizing-on-ai.html" TargetMode="External"/><Relationship Id="rId4" Type="http://schemas.openxmlformats.org/officeDocument/2006/relationships/hyperlink" Target="https://rsmus.com/insights/services/digital-transformation/adopting-ai-in-a-responsible-way.html" TargetMode="External"/><Relationship Id="rId9" Type="http://schemas.openxmlformats.org/officeDocument/2006/relationships/image" Target="../media/image192.png"/></Relationships>
</file>

<file path=ppt/slides/_rels/slide53.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slideLayout" Target="../slideLayouts/slideLayout682.xml"/><Relationship Id="rId1" Type="http://schemas.openxmlformats.org/officeDocument/2006/relationships/tags" Target="../tags/tag291.xml"/><Relationship Id="rId5" Type="http://schemas.openxmlformats.org/officeDocument/2006/relationships/image" Target="../media/image195.png"/><Relationship Id="rId4" Type="http://schemas.openxmlformats.org/officeDocument/2006/relationships/image" Target="../media/image194.png"/></Relationships>
</file>

<file path=ppt/slides/_rels/slide54.xml.rels><?xml version="1.0" encoding="UTF-8" standalone="yes"?>
<Relationships xmlns="http://schemas.openxmlformats.org/package/2006/relationships"><Relationship Id="rId8" Type="http://schemas.openxmlformats.org/officeDocument/2006/relationships/image" Target="../media/image201.png"/><Relationship Id="rId13" Type="http://schemas.openxmlformats.org/officeDocument/2006/relationships/image" Target="../media/image206.png"/><Relationship Id="rId18" Type="http://schemas.openxmlformats.org/officeDocument/2006/relationships/image" Target="../media/image211.png"/><Relationship Id="rId26" Type="http://schemas.openxmlformats.org/officeDocument/2006/relationships/image" Target="../media/image219.png"/><Relationship Id="rId3" Type="http://schemas.openxmlformats.org/officeDocument/2006/relationships/image" Target="../media/image196.png"/><Relationship Id="rId21" Type="http://schemas.openxmlformats.org/officeDocument/2006/relationships/image" Target="../media/image214.png"/><Relationship Id="rId7" Type="http://schemas.openxmlformats.org/officeDocument/2006/relationships/image" Target="../media/image200.png"/><Relationship Id="rId12" Type="http://schemas.openxmlformats.org/officeDocument/2006/relationships/image" Target="../media/image205.png"/><Relationship Id="rId17" Type="http://schemas.openxmlformats.org/officeDocument/2006/relationships/image" Target="../media/image210.png"/><Relationship Id="rId25" Type="http://schemas.openxmlformats.org/officeDocument/2006/relationships/image" Target="../media/image218.png"/><Relationship Id="rId2" Type="http://schemas.microsoft.com/office/2018/10/relationships/comments" Target="../comments/modernComment_7FFFFEF8_0.xml"/><Relationship Id="rId16" Type="http://schemas.openxmlformats.org/officeDocument/2006/relationships/image" Target="../media/image209.png"/><Relationship Id="rId20" Type="http://schemas.openxmlformats.org/officeDocument/2006/relationships/image" Target="../media/image213.png"/><Relationship Id="rId1" Type="http://schemas.openxmlformats.org/officeDocument/2006/relationships/slideLayout" Target="../slideLayouts/slideLayout27.xml"/><Relationship Id="rId6" Type="http://schemas.openxmlformats.org/officeDocument/2006/relationships/image" Target="../media/image199.png"/><Relationship Id="rId11" Type="http://schemas.openxmlformats.org/officeDocument/2006/relationships/image" Target="../media/image204.png"/><Relationship Id="rId24" Type="http://schemas.openxmlformats.org/officeDocument/2006/relationships/image" Target="../media/image217.png"/><Relationship Id="rId5" Type="http://schemas.openxmlformats.org/officeDocument/2006/relationships/image" Target="../media/image198.png"/><Relationship Id="rId15" Type="http://schemas.openxmlformats.org/officeDocument/2006/relationships/image" Target="../media/image208.png"/><Relationship Id="rId23" Type="http://schemas.openxmlformats.org/officeDocument/2006/relationships/image" Target="../media/image216.png"/><Relationship Id="rId10" Type="http://schemas.openxmlformats.org/officeDocument/2006/relationships/image" Target="../media/image203.png"/><Relationship Id="rId19" Type="http://schemas.openxmlformats.org/officeDocument/2006/relationships/image" Target="../media/image212.png"/><Relationship Id="rId4" Type="http://schemas.openxmlformats.org/officeDocument/2006/relationships/image" Target="../media/image197.png"/><Relationship Id="rId9" Type="http://schemas.openxmlformats.org/officeDocument/2006/relationships/image" Target="../media/image202.png"/><Relationship Id="rId14" Type="http://schemas.openxmlformats.org/officeDocument/2006/relationships/image" Target="../media/image207.png"/><Relationship Id="rId22" Type="http://schemas.openxmlformats.org/officeDocument/2006/relationships/image" Target="../media/image215.png"/><Relationship Id="rId27" Type="http://schemas.openxmlformats.org/officeDocument/2006/relationships/image" Target="../media/image220.png"/></Relationships>
</file>

<file path=ppt/slides/_rels/slide55.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22.png"/><Relationship Id="rId7" Type="http://schemas.openxmlformats.org/officeDocument/2006/relationships/image" Target="../media/image226.png"/><Relationship Id="rId2" Type="http://schemas.openxmlformats.org/officeDocument/2006/relationships/image" Target="../media/image221.png"/><Relationship Id="rId1" Type="http://schemas.openxmlformats.org/officeDocument/2006/relationships/slideLayout" Target="../slideLayouts/slideLayout19.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223.png"/></Relationships>
</file>

<file path=ppt/slides/_rels/slide6.xml.rels><?xml version="1.0" encoding="UTF-8" standalone="yes"?>
<Relationships xmlns="http://schemas.openxmlformats.org/package/2006/relationships"><Relationship Id="rId3" Type="http://schemas.openxmlformats.org/officeDocument/2006/relationships/image" Target="../media/image78.png"/><Relationship Id="rId2" Type="http://schemas.microsoft.com/office/2018/10/relationships/comments" Target="../comments/modernComment_7FFFCA37_23B74910.xml"/><Relationship Id="rId1" Type="http://schemas.openxmlformats.org/officeDocument/2006/relationships/slideLayout" Target="../slideLayouts/slideLayout130.xml"/><Relationship Id="rId4" Type="http://schemas.openxmlformats.org/officeDocument/2006/relationships/image" Target="../media/image79.png"/></Relationships>
</file>

<file path=ppt/slides/_rels/slide7.xml.rels><?xml version="1.0" encoding="UTF-8" standalone="yes"?>
<Relationships xmlns="http://schemas.openxmlformats.org/package/2006/relationships"><Relationship Id="rId3" Type="http://schemas.microsoft.com/office/2018/10/relationships/comments" Target="../comments/modernComment_7FFFCAAF_995886DD.xml"/><Relationship Id="rId2" Type="http://schemas.openxmlformats.org/officeDocument/2006/relationships/notesSlide" Target="../notesSlides/notesSlide3.xml"/><Relationship Id="rId1" Type="http://schemas.openxmlformats.org/officeDocument/2006/relationships/slideLayout" Target="../slideLayouts/slideLayout130.xml"/><Relationship Id="rId4" Type="http://schemas.openxmlformats.org/officeDocument/2006/relationships/image" Target="../media/image80.png"/></Relationships>
</file>

<file path=ppt/slides/_rels/slide8.xml.rels><?xml version="1.0" encoding="UTF-8" standalone="yes"?>
<Relationships xmlns="http://schemas.openxmlformats.org/package/2006/relationships"><Relationship Id="rId3" Type="http://schemas.microsoft.com/office/2018/10/relationships/comments" Target="../comments/modernComment_162_11C04FE2.xml"/><Relationship Id="rId2" Type="http://schemas.openxmlformats.org/officeDocument/2006/relationships/notesSlide" Target="../notesSlides/notesSlide4.xml"/><Relationship Id="rId1" Type="http://schemas.openxmlformats.org/officeDocument/2006/relationships/slideLayout" Target="../slideLayouts/slideLayout178.xml"/></Relationships>
</file>

<file path=ppt/slides/_rels/slide9.xml.rels><?xml version="1.0" encoding="UTF-8" standalone="yes"?>
<Relationships xmlns="http://schemas.openxmlformats.org/package/2006/relationships"><Relationship Id="rId3" Type="http://schemas.microsoft.com/office/2018/10/relationships/comments" Target="../comments/modernComment_160_EDAAB926.xml"/><Relationship Id="rId2" Type="http://schemas.openxmlformats.org/officeDocument/2006/relationships/notesSlide" Target="../notesSlides/notesSlide5.xml"/><Relationship Id="rId1" Type="http://schemas.openxmlformats.org/officeDocument/2006/relationships/slideLayout" Target="../slideLayouts/slideLayout1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216C9-A3F2-BFE1-3D05-ED1EC8061117}"/>
              </a:ext>
            </a:extLst>
          </p:cNvPr>
          <p:cNvSpPr>
            <a:spLocks noGrp="1"/>
          </p:cNvSpPr>
          <p:nvPr>
            <p:ph type="title"/>
          </p:nvPr>
        </p:nvSpPr>
        <p:spPr>
          <a:xfrm>
            <a:off x="5908310" y="1657385"/>
            <a:ext cx="6026393" cy="1118863"/>
          </a:xfrm>
        </p:spPr>
        <p:txBody>
          <a:bodyPr/>
          <a:lstStyle/>
          <a:p>
            <a:r>
              <a:rPr lang="en-US"/>
              <a:t>ASCEND NATIONAL COHORT PROGRAM</a:t>
            </a:r>
          </a:p>
        </p:txBody>
      </p:sp>
      <p:sp>
        <p:nvSpPr>
          <p:cNvPr id="10" name="Content Placeholder 9">
            <a:extLst>
              <a:ext uri="{FF2B5EF4-FFF2-40B4-BE49-F238E27FC236}">
                <a16:creationId xmlns:a16="http://schemas.microsoft.com/office/drawing/2014/main" id="{25E2DE95-E646-FD06-BC52-F68CE9EFE357}"/>
              </a:ext>
            </a:extLst>
          </p:cNvPr>
          <p:cNvSpPr>
            <a:spLocks noGrp="1"/>
          </p:cNvSpPr>
          <p:nvPr>
            <p:ph idx="1"/>
          </p:nvPr>
        </p:nvSpPr>
        <p:spPr>
          <a:xfrm>
            <a:off x="5556008" y="2352561"/>
            <a:ext cx="5898660" cy="4353039"/>
          </a:xfrm>
        </p:spPr>
        <p:txBody>
          <a:bodyPr/>
          <a:lstStyle/>
          <a:p>
            <a:endParaRPr lang="en-US"/>
          </a:p>
          <a:p>
            <a:endParaRPr lang="en-US"/>
          </a:p>
          <a:p>
            <a:r>
              <a:rPr lang="en-US"/>
              <a:t>     </a:t>
            </a:r>
            <a:r>
              <a:rPr lang="en-US" sz="2400"/>
              <a:t> Financial Systems Transformation I</a:t>
            </a:r>
          </a:p>
        </p:txBody>
      </p:sp>
      <p:pic>
        <p:nvPicPr>
          <p:cNvPr id="38" name="Picture Placeholder 37">
            <a:extLst>
              <a:ext uri="{FF2B5EF4-FFF2-40B4-BE49-F238E27FC236}">
                <a16:creationId xmlns:a16="http://schemas.microsoft.com/office/drawing/2014/main" id="{36AB0E84-11ED-B7EC-F10E-1020F0D294A5}"/>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p:blipFill>
        <p:spPr>
          <a:xfrm>
            <a:off x="0" y="0"/>
            <a:ext cx="5316538" cy="6858000"/>
          </a:xfrm>
        </p:spPr>
      </p:pic>
      <p:sp>
        <p:nvSpPr>
          <p:cNvPr id="5" name="TextBox 4">
            <a:extLst>
              <a:ext uri="{FF2B5EF4-FFF2-40B4-BE49-F238E27FC236}">
                <a16:creationId xmlns:a16="http://schemas.microsoft.com/office/drawing/2014/main" id="{AE3CF967-74F2-7AAF-0347-FACFE50B8795}"/>
              </a:ext>
            </a:extLst>
          </p:cNvPr>
          <p:cNvSpPr txBox="1"/>
          <p:nvPr/>
        </p:nvSpPr>
        <p:spPr>
          <a:xfrm>
            <a:off x="5908310" y="4780051"/>
            <a:ext cx="6096000" cy="420564"/>
          </a:xfrm>
          <a:prstGeom prst="rect">
            <a:avLst/>
          </a:prstGeom>
          <a:noFill/>
        </p:spPr>
        <p:txBody>
          <a:bodyPr wrap="square">
            <a:spAutoFit/>
          </a:bodyPr>
          <a:lstStyle/>
          <a:p>
            <a:r>
              <a:rPr lang="en-US">
                <a:solidFill>
                  <a:schemeClr val="accent4">
                    <a:lumMod val="50000"/>
                  </a:schemeClr>
                </a:solidFill>
              </a:rPr>
              <a:t>November 21, 2025</a:t>
            </a:r>
          </a:p>
        </p:txBody>
      </p:sp>
    </p:spTree>
    <p:extLst>
      <p:ext uri="{BB962C8B-B14F-4D97-AF65-F5344CB8AC3E}">
        <p14:creationId xmlns:p14="http://schemas.microsoft.com/office/powerpoint/2010/main" val="1952264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992729-6087-4230-A0BB-BD746FFC32CE}"/>
              </a:ext>
            </a:extLst>
          </p:cNvPr>
          <p:cNvSpPr>
            <a:spLocks noGrp="1"/>
          </p:cNvSpPr>
          <p:nvPr>
            <p:ph type="title"/>
          </p:nvPr>
        </p:nvSpPr>
        <p:spPr>
          <a:xfrm>
            <a:off x="890758" y="2030737"/>
            <a:ext cx="10621792" cy="553998"/>
          </a:xfrm>
        </p:spPr>
        <p:txBody>
          <a:bodyPr>
            <a:noAutofit/>
          </a:bodyPr>
          <a:lstStyle/>
          <a:p>
            <a:r>
              <a:rPr lang="en-US" sz="4400"/>
              <a:t>INTRODUCTION</a:t>
            </a:r>
            <a:endParaRPr lang="en-US" sz="6600"/>
          </a:p>
        </p:txBody>
      </p:sp>
      <p:pic>
        <p:nvPicPr>
          <p:cNvPr id="2" name="Picture 2" descr="Ascend ">
            <a:extLst>
              <a:ext uri="{FF2B5EF4-FFF2-40B4-BE49-F238E27FC236}">
                <a16:creationId xmlns:a16="http://schemas.microsoft.com/office/drawing/2014/main" id="{8B4C47C2-0384-E7A9-EAD7-1158FC013510}"/>
              </a:ext>
            </a:extLst>
          </p:cNvPr>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a14:imgLayer r:embed="rId4">
                    <a14:imgEffect>
                      <a14:sharpenSoften amount="1000"/>
                    </a14:imgEffect>
                  </a14:imgLayer>
                </a14:imgProps>
              </a:ext>
              <a:ext uri="{28A0092B-C50C-407E-A947-70E740481C1C}">
                <a14:useLocalDpi xmlns:a14="http://schemas.microsoft.com/office/drawing/2010/main" val="0"/>
              </a:ext>
            </a:extLst>
          </a:blip>
          <a:srcRect/>
          <a:stretch>
            <a:fillRect/>
          </a:stretch>
        </p:blipFill>
        <p:spPr bwMode="auto">
          <a:xfrm>
            <a:off x="224287" y="5935919"/>
            <a:ext cx="2182483" cy="637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145135"/>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0">
            <a:extLst>
              <a:ext uri="{FF2B5EF4-FFF2-40B4-BE49-F238E27FC236}">
                <a16:creationId xmlns:a16="http://schemas.microsoft.com/office/drawing/2014/main" id="{B76C1BD3-3130-46E9-9A04-1A089D054153}"/>
              </a:ext>
            </a:extLst>
          </p:cNvPr>
          <p:cNvSpPr txBox="1">
            <a:spLocks/>
          </p:cNvSpPr>
          <p:nvPr/>
        </p:nvSpPr>
        <p:spPr>
          <a:xfrm>
            <a:off x="4013200" y="1902216"/>
            <a:ext cx="2463065" cy="197846"/>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600" b="1">
                <a:solidFill>
                  <a:schemeClr val="accent6">
                    <a:lumMod val="75000"/>
                    <a:lumOff val="25000"/>
                  </a:schemeClr>
                </a:solidFill>
              </a:rPr>
              <a:t>Ravi Bodla, Principal</a:t>
            </a:r>
          </a:p>
        </p:txBody>
      </p:sp>
      <p:sp>
        <p:nvSpPr>
          <p:cNvPr id="21" name="Text Placeholder 11">
            <a:extLst>
              <a:ext uri="{FF2B5EF4-FFF2-40B4-BE49-F238E27FC236}">
                <a16:creationId xmlns:a16="http://schemas.microsoft.com/office/drawing/2014/main" id="{9723D8D6-6ABE-4B18-9ECF-EBCD6CB41E94}"/>
              </a:ext>
            </a:extLst>
          </p:cNvPr>
          <p:cNvSpPr txBox="1">
            <a:spLocks/>
          </p:cNvSpPr>
          <p:nvPr/>
        </p:nvSpPr>
        <p:spPr>
          <a:xfrm>
            <a:off x="6323348" y="1918187"/>
            <a:ext cx="2837280" cy="243877"/>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400">
                <a:solidFill>
                  <a:srgbClr val="000000"/>
                </a:solidFill>
                <a:latin typeface="Arial" panose="020B0604020202020204" pitchFamily="34" charset="0"/>
                <a:ea typeface="Calibri" panose="020F0502020204030204" pitchFamily="34" charset="0"/>
              </a:rPr>
              <a:t>Consulting | Data Digital Services</a:t>
            </a:r>
          </a:p>
        </p:txBody>
      </p:sp>
      <p:sp>
        <p:nvSpPr>
          <p:cNvPr id="22" name="Text Placeholder 13">
            <a:extLst>
              <a:ext uri="{FF2B5EF4-FFF2-40B4-BE49-F238E27FC236}">
                <a16:creationId xmlns:a16="http://schemas.microsoft.com/office/drawing/2014/main" id="{59CDCB55-2660-44E7-8F48-FF4769B10635}"/>
              </a:ext>
            </a:extLst>
          </p:cNvPr>
          <p:cNvSpPr txBox="1">
            <a:spLocks/>
          </p:cNvSpPr>
          <p:nvPr/>
        </p:nvSpPr>
        <p:spPr>
          <a:xfrm>
            <a:off x="2422897" y="977618"/>
            <a:ext cx="6658887" cy="845553"/>
          </a:xfrm>
          <a:prstGeom prst="rect">
            <a:avLst/>
          </a:prstGeom>
          <a:solidFill>
            <a:srgbClr val="CCEBF8"/>
          </a:solidFill>
          <a:ln>
            <a:solidFill>
              <a:srgbClr val="CCEBF8"/>
            </a:solidFill>
          </a:ln>
        </p:spPr>
        <p:txBody>
          <a:bodyPr vert="horz" lIns="0" tIns="0" rIns="0" bIns="0" numCol="1" spcCol="360000" rtlCol="0" anchor="t">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600">
                <a:solidFill>
                  <a:srgbClr val="63666A"/>
                </a:solidFill>
                <a:latin typeface="Calibri"/>
                <a:ea typeface="Calibri"/>
                <a:cs typeface="Arial"/>
              </a:rPr>
              <a:t>Graydon began his career as a CPA and now serves as a national subject matter expert on lead to cash, revenue, complex billing, and ASC 606. He also advises clients on financial management systems.</a:t>
            </a:r>
          </a:p>
          <a:p>
            <a:endParaRPr lang="en-US">
              <a:solidFill>
                <a:srgbClr val="63666A"/>
              </a:solidFill>
            </a:endParaRPr>
          </a:p>
        </p:txBody>
      </p:sp>
      <p:sp>
        <p:nvSpPr>
          <p:cNvPr id="23" name="Text Placeholder 14">
            <a:extLst>
              <a:ext uri="{FF2B5EF4-FFF2-40B4-BE49-F238E27FC236}">
                <a16:creationId xmlns:a16="http://schemas.microsoft.com/office/drawing/2014/main" id="{83D4E702-13B4-4B6A-A9C8-063A020E5DA5}"/>
              </a:ext>
            </a:extLst>
          </p:cNvPr>
          <p:cNvSpPr txBox="1">
            <a:spLocks/>
          </p:cNvSpPr>
          <p:nvPr/>
        </p:nvSpPr>
        <p:spPr>
          <a:xfrm>
            <a:off x="2422897" y="493261"/>
            <a:ext cx="3139703" cy="382448"/>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600" b="1"/>
              <a:t>Graydon Smith, Principal</a:t>
            </a:r>
          </a:p>
        </p:txBody>
      </p:sp>
      <p:sp>
        <p:nvSpPr>
          <p:cNvPr id="24" name="Text Placeholder 15">
            <a:extLst>
              <a:ext uri="{FF2B5EF4-FFF2-40B4-BE49-F238E27FC236}">
                <a16:creationId xmlns:a16="http://schemas.microsoft.com/office/drawing/2014/main" id="{BBDE531B-E38F-483C-866D-6F27338E1209}"/>
              </a:ext>
            </a:extLst>
          </p:cNvPr>
          <p:cNvSpPr txBox="1">
            <a:spLocks/>
          </p:cNvSpPr>
          <p:nvPr/>
        </p:nvSpPr>
        <p:spPr>
          <a:xfrm>
            <a:off x="5381230" y="527294"/>
            <a:ext cx="3949700" cy="463615"/>
          </a:xfrm>
          <a:prstGeom prst="rect">
            <a:avLst/>
          </a:prstGeom>
        </p:spPr>
        <p:txBody>
          <a:bodyPr vert="horz" lIns="0" tIns="0" rIns="0" bIns="0" numCol="1" spcCol="360000" rtlCol="0" anchor="t">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400">
                <a:solidFill>
                  <a:srgbClr val="000000"/>
                </a:solidFill>
                <a:latin typeface="Arial"/>
                <a:ea typeface="Calibri"/>
                <a:cs typeface="Arial"/>
              </a:rPr>
              <a:t>Consulting | Business Applications</a:t>
            </a:r>
            <a:endParaRPr lang="en-US" sz="1400"/>
          </a:p>
        </p:txBody>
      </p:sp>
      <p:sp>
        <p:nvSpPr>
          <p:cNvPr id="25" name="Text Placeholder 18">
            <a:extLst>
              <a:ext uri="{FF2B5EF4-FFF2-40B4-BE49-F238E27FC236}">
                <a16:creationId xmlns:a16="http://schemas.microsoft.com/office/drawing/2014/main" id="{3C6EC251-E9CA-4A5C-AC37-B36B580F604C}"/>
              </a:ext>
            </a:extLst>
          </p:cNvPr>
          <p:cNvSpPr txBox="1">
            <a:spLocks/>
          </p:cNvSpPr>
          <p:nvPr/>
        </p:nvSpPr>
        <p:spPr>
          <a:xfrm>
            <a:off x="3899613" y="5129033"/>
            <a:ext cx="2963232" cy="335492"/>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600" b="1">
                <a:solidFill>
                  <a:srgbClr val="009CDE"/>
                </a:solidFill>
              </a:rPr>
              <a:t>Traci Broyles, Manager</a:t>
            </a:r>
          </a:p>
        </p:txBody>
      </p:sp>
      <p:sp>
        <p:nvSpPr>
          <p:cNvPr id="26" name="Text Placeholder 19">
            <a:extLst>
              <a:ext uri="{FF2B5EF4-FFF2-40B4-BE49-F238E27FC236}">
                <a16:creationId xmlns:a16="http://schemas.microsoft.com/office/drawing/2014/main" id="{2ED8A88A-8151-4E68-806A-A08DA3FD9D7F}"/>
              </a:ext>
            </a:extLst>
          </p:cNvPr>
          <p:cNvSpPr txBox="1">
            <a:spLocks/>
          </p:cNvSpPr>
          <p:nvPr/>
        </p:nvSpPr>
        <p:spPr>
          <a:xfrm>
            <a:off x="4779251" y="3582859"/>
            <a:ext cx="2471355" cy="311052"/>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400">
                <a:solidFill>
                  <a:srgbClr val="000000"/>
                </a:solidFill>
                <a:latin typeface="Arial" panose="020B0604020202020204" pitchFamily="34" charset="0"/>
                <a:ea typeface="Calibri" panose="020F0502020204030204" pitchFamily="34" charset="0"/>
              </a:rPr>
              <a:t>Consulting | Cloud Services</a:t>
            </a:r>
          </a:p>
        </p:txBody>
      </p:sp>
      <p:sp>
        <p:nvSpPr>
          <p:cNvPr id="27" name="Text Placeholder 5">
            <a:extLst>
              <a:ext uri="{FF2B5EF4-FFF2-40B4-BE49-F238E27FC236}">
                <a16:creationId xmlns:a16="http://schemas.microsoft.com/office/drawing/2014/main" id="{CF2962EE-6A7D-4FE2-B099-6444445602F2}"/>
              </a:ext>
            </a:extLst>
          </p:cNvPr>
          <p:cNvSpPr txBox="1">
            <a:spLocks/>
          </p:cNvSpPr>
          <p:nvPr/>
        </p:nvSpPr>
        <p:spPr>
          <a:xfrm>
            <a:off x="2422897" y="5594139"/>
            <a:ext cx="6658887" cy="1077218"/>
          </a:xfrm>
          <a:prstGeom prst="rect">
            <a:avLst/>
          </a:prstGeom>
          <a:solidFill>
            <a:srgbClr val="D6EDEA"/>
          </a:solidFill>
          <a:ln>
            <a:solidFill>
              <a:srgbClr val="D6EDEA"/>
            </a:solidFill>
          </a:ln>
        </p:spPr>
        <p:txBody>
          <a:bodyPr vert="horz" lIns="0" tIns="0" rIns="0" bIns="0" numCol="1" spcCol="360000" rtlCol="0" anchor="t">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r>
              <a:rPr lang="en-US" sz="1600">
                <a:solidFill>
                  <a:srgbClr val="63666A"/>
                </a:solidFill>
                <a:latin typeface="Calibri" panose="020F0502020204030204" pitchFamily="34" charset="0"/>
                <a:ea typeface="Calibri" panose="020F0502020204030204" pitchFamily="34" charset="0"/>
              </a:rPr>
              <a:t>Traci advises client on business transformation using technology applications, primarily NetSuite. She is focused on ERP design and maintenance, acquisition integration, complex accounting issues, and financial management </a:t>
            </a:r>
            <a:r>
              <a:rPr lang="en-US" sz="1600">
                <a:solidFill>
                  <a:srgbClr val="63666A"/>
                </a:solidFill>
                <a:latin typeface="Calibri" panose="020F0502020204030204" pitchFamily="34" charset="0"/>
                <a:cs typeface="Calibri" panose="020F0502020204030204" pitchFamily="34" charset="0"/>
              </a:rPr>
              <a:t> </a:t>
            </a:r>
            <a:endParaRPr lang="en-US" sz="1600">
              <a:solidFill>
                <a:srgbClr val="63666A"/>
              </a:solidFill>
              <a:latin typeface="Calibri" panose="020F0502020204030204" pitchFamily="34" charset="0"/>
              <a:ea typeface="Calibri"/>
              <a:cs typeface="Calibri" panose="020F0502020204030204" pitchFamily="34" charset="0"/>
            </a:endParaRPr>
          </a:p>
        </p:txBody>
      </p:sp>
      <p:sp>
        <p:nvSpPr>
          <p:cNvPr id="28" name="Text Placeholder 9">
            <a:extLst>
              <a:ext uri="{FF2B5EF4-FFF2-40B4-BE49-F238E27FC236}">
                <a16:creationId xmlns:a16="http://schemas.microsoft.com/office/drawing/2014/main" id="{1E38C40D-FBF2-4B01-B758-EEEC642122B0}"/>
              </a:ext>
            </a:extLst>
          </p:cNvPr>
          <p:cNvSpPr txBox="1">
            <a:spLocks/>
          </p:cNvSpPr>
          <p:nvPr/>
        </p:nvSpPr>
        <p:spPr>
          <a:xfrm>
            <a:off x="2444370" y="2282829"/>
            <a:ext cx="6658887" cy="1129387"/>
          </a:xfrm>
          <a:prstGeom prst="rect">
            <a:avLst/>
          </a:prstGeom>
          <a:solidFill>
            <a:srgbClr val="E7E7E8"/>
          </a:solidFill>
          <a:ln>
            <a:solidFill>
              <a:srgbClr val="E7E7E8"/>
            </a:solidFill>
          </a:ln>
        </p:spPr>
        <p:txBody>
          <a:bodyPr vert="horz" lIns="91440" tIns="45720" rIns="91440" bIns="4572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pPr algn="r"/>
            <a:r>
              <a:rPr lang="en-US" sz="1600">
                <a:solidFill>
                  <a:srgbClr val="63666A"/>
                </a:solidFill>
                <a:latin typeface="Calibri" panose="020F0502020204030204" pitchFamily="34" charset="0"/>
                <a:ea typeface="Calibri" panose="020F0502020204030204" pitchFamily="34" charset="0"/>
                <a:cs typeface="Calibri" panose="020F0502020204030204" pitchFamily="34" charset="0"/>
              </a:rPr>
              <a:t>Ravi is a </a:t>
            </a:r>
            <a:r>
              <a:rPr lang="en-US" sz="1600">
                <a:latin typeface="Calibri" panose="020F0502020204030204" pitchFamily="34" charset="0"/>
                <a:ea typeface="Calibri" panose="020F0502020204030204" pitchFamily="34" charset="0"/>
                <a:cs typeface="Calibri" panose="020F0502020204030204" pitchFamily="34" charset="0"/>
              </a:rPr>
              <a:t>Principal in RSM’s Digital and Data Services practice and serve as the firm’s National Business Intelligence Leader. In this role, he lead teams that help organizations strategically harness the power of data to drive growth, improve productivity, and deliver meaningful business outcomes.</a:t>
            </a:r>
            <a:r>
              <a:rPr lang="en-US" sz="1600">
                <a:solidFill>
                  <a:srgbClr val="63666A"/>
                </a:solidFill>
                <a:latin typeface="Calibri" panose="020F0502020204030204" pitchFamily="34" charset="0"/>
                <a:ea typeface="Calibri" panose="020F0502020204030204" pitchFamily="34" charset="0"/>
                <a:cs typeface="Calibri" panose="020F0502020204030204" pitchFamily="34" charset="0"/>
              </a:rPr>
              <a:t> </a:t>
            </a:r>
          </a:p>
        </p:txBody>
      </p:sp>
      <p:sp>
        <p:nvSpPr>
          <p:cNvPr id="29" name="Text Placeholder 6">
            <a:extLst>
              <a:ext uri="{FF2B5EF4-FFF2-40B4-BE49-F238E27FC236}">
                <a16:creationId xmlns:a16="http://schemas.microsoft.com/office/drawing/2014/main" id="{BAD0921B-CB8B-0910-B5B8-11FF69713139}"/>
              </a:ext>
            </a:extLst>
          </p:cNvPr>
          <p:cNvSpPr txBox="1">
            <a:spLocks/>
          </p:cNvSpPr>
          <p:nvPr/>
        </p:nvSpPr>
        <p:spPr>
          <a:xfrm>
            <a:off x="2474182" y="3594983"/>
            <a:ext cx="2553896" cy="286804"/>
          </a:xfrm>
          <a:prstGeom prst="rect">
            <a:avLst/>
          </a:prstGeom>
        </p:spPr>
        <p:txBody>
          <a:bodyPr vert="horz" lIns="0" tIns="0" rIns="0" bIns="0" numCol="1" spcCol="360000" rtlCol="0" anchor="t">
            <a:noAutofit/>
          </a:bodyPr>
          <a:lstStyle>
            <a:lvl1pPr marL="0" indent="0" algn="l" defTabSz="1088333" rtl="0" eaLnBrk="1" latinLnBrk="0" hangingPunct="1">
              <a:lnSpc>
                <a:spcPct val="100000"/>
              </a:lnSpc>
              <a:spcBef>
                <a:spcPts val="1000"/>
              </a:spcBef>
              <a:spcAft>
                <a:spcPts val="0"/>
              </a:spcAft>
              <a:buFontTx/>
              <a:buNone/>
              <a:defRPr sz="1400" b="1" kern="1200" baseline="0">
                <a:solidFill>
                  <a:schemeClr val="accent2"/>
                </a:solidFill>
                <a:latin typeface="Arial" panose="020B0604020202020204" pitchFamily="34" charset="0"/>
                <a:ea typeface="+mn-ea"/>
                <a:cs typeface="Arial" panose="020B0604020202020204" pitchFamily="34" charset="0"/>
              </a:defRPr>
            </a:lvl1pPr>
            <a:lvl2pPr marL="228600" indent="-228600" algn="l" defTabSz="1088333" rtl="0" eaLnBrk="1" latinLnBrk="0" hangingPunct="1">
              <a:lnSpc>
                <a:spcPct val="100000"/>
              </a:lnSpc>
              <a:spcBef>
                <a:spcPts val="1000"/>
              </a:spcBef>
              <a:spcAft>
                <a:spcPts val="0"/>
              </a:spcAft>
              <a:buClr>
                <a:srgbClr val="63666A"/>
              </a:buClr>
              <a:buFont typeface="Wingdings" panose="05000000000000000000" pitchFamily="2" charset="2"/>
              <a:buChar char=""/>
              <a:defRPr sz="1600" kern="1200">
                <a:solidFill>
                  <a:schemeClr val="tx1"/>
                </a:solidFill>
                <a:latin typeface="+mn-lt"/>
                <a:ea typeface="+mn-ea"/>
                <a:cs typeface="+mn-cs"/>
              </a:defRPr>
            </a:lvl2pPr>
            <a:lvl3pPr marL="6858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defRPr sz="1400" kern="1200" baseline="0">
                <a:solidFill>
                  <a:schemeClr val="tx1"/>
                </a:solidFill>
                <a:latin typeface="+mn-lt"/>
                <a:ea typeface="+mn-ea"/>
                <a:cs typeface="+mn-cs"/>
              </a:defRPr>
            </a:lvl3pPr>
            <a:lvl4pPr marL="1143000" indent="-228600" algn="l" defTabSz="1088333" rtl="0" eaLnBrk="1" latinLnBrk="0" hangingPunct="1">
              <a:lnSpc>
                <a:spcPct val="100000"/>
              </a:lnSpc>
              <a:spcBef>
                <a:spcPts val="500"/>
              </a:spcBef>
              <a:spcAft>
                <a:spcPts val="0"/>
              </a:spcAft>
              <a:buFont typeface="Arial" panose="020B0604020202020204" pitchFamily="34" charset="0"/>
              <a:buChar char="•"/>
              <a:defRPr sz="1200" kern="1200">
                <a:solidFill>
                  <a:schemeClr val="tx1"/>
                </a:solidFill>
                <a:latin typeface="+mn-lt"/>
                <a:ea typeface="+mn-ea"/>
                <a:cs typeface="+mn-cs"/>
              </a:defRPr>
            </a:lvl4pPr>
            <a:lvl5pPr marL="16002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tabLst/>
              <a:defRPr sz="1200" kern="1200" baseline="0">
                <a:solidFill>
                  <a:schemeClr val="tx1"/>
                </a:solidFill>
                <a:latin typeface="+mn-lt"/>
                <a:ea typeface="+mn-ea"/>
                <a:cs typeface="+mn-cs"/>
              </a:defRPr>
            </a:lvl5pPr>
            <a:lvl6pPr marL="2057400" indent="-228600" algn="l" defTabSz="1088333" rtl="0" eaLnBrk="1" latinLnBrk="0" hangingPunct="1">
              <a:lnSpc>
                <a:spcPct val="100000"/>
              </a:lnSpc>
              <a:spcBef>
                <a:spcPts val="500"/>
              </a:spcBef>
              <a:spcAft>
                <a:spcPts val="0"/>
              </a:spcAft>
              <a:buFont typeface="Arial" panose="020B0604020202020204" pitchFamily="34" charset="0"/>
              <a:buChar char="•"/>
              <a:defRPr sz="1800" kern="1200" cap="none" baseline="0">
                <a:solidFill>
                  <a:schemeClr val="tx1"/>
                </a:solidFill>
                <a:latin typeface="+mn-lt"/>
                <a:ea typeface="+mn-ea"/>
                <a:cs typeface="+mn-cs"/>
              </a:defRPr>
            </a:lvl6pPr>
            <a:lvl7pPr marL="0" indent="0" algn="l" defTabSz="1088333" rtl="0" eaLnBrk="1" latinLnBrk="0" hangingPunct="1">
              <a:lnSpc>
                <a:spcPct val="110000"/>
              </a:lnSpc>
              <a:spcBef>
                <a:spcPts val="0"/>
              </a:spcBef>
              <a:spcAft>
                <a:spcPts val="1333"/>
              </a:spcAft>
              <a:buFontTx/>
              <a:buNone/>
              <a:defRPr sz="3200" kern="1200" cap="none" baseline="0">
                <a:solidFill>
                  <a:schemeClr val="tx2"/>
                </a:solidFill>
                <a:latin typeface="+mj-lt"/>
                <a:ea typeface="+mn-ea"/>
                <a:cs typeface="+mn-cs"/>
              </a:defRPr>
            </a:lvl7pPr>
            <a:lvl8pPr marL="0" indent="0" algn="l" defTabSz="1088333" rtl="0" eaLnBrk="1" latinLnBrk="0" hangingPunct="1">
              <a:lnSpc>
                <a:spcPct val="110000"/>
              </a:lnSpc>
              <a:spcBef>
                <a:spcPts val="0"/>
              </a:spcBef>
              <a:spcAft>
                <a:spcPts val="681"/>
              </a:spcAft>
              <a:buFontTx/>
              <a:buNone/>
              <a:defRPr sz="3200" b="0" kern="1200" baseline="0">
                <a:solidFill>
                  <a:schemeClr val="accent1"/>
                </a:solidFill>
                <a:latin typeface="+mn-lt"/>
                <a:ea typeface="+mn-ea"/>
                <a:cs typeface="+mn-cs"/>
              </a:defRPr>
            </a:lvl8pPr>
            <a:lvl9pPr marL="0" indent="0" algn="l" defTabSz="1088333" rtl="0" eaLnBrk="1" latinLnBrk="0" hangingPunct="1">
              <a:lnSpc>
                <a:spcPct val="110000"/>
              </a:lnSpc>
              <a:spcBef>
                <a:spcPts val="0"/>
              </a:spcBef>
              <a:spcAft>
                <a:spcPts val="1136"/>
              </a:spcAft>
              <a:buFontTx/>
              <a:buNone/>
              <a:defRPr sz="2133" b="1" kern="1200" baseline="0">
                <a:solidFill>
                  <a:schemeClr val="accent1"/>
                </a:solidFill>
                <a:latin typeface="+mj-lt"/>
                <a:ea typeface="+mn-ea"/>
                <a:cs typeface="+mn-cs"/>
              </a:defRPr>
            </a:lvl9pPr>
          </a:lstStyle>
          <a:p>
            <a:r>
              <a:rPr lang="en-US" sz="1600">
                <a:latin typeface="Arial"/>
                <a:cs typeface="Arial"/>
              </a:rPr>
              <a:t>Talmeez Tahir, Manager</a:t>
            </a:r>
          </a:p>
        </p:txBody>
      </p:sp>
      <p:sp>
        <p:nvSpPr>
          <p:cNvPr id="30" name="Text Placeholder 19">
            <a:extLst>
              <a:ext uri="{FF2B5EF4-FFF2-40B4-BE49-F238E27FC236}">
                <a16:creationId xmlns:a16="http://schemas.microsoft.com/office/drawing/2014/main" id="{D8588D6D-8AC0-7108-FF1E-D84C2888BAE3}"/>
              </a:ext>
            </a:extLst>
          </p:cNvPr>
          <p:cNvSpPr txBox="1">
            <a:spLocks/>
          </p:cNvSpPr>
          <p:nvPr/>
        </p:nvSpPr>
        <p:spPr>
          <a:xfrm>
            <a:off x="6331202" y="5193840"/>
            <a:ext cx="2750582" cy="335492"/>
          </a:xfrm>
          <a:prstGeom prst="rect">
            <a:avLst/>
          </a:prstGeom>
        </p:spPr>
        <p:txBody>
          <a:bodyPr vert="horz" lIns="0" tIns="0" rIns="0" bIns="0" numCol="1" spcCol="360000" rtlCol="0">
            <a:noAutofit/>
          </a:bodyPr>
          <a:lstStyle>
            <a:lvl1pPr marL="0" indent="0" algn="l" defTabSz="1088333" rtl="0" eaLnBrk="1" latinLnBrk="0" hangingPunct="1">
              <a:lnSpc>
                <a:spcPct val="100000"/>
              </a:lnSpc>
              <a:spcBef>
                <a:spcPts val="1000"/>
              </a:spcBef>
              <a:spcAft>
                <a:spcPts val="0"/>
              </a:spcAft>
              <a:buFontTx/>
              <a:buNone/>
              <a:defRPr sz="1400" b="0" kern="1200" baseline="0">
                <a:solidFill>
                  <a:schemeClr val="accent2"/>
                </a:solidFill>
                <a:latin typeface="Arial" panose="020B0604020202020204" pitchFamily="34" charset="0"/>
                <a:ea typeface="+mn-ea"/>
                <a:cs typeface="Arial" panose="020B0604020202020204" pitchFamily="34" charset="0"/>
              </a:defRPr>
            </a:lvl1pPr>
            <a:lvl2pPr marL="228600" indent="-228600" algn="l" defTabSz="1088333" rtl="0" eaLnBrk="1" latinLnBrk="0" hangingPunct="1">
              <a:lnSpc>
                <a:spcPct val="100000"/>
              </a:lnSpc>
              <a:spcBef>
                <a:spcPts val="1000"/>
              </a:spcBef>
              <a:spcAft>
                <a:spcPts val="0"/>
              </a:spcAft>
              <a:buClr>
                <a:srgbClr val="63666A"/>
              </a:buClr>
              <a:buFont typeface="Wingdings" panose="05000000000000000000" pitchFamily="2" charset="2"/>
              <a:buChar char=""/>
              <a:defRPr sz="1600" kern="1200">
                <a:solidFill>
                  <a:schemeClr val="tx1"/>
                </a:solidFill>
                <a:latin typeface="+mn-lt"/>
                <a:ea typeface="+mn-ea"/>
                <a:cs typeface="+mn-cs"/>
              </a:defRPr>
            </a:lvl2pPr>
            <a:lvl3pPr marL="6858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defRPr sz="1400" kern="1200" baseline="0">
                <a:solidFill>
                  <a:schemeClr val="tx1"/>
                </a:solidFill>
                <a:latin typeface="+mn-lt"/>
                <a:ea typeface="+mn-ea"/>
                <a:cs typeface="+mn-cs"/>
              </a:defRPr>
            </a:lvl3pPr>
            <a:lvl4pPr marL="1143000" indent="-228600" algn="l" defTabSz="1088333" rtl="0" eaLnBrk="1" latinLnBrk="0" hangingPunct="1">
              <a:lnSpc>
                <a:spcPct val="100000"/>
              </a:lnSpc>
              <a:spcBef>
                <a:spcPts val="500"/>
              </a:spcBef>
              <a:spcAft>
                <a:spcPts val="0"/>
              </a:spcAft>
              <a:buFont typeface="Arial" panose="020B0604020202020204" pitchFamily="34" charset="0"/>
              <a:buChar char="•"/>
              <a:defRPr sz="1200" kern="1200">
                <a:solidFill>
                  <a:schemeClr val="tx1"/>
                </a:solidFill>
                <a:latin typeface="+mn-lt"/>
                <a:ea typeface="+mn-ea"/>
                <a:cs typeface="+mn-cs"/>
              </a:defRPr>
            </a:lvl4pPr>
            <a:lvl5pPr marL="16002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tabLst/>
              <a:defRPr sz="1200" kern="1200" baseline="0">
                <a:solidFill>
                  <a:schemeClr val="tx1"/>
                </a:solidFill>
                <a:latin typeface="+mn-lt"/>
                <a:ea typeface="+mn-ea"/>
                <a:cs typeface="+mn-cs"/>
              </a:defRPr>
            </a:lvl5pPr>
            <a:lvl6pPr marL="2057400" indent="-228600" algn="l" defTabSz="1088333" rtl="0" eaLnBrk="1" latinLnBrk="0" hangingPunct="1">
              <a:lnSpc>
                <a:spcPct val="100000"/>
              </a:lnSpc>
              <a:spcBef>
                <a:spcPts val="500"/>
              </a:spcBef>
              <a:spcAft>
                <a:spcPts val="0"/>
              </a:spcAft>
              <a:buFont typeface="Arial" panose="020B0604020202020204" pitchFamily="34" charset="0"/>
              <a:buChar char="•"/>
              <a:defRPr sz="1800" kern="1200" cap="none" baseline="0">
                <a:solidFill>
                  <a:schemeClr val="tx1"/>
                </a:solidFill>
                <a:latin typeface="+mn-lt"/>
                <a:ea typeface="+mn-ea"/>
                <a:cs typeface="+mn-cs"/>
              </a:defRPr>
            </a:lvl6pPr>
            <a:lvl7pPr marL="0" indent="0" algn="l" defTabSz="1088333" rtl="0" eaLnBrk="1" latinLnBrk="0" hangingPunct="1">
              <a:lnSpc>
                <a:spcPct val="110000"/>
              </a:lnSpc>
              <a:spcBef>
                <a:spcPts val="0"/>
              </a:spcBef>
              <a:spcAft>
                <a:spcPts val="1333"/>
              </a:spcAft>
              <a:buFontTx/>
              <a:buNone/>
              <a:defRPr sz="3200" kern="1200" cap="none" baseline="0">
                <a:solidFill>
                  <a:schemeClr val="tx2"/>
                </a:solidFill>
                <a:latin typeface="+mj-lt"/>
                <a:ea typeface="+mn-ea"/>
                <a:cs typeface="+mn-cs"/>
              </a:defRPr>
            </a:lvl7pPr>
            <a:lvl8pPr marL="0" indent="0" algn="l" defTabSz="1088333" rtl="0" eaLnBrk="1" latinLnBrk="0" hangingPunct="1">
              <a:lnSpc>
                <a:spcPct val="110000"/>
              </a:lnSpc>
              <a:spcBef>
                <a:spcPts val="0"/>
              </a:spcBef>
              <a:spcAft>
                <a:spcPts val="681"/>
              </a:spcAft>
              <a:buFontTx/>
              <a:buNone/>
              <a:defRPr sz="3200" b="0" kern="1200" baseline="0">
                <a:solidFill>
                  <a:schemeClr val="accent1"/>
                </a:solidFill>
                <a:latin typeface="+mn-lt"/>
                <a:ea typeface="+mn-ea"/>
                <a:cs typeface="+mn-cs"/>
              </a:defRPr>
            </a:lvl8pPr>
            <a:lvl9pPr marL="0" indent="0" algn="l" defTabSz="1088333" rtl="0" eaLnBrk="1" latinLnBrk="0" hangingPunct="1">
              <a:lnSpc>
                <a:spcPct val="110000"/>
              </a:lnSpc>
              <a:spcBef>
                <a:spcPts val="0"/>
              </a:spcBef>
              <a:spcAft>
                <a:spcPts val="1136"/>
              </a:spcAft>
              <a:buFontTx/>
              <a:buNone/>
              <a:defRPr sz="2133" b="1" kern="1200" baseline="0">
                <a:solidFill>
                  <a:schemeClr val="accent1"/>
                </a:solidFill>
                <a:latin typeface="+mj-lt"/>
                <a:ea typeface="+mn-ea"/>
                <a:cs typeface="+mn-cs"/>
              </a:defRPr>
            </a:lvl9pPr>
          </a:lstStyle>
          <a:p>
            <a:r>
              <a:rPr lang="en-US">
                <a:solidFill>
                  <a:srgbClr val="000000"/>
                </a:solidFill>
                <a:ea typeface="Calibri" panose="020F0502020204030204" pitchFamily="34" charset="0"/>
              </a:rPr>
              <a:t>Consulting | Business Applications</a:t>
            </a:r>
          </a:p>
        </p:txBody>
      </p:sp>
      <p:sp>
        <p:nvSpPr>
          <p:cNvPr id="31" name="TextBox 30">
            <a:extLst>
              <a:ext uri="{FF2B5EF4-FFF2-40B4-BE49-F238E27FC236}">
                <a16:creationId xmlns:a16="http://schemas.microsoft.com/office/drawing/2014/main" id="{238B160D-A1C2-2ACE-5977-805D57D01DB4}"/>
              </a:ext>
            </a:extLst>
          </p:cNvPr>
          <p:cNvSpPr txBox="1"/>
          <p:nvPr/>
        </p:nvSpPr>
        <p:spPr>
          <a:xfrm>
            <a:off x="2444371" y="3961629"/>
            <a:ext cx="6658886" cy="1077218"/>
          </a:xfrm>
          <a:prstGeom prst="rect">
            <a:avLst/>
          </a:prstGeom>
          <a:solidFill>
            <a:srgbClr val="D8EBD6"/>
          </a:solidFill>
          <a:ln>
            <a:solidFill>
              <a:srgbClr val="D8EBD6"/>
            </a:solidFill>
          </a:ln>
        </p:spPr>
        <p:txBody>
          <a:bodyPr wrap="square">
            <a:spAutoFit/>
          </a:bodyPr>
          <a:lstStyle/>
          <a:p>
            <a:pPr>
              <a:spcBef>
                <a:spcPts val="1000"/>
              </a:spcBef>
            </a:pPr>
            <a:r>
              <a:rPr lang="en-US" sz="1600">
                <a:effectLst/>
                <a:latin typeface="Calibri" panose="020F0502020204030204" pitchFamily="34" charset="0"/>
                <a:ea typeface="Calibri" panose="020F0502020204030204" pitchFamily="34" charset="0"/>
                <a:cs typeface="Calibri" panose="020F0502020204030204" pitchFamily="34" charset="0"/>
              </a:rPr>
              <a:t>Talmeez </a:t>
            </a:r>
            <a:r>
              <a:rPr lang="en-US" sz="1600">
                <a:latin typeface="Calibri" panose="020F0502020204030204" pitchFamily="34" charset="0"/>
                <a:ea typeface="Calibri" panose="020F0502020204030204" pitchFamily="34" charset="0"/>
                <a:cs typeface="Calibri" panose="020F0502020204030204" pitchFamily="34" charset="0"/>
              </a:rPr>
              <a:t>delivers Cloud and IT Infrastructure solutions across Azure, Microsoft 365, cybersecurity, and digital transformation. He partners with organizations to modernize their environments, strengthen security, and translate business needs into practical, scalable technology strategies. </a:t>
            </a:r>
            <a:endParaRPr lang="en-US" sz="1500">
              <a:solidFill>
                <a:srgbClr val="63666A"/>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32" name="Picture 31">
            <a:extLst>
              <a:ext uri="{FF2B5EF4-FFF2-40B4-BE49-F238E27FC236}">
                <a16:creationId xmlns:a16="http://schemas.microsoft.com/office/drawing/2014/main" id="{5623DEBE-15AE-EB96-928B-C6A00EECD1A5}"/>
              </a:ext>
            </a:extLst>
          </p:cNvPr>
          <p:cNvPicPr>
            <a:picLocks noChangeAspect="1"/>
          </p:cNvPicPr>
          <p:nvPr/>
        </p:nvPicPr>
        <p:blipFill>
          <a:blip r:embed="rId2"/>
          <a:stretch>
            <a:fillRect/>
          </a:stretch>
        </p:blipFill>
        <p:spPr>
          <a:xfrm>
            <a:off x="9464043" y="4410496"/>
            <a:ext cx="1780186" cy="1780186"/>
          </a:xfrm>
          <a:prstGeom prst="rect">
            <a:avLst/>
          </a:prstGeom>
        </p:spPr>
      </p:pic>
      <p:pic>
        <p:nvPicPr>
          <p:cNvPr id="33" name="Picture 32">
            <a:extLst>
              <a:ext uri="{FF2B5EF4-FFF2-40B4-BE49-F238E27FC236}">
                <a16:creationId xmlns:a16="http://schemas.microsoft.com/office/drawing/2014/main" id="{84F32672-FB0E-6922-944F-9B387714A004}"/>
              </a:ext>
            </a:extLst>
          </p:cNvPr>
          <p:cNvPicPr>
            <a:picLocks noChangeAspect="1"/>
          </p:cNvPicPr>
          <p:nvPr/>
        </p:nvPicPr>
        <p:blipFill rotWithShape="1">
          <a:blip r:embed="rId3"/>
          <a:srcRect b="24102"/>
          <a:stretch/>
        </p:blipFill>
        <p:spPr>
          <a:xfrm>
            <a:off x="239487" y="600023"/>
            <a:ext cx="1935772" cy="1935428"/>
          </a:xfrm>
          <a:prstGeom prst="rect">
            <a:avLst/>
          </a:prstGeom>
        </p:spPr>
      </p:pic>
      <p:pic>
        <p:nvPicPr>
          <p:cNvPr id="34" name="Picture 33">
            <a:extLst>
              <a:ext uri="{FF2B5EF4-FFF2-40B4-BE49-F238E27FC236}">
                <a16:creationId xmlns:a16="http://schemas.microsoft.com/office/drawing/2014/main" id="{B3EE92D7-CDCB-4D2E-BC7E-3C0F0C9E4462}"/>
              </a:ext>
            </a:extLst>
          </p:cNvPr>
          <p:cNvPicPr>
            <a:picLocks noChangeAspect="1"/>
          </p:cNvPicPr>
          <p:nvPr/>
        </p:nvPicPr>
        <p:blipFill>
          <a:blip r:embed="rId4"/>
          <a:srcRect t="13412" b="13412"/>
          <a:stretch/>
        </p:blipFill>
        <p:spPr bwMode="auto">
          <a:xfrm>
            <a:off x="9495954" y="4353135"/>
            <a:ext cx="1997546" cy="1986262"/>
          </a:xfrm>
          <a:prstGeom prst="rect">
            <a:avLst/>
          </a:prstGeom>
          <a:noFill/>
          <a:ln>
            <a:noFill/>
          </a:ln>
          <a:extLst>
            <a:ext uri="{53640926-AAD7-44D8-BBD7-CCE9431645EC}">
              <a14:shadowObscured xmlns:a14="http://schemas.microsoft.com/office/drawing/2010/main"/>
            </a:ext>
          </a:extLst>
        </p:spPr>
      </p:pic>
      <p:pic>
        <p:nvPicPr>
          <p:cNvPr id="35" name="Picture 34">
            <a:extLst>
              <a:ext uri="{FF2B5EF4-FFF2-40B4-BE49-F238E27FC236}">
                <a16:creationId xmlns:a16="http://schemas.microsoft.com/office/drawing/2014/main" id="{CB309B4F-C91E-B035-6EAA-5CCB72E9BF41}"/>
              </a:ext>
            </a:extLst>
          </p:cNvPr>
          <p:cNvPicPr>
            <a:picLocks noChangeAspect="1"/>
          </p:cNvPicPr>
          <p:nvPr/>
        </p:nvPicPr>
        <p:blipFill>
          <a:blip r:embed="rId5"/>
          <a:srcRect b="6533"/>
          <a:stretch>
            <a:fillRect/>
          </a:stretch>
        </p:blipFill>
        <p:spPr>
          <a:xfrm>
            <a:off x="9473136" y="1402794"/>
            <a:ext cx="1997545" cy="2273258"/>
          </a:xfrm>
          <a:prstGeom prst="rect">
            <a:avLst/>
          </a:prstGeom>
        </p:spPr>
      </p:pic>
      <p:pic>
        <p:nvPicPr>
          <p:cNvPr id="36" name="Picture 35">
            <a:extLst>
              <a:ext uri="{FF2B5EF4-FFF2-40B4-BE49-F238E27FC236}">
                <a16:creationId xmlns:a16="http://schemas.microsoft.com/office/drawing/2014/main" id="{84A5ACEA-4EE8-134E-3EE7-511857DF759F}"/>
              </a:ext>
            </a:extLst>
          </p:cNvPr>
          <p:cNvPicPr>
            <a:picLocks noChangeAspect="1"/>
          </p:cNvPicPr>
          <p:nvPr/>
        </p:nvPicPr>
        <p:blipFill>
          <a:blip r:embed="rId6">
            <a:extLst>
              <a:ext uri="{28A0092B-C50C-407E-A947-70E740481C1C}">
                <a14:useLocalDpi xmlns:a14="http://schemas.microsoft.com/office/drawing/2010/main" val="0"/>
              </a:ext>
            </a:extLst>
          </a:blip>
          <a:srcRect b="22587"/>
          <a:stretch>
            <a:fillRect/>
          </a:stretch>
        </p:blipFill>
        <p:spPr bwMode="auto">
          <a:xfrm>
            <a:off x="147813" y="3517508"/>
            <a:ext cx="1935772" cy="1913029"/>
          </a:xfrm>
          <a:prstGeom prst="rect">
            <a:avLst/>
          </a:prstGeom>
          <a:noFill/>
          <a:ln>
            <a:noFill/>
          </a:ln>
        </p:spPr>
      </p:pic>
      <p:sp>
        <p:nvSpPr>
          <p:cNvPr id="37" name="Title 3">
            <a:extLst>
              <a:ext uri="{FF2B5EF4-FFF2-40B4-BE49-F238E27FC236}">
                <a16:creationId xmlns:a16="http://schemas.microsoft.com/office/drawing/2014/main" id="{D81E8FA8-FC21-E0B4-0C50-9DA0F21FB4A4}"/>
              </a:ext>
            </a:extLst>
          </p:cNvPr>
          <p:cNvSpPr txBox="1">
            <a:spLocks/>
          </p:cNvSpPr>
          <p:nvPr/>
        </p:nvSpPr>
        <p:spPr>
          <a:xfrm>
            <a:off x="403213" y="-58790"/>
            <a:ext cx="10741200" cy="446124"/>
          </a:xfrm>
          <a:prstGeom prst="rect">
            <a:avLst/>
          </a:prstGeom>
        </p:spPr>
        <p:txBody>
          <a:bodyPr/>
          <a:lst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a:lstStyle>
          <a:p>
            <a:pPr algn="ctr"/>
            <a:r>
              <a:rPr lang="en-US" sz="3200"/>
              <a:t>Presenters</a:t>
            </a:r>
          </a:p>
        </p:txBody>
      </p:sp>
    </p:spTree>
    <p:extLst>
      <p:ext uri="{BB962C8B-B14F-4D97-AF65-F5344CB8AC3E}">
        <p14:creationId xmlns:p14="http://schemas.microsoft.com/office/powerpoint/2010/main" val="2163836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992729-6087-4230-A0BB-BD746FFC32CE}"/>
              </a:ext>
            </a:extLst>
          </p:cNvPr>
          <p:cNvSpPr>
            <a:spLocks noGrp="1"/>
          </p:cNvSpPr>
          <p:nvPr>
            <p:ph type="title"/>
          </p:nvPr>
        </p:nvSpPr>
        <p:spPr>
          <a:xfrm>
            <a:off x="5075238" y="3152001"/>
            <a:ext cx="6119811" cy="553998"/>
          </a:xfrm>
        </p:spPr>
        <p:txBody>
          <a:bodyPr>
            <a:noAutofit/>
          </a:bodyPr>
          <a:lstStyle/>
          <a:p>
            <a:r>
              <a:rPr lang="en-US" sz="4400"/>
              <a:t>Financial Systems Landscape</a:t>
            </a:r>
          </a:p>
        </p:txBody>
      </p:sp>
      <p:pic>
        <p:nvPicPr>
          <p:cNvPr id="2" name="Picture 2" descr="Ascend ">
            <a:extLst>
              <a:ext uri="{FF2B5EF4-FFF2-40B4-BE49-F238E27FC236}">
                <a16:creationId xmlns:a16="http://schemas.microsoft.com/office/drawing/2014/main" id="{54A39AC8-A192-6CC0-1607-49819EFA7165}"/>
              </a:ext>
            </a:extLst>
          </p:cNvPr>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a14:imgLayer r:embed="rId4">
                    <a14:imgEffect>
                      <a14:sharpenSoften amount="1000"/>
                    </a14:imgEffect>
                  </a14:imgLayer>
                </a14:imgProps>
              </a:ext>
              <a:ext uri="{28A0092B-C50C-407E-A947-70E740481C1C}">
                <a14:useLocalDpi xmlns:a14="http://schemas.microsoft.com/office/drawing/2010/main" val="0"/>
              </a:ext>
            </a:extLst>
          </a:blip>
          <a:srcRect/>
          <a:stretch>
            <a:fillRect/>
          </a:stretch>
        </p:blipFill>
        <p:spPr bwMode="auto">
          <a:xfrm>
            <a:off x="224287" y="5935919"/>
            <a:ext cx="2182483" cy="637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253399"/>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2E0AC-C1E6-4E1F-936C-EAED726DCA04}"/>
              </a:ext>
            </a:extLst>
          </p:cNvPr>
          <p:cNvSpPr>
            <a:spLocks noGrp="1"/>
          </p:cNvSpPr>
          <p:nvPr>
            <p:ph type="title" idx="4294967295"/>
          </p:nvPr>
        </p:nvSpPr>
        <p:spPr>
          <a:xfrm>
            <a:off x="520700" y="387350"/>
            <a:ext cx="10741025" cy="496888"/>
          </a:xfrm>
        </p:spPr>
        <p:txBody>
          <a:bodyPr/>
          <a:lstStyle/>
          <a:p>
            <a:r>
              <a:rPr lang="en-US"/>
              <a:t>The Alphabet Soup of Financial Systems </a:t>
            </a:r>
          </a:p>
        </p:txBody>
      </p:sp>
      <p:sp>
        <p:nvSpPr>
          <p:cNvPr id="3" name="Content Placeholder 2">
            <a:extLst>
              <a:ext uri="{FF2B5EF4-FFF2-40B4-BE49-F238E27FC236}">
                <a16:creationId xmlns:a16="http://schemas.microsoft.com/office/drawing/2014/main" id="{3E79A93C-0B0A-4CFB-9602-410D2FD4A3DE}"/>
              </a:ext>
            </a:extLst>
          </p:cNvPr>
          <p:cNvSpPr>
            <a:spLocks noGrp="1"/>
          </p:cNvSpPr>
          <p:nvPr>
            <p:ph idx="4294967295"/>
          </p:nvPr>
        </p:nvSpPr>
        <p:spPr>
          <a:xfrm>
            <a:off x="673100" y="1635919"/>
            <a:ext cx="10845800" cy="4702175"/>
          </a:xfrm>
        </p:spPr>
        <p:txBody>
          <a:bodyPr/>
          <a:lstStyle/>
          <a:p>
            <a:r>
              <a:rPr lang="en-US" sz="2000" b="1"/>
              <a:t>Back to basics - what is an ERP?</a:t>
            </a:r>
          </a:p>
          <a:p>
            <a:pPr lvl="1"/>
            <a:r>
              <a:rPr lang="en-US" sz="2000"/>
              <a:t>ERP (Enterprise Resource Planning) refers to a type of business application platform that organizations use to track and manage day-to-day business activities such as accounting, procurement, project management, inventory, time entry and compliance.</a:t>
            </a:r>
          </a:p>
          <a:p>
            <a:pPr lvl="1"/>
            <a:r>
              <a:rPr lang="en-US" sz="2000"/>
              <a:t>ERP ties together a multitude of business processes and enables data flow between them to act as the organization’s source of truth</a:t>
            </a:r>
          </a:p>
          <a:p>
            <a:r>
              <a:rPr lang="en-US" sz="2000" b="1"/>
              <a:t>How will it fit into our organization?</a:t>
            </a:r>
          </a:p>
          <a:p>
            <a:pPr lvl="1"/>
            <a:r>
              <a:rPr lang="en-US" sz="2000"/>
              <a:t>The ERP will store and manage all data to capture the end-to-end lifecycle of key processes</a:t>
            </a:r>
          </a:p>
          <a:p>
            <a:pPr lvl="1"/>
            <a:r>
              <a:rPr lang="en-US" sz="2000"/>
              <a:t>The goal of an implementation is to consolidate systems where possible and leverage the new ERP as the primary enterprise application for all management, financial and reporting needs</a:t>
            </a:r>
          </a:p>
          <a:p>
            <a:pPr lvl="1"/>
            <a:r>
              <a:rPr lang="en-US" sz="2000"/>
              <a:t>An integration strategy with ERP should be considered where additional business applications are needed </a:t>
            </a:r>
          </a:p>
          <a:p>
            <a:pPr lvl="2"/>
            <a:endParaRPr lang="en-US" sz="1800"/>
          </a:p>
          <a:p>
            <a:pPr marL="0" lvl="1" indent="0">
              <a:buNone/>
            </a:pPr>
            <a:endParaRPr lang="en-US" sz="2000"/>
          </a:p>
          <a:p>
            <a:endParaRPr lang="en-US" sz="2000"/>
          </a:p>
        </p:txBody>
      </p:sp>
      <p:sp>
        <p:nvSpPr>
          <p:cNvPr id="4" name="Slide Number Placeholder 3">
            <a:extLst>
              <a:ext uri="{FF2B5EF4-FFF2-40B4-BE49-F238E27FC236}">
                <a16:creationId xmlns:a16="http://schemas.microsoft.com/office/drawing/2014/main" id="{04A8ACA5-C49F-4289-816E-C01382318830}"/>
              </a:ext>
            </a:extLst>
          </p:cNvPr>
          <p:cNvSpPr>
            <a:spLocks noGrp="1"/>
          </p:cNvSpPr>
          <p:nvPr>
            <p:ph type="sldNum" sz="quarter" idx="4294967295"/>
          </p:nvPr>
        </p:nvSpPr>
        <p:spPr>
          <a:xfrm>
            <a:off x="0" y="6205538"/>
            <a:ext cx="2743200" cy="265112"/>
          </a:xfrm>
          <a:prstGeom prst="rect">
            <a:avLst/>
          </a:prstGeom>
        </p:spPr>
        <p:txBody>
          <a:bodyPr/>
          <a:lstStyle/>
          <a:p>
            <a:endParaRPr lang="en-US"/>
          </a:p>
        </p:txBody>
      </p:sp>
    </p:spTree>
    <p:extLst>
      <p:ext uri="{BB962C8B-B14F-4D97-AF65-F5344CB8AC3E}">
        <p14:creationId xmlns:p14="http://schemas.microsoft.com/office/powerpoint/2010/main" val="475113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1899AB8-BBAA-4C52-BE22-19A2A9275EE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36A99BC-3C9D-4DF8-8B8C-E1FD2BDF0AD4}" type="slidenum">
              <a:rPr kumimoji="0" lang="en-US" sz="1000" b="0" i="0" u="none" strike="noStrike" kern="1200" cap="none" spc="0" normalizeH="0" baseline="0" noProof="0" smtClean="0">
                <a:ln>
                  <a:noFill/>
                </a:ln>
                <a:solidFill>
                  <a:srgbClr val="63666A"/>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63666A"/>
              </a:solidFill>
              <a:effectLst/>
              <a:uLnTx/>
              <a:uFillTx/>
              <a:latin typeface="Arial" panose="020B0604020202020204" pitchFamily="34" charset="0"/>
              <a:ea typeface="+mn-ea"/>
              <a:cs typeface="Arial" panose="020B0604020202020204" pitchFamily="34" charset="0"/>
            </a:endParaRPr>
          </a:p>
        </p:txBody>
      </p:sp>
      <p:sp>
        <p:nvSpPr>
          <p:cNvPr id="6" name="Title 1">
            <a:extLst>
              <a:ext uri="{FF2B5EF4-FFF2-40B4-BE49-F238E27FC236}">
                <a16:creationId xmlns:a16="http://schemas.microsoft.com/office/drawing/2014/main" id="{AEDED3AA-226C-4D9C-B4AC-76F2D7233817}"/>
              </a:ext>
            </a:extLst>
          </p:cNvPr>
          <p:cNvSpPr>
            <a:spLocks noGrp="1"/>
          </p:cNvSpPr>
          <p:nvPr>
            <p:ph type="title"/>
          </p:nvPr>
        </p:nvSpPr>
        <p:spPr/>
        <p:txBody>
          <a:bodyPr/>
          <a:lstStyle/>
          <a:p>
            <a:r>
              <a:rPr lang="en-US"/>
              <a:t>Why modern ERP has the power to transform</a:t>
            </a:r>
          </a:p>
        </p:txBody>
      </p:sp>
      <p:sp>
        <p:nvSpPr>
          <p:cNvPr id="14" name="Content Placeholder 2">
            <a:extLst>
              <a:ext uri="{FF2B5EF4-FFF2-40B4-BE49-F238E27FC236}">
                <a16:creationId xmlns:a16="http://schemas.microsoft.com/office/drawing/2014/main" id="{E2A113F0-8D47-4FF1-9C75-E09B01C4DD09}"/>
              </a:ext>
            </a:extLst>
          </p:cNvPr>
          <p:cNvSpPr txBox="1">
            <a:spLocks/>
          </p:cNvSpPr>
          <p:nvPr/>
        </p:nvSpPr>
        <p:spPr>
          <a:xfrm>
            <a:off x="607202" y="870336"/>
            <a:ext cx="9123111" cy="49615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These five trends reflect the evolution of ERP from a basic application to an enhanced system that can help middle market companies make breakthrough changes that improve growth and efficiency.</a:t>
            </a:r>
          </a:p>
        </p:txBody>
      </p:sp>
      <p:sp>
        <p:nvSpPr>
          <p:cNvPr id="16" name="Content Placeholder 2">
            <a:extLst>
              <a:ext uri="{FF2B5EF4-FFF2-40B4-BE49-F238E27FC236}">
                <a16:creationId xmlns:a16="http://schemas.microsoft.com/office/drawing/2014/main" id="{42F1E9C5-8C14-4567-876B-A700CD993E5E}"/>
              </a:ext>
            </a:extLst>
          </p:cNvPr>
          <p:cNvSpPr txBox="1">
            <a:spLocks/>
          </p:cNvSpPr>
          <p:nvPr/>
        </p:nvSpPr>
        <p:spPr>
          <a:xfrm>
            <a:off x="2153940" y="1908185"/>
            <a:ext cx="3350754" cy="1143341"/>
          </a:xfrm>
          <a:prstGeom prst="rect">
            <a:avLst/>
          </a:prstGeom>
        </p:spPr>
        <p:txBody>
          <a:bodyPr vert="horz" lIns="0" tIns="0"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30000" noProof="0">
                <a:ln>
                  <a:noFill/>
                </a:ln>
                <a:solidFill>
                  <a:srgbClr val="63666A"/>
                </a:solidFill>
                <a:effectLst/>
                <a:uLnTx/>
                <a:uFillTx/>
                <a:latin typeface="Arial"/>
                <a:cs typeface="Arial"/>
              </a:rPr>
              <a:t>SaaS for finance is growing in </a:t>
            </a:r>
            <a:r>
              <a:rPr kumimoji="0" lang="en-US" sz="2000" b="1" i="0" u="none" strike="noStrike" kern="1200" cap="none" spc="0" normalizeH="0" baseline="30000" noProof="0">
                <a:ln>
                  <a:noFill/>
                </a:ln>
                <a:solidFill>
                  <a:srgbClr val="63666A"/>
                </a:solidFill>
                <a:effectLst/>
                <a:uLnTx/>
                <a:uFillTx/>
                <a:latin typeface="Arial"/>
                <a:cs typeface="Arial"/>
              </a:rPr>
              <a:t>popularity</a:t>
            </a:r>
            <a:r>
              <a:rPr kumimoji="0" lang="en-US" sz="1800" b="1" i="0" u="none" strike="noStrike" kern="1200" cap="none" spc="0" normalizeH="0" baseline="30000" noProof="0">
                <a:ln>
                  <a:noFill/>
                </a:ln>
                <a:solidFill>
                  <a:srgbClr val="63666A"/>
                </a:solidFill>
                <a:effectLst/>
                <a:uLnTx/>
                <a:uFillTx/>
                <a:latin typeface="Arial"/>
                <a:cs typeface="Arial"/>
              </a:rPr>
              <a:t>.</a:t>
            </a:r>
            <a:br>
              <a:rPr lang="en-US" sz="1800" b="1" i="0" u="none" strike="noStrike" kern="1200" cap="none" spc="0" normalizeH="0" baseline="30000" noProof="0">
                <a:ln>
                  <a:noFill/>
                </a:ln>
                <a:effectLst/>
                <a:uLnTx/>
                <a:uFillTx/>
                <a:latin typeface="Prelo Bold" panose="02000506040000020004" pitchFamily="50" charset="0"/>
                <a:cs typeface="Arial" panose="020B0604020202020204" pitchFamily="34" charset="0"/>
              </a:rPr>
            </a:br>
            <a:r>
              <a:rPr kumimoji="0" lang="en-US" sz="1400" b="0" i="0" u="none" strike="noStrike" kern="1200" cap="none" spc="0" normalizeH="0" baseline="30000" noProof="0">
                <a:ln>
                  <a:noFill/>
                </a:ln>
                <a:solidFill>
                  <a:srgbClr val="63666A"/>
                </a:solidFill>
                <a:effectLst/>
                <a:uLnTx/>
                <a:uFillTx/>
                <a:latin typeface="Arial"/>
                <a:cs typeface="Arial"/>
              </a:rPr>
              <a:t>SaaS cloud applications are becoming the default option for most CFOs. Some of the top benefits are cost savings, ease of scalability and maintenance, better security and access to technologies that augment capabilities such as advanced analytics and integration with other core applications and partner solutions. Increasingly, ERP and other core applications are part of an integrated business platform.</a:t>
            </a:r>
          </a:p>
        </p:txBody>
      </p:sp>
      <p:pic>
        <p:nvPicPr>
          <p:cNvPr id="13" name="Graphic 12">
            <a:extLst>
              <a:ext uri="{FF2B5EF4-FFF2-40B4-BE49-F238E27FC236}">
                <a16:creationId xmlns:a16="http://schemas.microsoft.com/office/drawing/2014/main" id="{98D378D3-66EF-4929-B72F-BF7AADEFF4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1705" y="1846719"/>
            <a:ext cx="914315" cy="828979"/>
          </a:xfrm>
          <a:prstGeom prst="rect">
            <a:avLst/>
          </a:prstGeom>
        </p:spPr>
      </p:pic>
      <p:sp>
        <p:nvSpPr>
          <p:cNvPr id="19" name="Content Placeholder 2">
            <a:extLst>
              <a:ext uri="{FF2B5EF4-FFF2-40B4-BE49-F238E27FC236}">
                <a16:creationId xmlns:a16="http://schemas.microsoft.com/office/drawing/2014/main" id="{3E95FA12-9592-440E-9A15-D23061ACBB59}"/>
              </a:ext>
            </a:extLst>
          </p:cNvPr>
          <p:cNvSpPr txBox="1">
            <a:spLocks/>
          </p:cNvSpPr>
          <p:nvPr/>
        </p:nvSpPr>
        <p:spPr>
          <a:xfrm>
            <a:off x="1853925" y="1963643"/>
            <a:ext cx="1031591" cy="652793"/>
          </a:xfrm>
          <a:prstGeom prst="rect">
            <a:avLst/>
          </a:prstGeom>
        </p:spPr>
        <p:txBody>
          <a:bodyPr vert="horz" wrap="square"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1"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rPr>
              <a:t>1</a:t>
            </a:r>
            <a:endParaRPr kumimoji="0" lang="en-US" sz="4800" b="0"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endParaRPr>
          </a:p>
        </p:txBody>
      </p:sp>
      <p:sp>
        <p:nvSpPr>
          <p:cNvPr id="21" name="Content Placeholder 2">
            <a:extLst>
              <a:ext uri="{FF2B5EF4-FFF2-40B4-BE49-F238E27FC236}">
                <a16:creationId xmlns:a16="http://schemas.microsoft.com/office/drawing/2014/main" id="{FAC013C0-AD95-42B0-970B-BC154E2B1353}"/>
              </a:ext>
            </a:extLst>
          </p:cNvPr>
          <p:cNvSpPr txBox="1">
            <a:spLocks/>
          </p:cNvSpPr>
          <p:nvPr/>
        </p:nvSpPr>
        <p:spPr>
          <a:xfrm>
            <a:off x="2153940" y="3514158"/>
            <a:ext cx="3350754" cy="114334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ERP mobility is on the rise.</a:t>
            </a:r>
            <a:br>
              <a:rPr kumimoji="0" lang="en-US" sz="2000" b="1" i="0" u="none" strike="noStrike" kern="1200" cap="none" spc="0" normalizeH="0" baseline="30000" noProof="0">
                <a:ln>
                  <a:noFill/>
                </a:ln>
                <a:solidFill>
                  <a:srgbClr val="000000"/>
                </a:solidFill>
                <a:effectLst/>
                <a:uLnTx/>
                <a:uFillTx/>
                <a:latin typeface="Prelo Bold" panose="02000506040000020004" pitchFamily="50" charset="0"/>
                <a:ea typeface="+mn-ea"/>
                <a:cs typeface="Arial" panose="020B0604020202020204" pitchFamily="34" charset="0"/>
              </a:rPr>
            </a:br>
            <a:r>
              <a:rPr kumimoji="0" lang="en-US" sz="1600" b="0"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People can securely access key metrics or complete tasks from a phone or tablet from any location while staying within standards and practices that ensure data and process quality. Teams can work seamlessly across locations, time zones and workspaces—a foundational capability for agility.</a:t>
            </a:r>
          </a:p>
        </p:txBody>
      </p:sp>
      <p:sp>
        <p:nvSpPr>
          <p:cNvPr id="23" name="Content Placeholder 2">
            <a:extLst>
              <a:ext uri="{FF2B5EF4-FFF2-40B4-BE49-F238E27FC236}">
                <a16:creationId xmlns:a16="http://schemas.microsoft.com/office/drawing/2014/main" id="{C8879936-AA8A-4580-8619-0DB75D4CDF8D}"/>
              </a:ext>
            </a:extLst>
          </p:cNvPr>
          <p:cNvSpPr txBox="1">
            <a:spLocks/>
          </p:cNvSpPr>
          <p:nvPr/>
        </p:nvSpPr>
        <p:spPr>
          <a:xfrm>
            <a:off x="1813584" y="3569616"/>
            <a:ext cx="1031591" cy="652793"/>
          </a:xfrm>
          <a:prstGeom prst="rect">
            <a:avLst/>
          </a:prstGeom>
        </p:spPr>
        <p:txBody>
          <a:bodyPr vert="horz" wrap="square"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1"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rPr>
              <a:t>2</a:t>
            </a:r>
            <a:endParaRPr kumimoji="0" lang="en-US" sz="4800" b="0"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endParaRPr>
          </a:p>
        </p:txBody>
      </p:sp>
      <p:pic>
        <p:nvPicPr>
          <p:cNvPr id="24" name="Graphic 23">
            <a:extLst>
              <a:ext uri="{FF2B5EF4-FFF2-40B4-BE49-F238E27FC236}">
                <a16:creationId xmlns:a16="http://schemas.microsoft.com/office/drawing/2014/main" id="{0CC3F217-94E0-4AD2-BB3F-DD19862409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496" y="3218533"/>
            <a:ext cx="721757" cy="866108"/>
          </a:xfrm>
          <a:prstGeom prst="rect">
            <a:avLst/>
          </a:prstGeom>
        </p:spPr>
      </p:pic>
      <p:sp>
        <p:nvSpPr>
          <p:cNvPr id="25" name="Content Placeholder 2">
            <a:extLst>
              <a:ext uri="{FF2B5EF4-FFF2-40B4-BE49-F238E27FC236}">
                <a16:creationId xmlns:a16="http://schemas.microsoft.com/office/drawing/2014/main" id="{39E793E2-3637-4F8E-A4C6-5CD9E0C64E02}"/>
              </a:ext>
            </a:extLst>
          </p:cNvPr>
          <p:cNvSpPr txBox="1">
            <a:spLocks/>
          </p:cNvSpPr>
          <p:nvPr/>
        </p:nvSpPr>
        <p:spPr>
          <a:xfrm>
            <a:off x="2192606" y="4822340"/>
            <a:ext cx="3215385" cy="114334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Workflow automation is gaining traction.</a:t>
            </a:r>
            <a:br>
              <a:rPr kumimoji="0" lang="en-US" sz="2000" b="1" i="0" u="none" strike="noStrike" kern="1200" cap="none" spc="0" normalizeH="0" baseline="30000" noProof="0">
                <a:ln>
                  <a:noFill/>
                </a:ln>
                <a:solidFill>
                  <a:srgbClr val="000000"/>
                </a:solidFill>
                <a:effectLst/>
                <a:uLnTx/>
                <a:uFillTx/>
                <a:latin typeface="Prelo Bold" panose="02000506040000020004" pitchFamily="50" charset="0"/>
                <a:ea typeface="+mn-ea"/>
                <a:cs typeface="Arial" panose="020B0604020202020204" pitchFamily="34" charset="0"/>
              </a:rPr>
            </a:br>
            <a:r>
              <a:rPr kumimoji="0" lang="en-US" sz="1600" b="0"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Companies are using the automation capabilities of modern ERP applications to drastically reduce the time and human effort required for repeatable tasks and projects. Automation in ERP also reduces manual errors.</a:t>
            </a:r>
          </a:p>
        </p:txBody>
      </p:sp>
      <p:sp>
        <p:nvSpPr>
          <p:cNvPr id="26" name="Content Placeholder 2">
            <a:extLst>
              <a:ext uri="{FF2B5EF4-FFF2-40B4-BE49-F238E27FC236}">
                <a16:creationId xmlns:a16="http://schemas.microsoft.com/office/drawing/2014/main" id="{60082AE5-86F2-42E8-B0D5-9EAD94CB713F}"/>
              </a:ext>
            </a:extLst>
          </p:cNvPr>
          <p:cNvSpPr txBox="1">
            <a:spLocks/>
          </p:cNvSpPr>
          <p:nvPr/>
        </p:nvSpPr>
        <p:spPr>
          <a:xfrm>
            <a:off x="1802555" y="5056703"/>
            <a:ext cx="1031591" cy="652793"/>
          </a:xfrm>
          <a:prstGeom prst="rect">
            <a:avLst/>
          </a:prstGeom>
        </p:spPr>
        <p:txBody>
          <a:bodyPr vert="horz" wrap="square"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1"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rPr>
              <a:t>3</a:t>
            </a:r>
            <a:endParaRPr kumimoji="0" lang="en-US" sz="4800" b="0"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endParaRPr>
          </a:p>
        </p:txBody>
      </p:sp>
      <p:pic>
        <p:nvPicPr>
          <p:cNvPr id="28" name="Graphic 27">
            <a:extLst>
              <a:ext uri="{FF2B5EF4-FFF2-40B4-BE49-F238E27FC236}">
                <a16:creationId xmlns:a16="http://schemas.microsoft.com/office/drawing/2014/main" id="{5757B346-D026-41E7-AE80-1879415C60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5621" y="4925734"/>
            <a:ext cx="792057" cy="792057"/>
          </a:xfrm>
          <a:prstGeom prst="rect">
            <a:avLst/>
          </a:prstGeom>
        </p:spPr>
      </p:pic>
      <p:sp>
        <p:nvSpPr>
          <p:cNvPr id="29" name="Content Placeholder 2">
            <a:extLst>
              <a:ext uri="{FF2B5EF4-FFF2-40B4-BE49-F238E27FC236}">
                <a16:creationId xmlns:a16="http://schemas.microsoft.com/office/drawing/2014/main" id="{D95B926C-E9D1-4801-BD34-5F8BEB0BB331}"/>
              </a:ext>
            </a:extLst>
          </p:cNvPr>
          <p:cNvSpPr txBox="1">
            <a:spLocks/>
          </p:cNvSpPr>
          <p:nvPr/>
        </p:nvSpPr>
        <p:spPr>
          <a:xfrm>
            <a:off x="7582011" y="1908185"/>
            <a:ext cx="3350754" cy="114334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The monthly close process is becoming </a:t>
            </a:r>
            <a:br>
              <a:rPr kumimoji="0" lang="en-US" sz="2000" b="1"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br>
            <a:r>
              <a:rPr kumimoji="0" lang="en-US" sz="2000" b="1"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easier and less costly.</a:t>
            </a:r>
            <a:br>
              <a:rPr kumimoji="0" lang="en-US" sz="2000" b="1" i="0" u="none" strike="noStrike" kern="1200" cap="none" spc="0" normalizeH="0" baseline="30000" noProof="0">
                <a:ln>
                  <a:noFill/>
                </a:ln>
                <a:solidFill>
                  <a:srgbClr val="000000"/>
                </a:solidFill>
                <a:effectLst/>
                <a:uLnTx/>
                <a:uFillTx/>
                <a:latin typeface="Prelo Bold" panose="02000506040000020004" pitchFamily="50" charset="0"/>
                <a:ea typeface="+mn-ea"/>
                <a:cs typeface="Arial" panose="020B0604020202020204" pitchFamily="34" charset="0"/>
              </a:rPr>
            </a:br>
            <a:r>
              <a:rPr kumimoji="0" lang="en-US" sz="1600" b="0"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One popular area to apply automation is the monthly close. Tools that automate reconciliations and close daily are becoming more affordable for small and midsize businesses. This frees up people to focus on financial analysis and strategic action rather than transaction processing.</a:t>
            </a:r>
          </a:p>
        </p:txBody>
      </p:sp>
      <p:sp>
        <p:nvSpPr>
          <p:cNvPr id="30" name="Content Placeholder 2">
            <a:extLst>
              <a:ext uri="{FF2B5EF4-FFF2-40B4-BE49-F238E27FC236}">
                <a16:creationId xmlns:a16="http://schemas.microsoft.com/office/drawing/2014/main" id="{6F77F636-63EC-4F01-BB69-092BF00D9EC0}"/>
              </a:ext>
            </a:extLst>
          </p:cNvPr>
          <p:cNvSpPr txBox="1">
            <a:spLocks/>
          </p:cNvSpPr>
          <p:nvPr/>
        </p:nvSpPr>
        <p:spPr>
          <a:xfrm>
            <a:off x="7241655" y="1963643"/>
            <a:ext cx="1031591" cy="652793"/>
          </a:xfrm>
          <a:prstGeom prst="rect">
            <a:avLst/>
          </a:prstGeom>
        </p:spPr>
        <p:txBody>
          <a:bodyPr vert="horz" wrap="square"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1"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rPr>
              <a:t>4</a:t>
            </a:r>
            <a:endParaRPr kumimoji="0" lang="en-US" sz="4800" b="0"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endParaRPr>
          </a:p>
        </p:txBody>
      </p:sp>
      <p:pic>
        <p:nvPicPr>
          <p:cNvPr id="32" name="Graphic 31">
            <a:extLst>
              <a:ext uri="{FF2B5EF4-FFF2-40B4-BE49-F238E27FC236}">
                <a16:creationId xmlns:a16="http://schemas.microsoft.com/office/drawing/2014/main" id="{947F1AEE-0809-4C07-8558-FEA96B4C7B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95890" y="1849771"/>
            <a:ext cx="805782" cy="989961"/>
          </a:xfrm>
          <a:prstGeom prst="rect">
            <a:avLst/>
          </a:prstGeom>
        </p:spPr>
      </p:pic>
      <p:sp>
        <p:nvSpPr>
          <p:cNvPr id="33" name="Content Placeholder 2">
            <a:extLst>
              <a:ext uri="{FF2B5EF4-FFF2-40B4-BE49-F238E27FC236}">
                <a16:creationId xmlns:a16="http://schemas.microsoft.com/office/drawing/2014/main" id="{7335C4A2-7E0F-496B-A417-3F1E554BEF54}"/>
              </a:ext>
            </a:extLst>
          </p:cNvPr>
          <p:cNvSpPr txBox="1">
            <a:spLocks/>
          </p:cNvSpPr>
          <p:nvPr/>
        </p:nvSpPr>
        <p:spPr>
          <a:xfrm>
            <a:off x="7582011" y="3334400"/>
            <a:ext cx="3050740" cy="114334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Modern ERP systems have improved analytics and AI capabilities.</a:t>
            </a:r>
            <a:br>
              <a:rPr kumimoji="0" lang="en-US" sz="2000" b="1" i="0" u="none" strike="noStrike" kern="1200" cap="none" spc="0" normalizeH="0" baseline="30000" noProof="0">
                <a:ln>
                  <a:noFill/>
                </a:ln>
                <a:solidFill>
                  <a:srgbClr val="000000"/>
                </a:solidFill>
                <a:effectLst/>
                <a:uLnTx/>
                <a:uFillTx/>
                <a:latin typeface="Prelo Bold" panose="02000506040000020004" pitchFamily="50" charset="0"/>
                <a:ea typeface="+mn-ea"/>
                <a:cs typeface="Arial" panose="020B0604020202020204" pitchFamily="34" charset="0"/>
              </a:rPr>
            </a:br>
            <a:r>
              <a:rPr kumimoji="0" lang="en-US" sz="1600" b="0" i="0" u="none" strike="noStrike" kern="1200" cap="none" spc="0" normalizeH="0" baseline="30000" noProof="0">
                <a:ln>
                  <a:noFill/>
                </a:ln>
                <a:solidFill>
                  <a:srgbClr val="63666A"/>
                </a:solidFill>
                <a:effectLst/>
                <a:uLnTx/>
                <a:uFillTx/>
                <a:latin typeface="Arial" panose="020B0604020202020204" pitchFamily="34" charset="0"/>
                <a:ea typeface="+mn-ea"/>
                <a:cs typeface="Arial" panose="020B0604020202020204" pitchFamily="34" charset="0"/>
              </a:rPr>
              <a:t>ERPs equipped with AI have enhanced capabilities that can drive strategic decision-making. For example, machine learning can take historical sales data and forecast demand to optimize the procurement process.</a:t>
            </a:r>
          </a:p>
        </p:txBody>
      </p:sp>
      <p:sp>
        <p:nvSpPr>
          <p:cNvPr id="34" name="Content Placeholder 2">
            <a:extLst>
              <a:ext uri="{FF2B5EF4-FFF2-40B4-BE49-F238E27FC236}">
                <a16:creationId xmlns:a16="http://schemas.microsoft.com/office/drawing/2014/main" id="{5F6BD4FE-113C-4499-BA65-805106EA2A5E}"/>
              </a:ext>
            </a:extLst>
          </p:cNvPr>
          <p:cNvSpPr txBox="1">
            <a:spLocks/>
          </p:cNvSpPr>
          <p:nvPr/>
        </p:nvSpPr>
        <p:spPr>
          <a:xfrm>
            <a:off x="7241655" y="3389858"/>
            <a:ext cx="1031591" cy="652793"/>
          </a:xfrm>
          <a:prstGeom prst="rect">
            <a:avLst/>
          </a:prstGeom>
        </p:spPr>
        <p:txBody>
          <a:bodyPr vert="horz" wrap="square"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1"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rPr>
              <a:t>5</a:t>
            </a:r>
            <a:endParaRPr kumimoji="0" lang="en-US" sz="4800" b="0" i="0" u="none" strike="noStrike" kern="1200" cap="none" spc="0" normalizeH="0" baseline="30000" noProof="0">
              <a:ln>
                <a:noFill/>
              </a:ln>
              <a:solidFill>
                <a:srgbClr val="3F9C35"/>
              </a:solidFill>
              <a:effectLst/>
              <a:uLnTx/>
              <a:uFillTx/>
              <a:latin typeface="Arial" panose="020B0604020202020204" pitchFamily="34" charset="0"/>
              <a:ea typeface="+mn-ea"/>
              <a:cs typeface="Arial" panose="020B0604020202020204" pitchFamily="34" charset="0"/>
            </a:endParaRPr>
          </a:p>
        </p:txBody>
      </p:sp>
      <p:pic>
        <p:nvPicPr>
          <p:cNvPr id="36" name="Graphic 35">
            <a:extLst>
              <a:ext uri="{FF2B5EF4-FFF2-40B4-BE49-F238E27FC236}">
                <a16:creationId xmlns:a16="http://schemas.microsoft.com/office/drawing/2014/main" id="{9DFBF0A8-53ED-41A9-A73C-F874C47FF0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34739" y="3293700"/>
            <a:ext cx="854233" cy="840673"/>
          </a:xfrm>
          <a:prstGeom prst="rect">
            <a:avLst/>
          </a:prstGeom>
        </p:spPr>
      </p:pic>
      <p:sp>
        <p:nvSpPr>
          <p:cNvPr id="2" name="Rectangle 1">
            <a:extLst>
              <a:ext uri="{FF2B5EF4-FFF2-40B4-BE49-F238E27FC236}">
                <a16:creationId xmlns:a16="http://schemas.microsoft.com/office/drawing/2014/main" id="{A37762F4-9256-0D6C-D5EA-78354ECAEBCD}"/>
              </a:ext>
            </a:extLst>
          </p:cNvPr>
          <p:cNvSpPr/>
          <p:nvPr/>
        </p:nvSpPr>
        <p:spPr>
          <a:xfrm>
            <a:off x="6096000" y="4597739"/>
            <a:ext cx="5254800" cy="1403361"/>
          </a:xfrm>
          <a:prstGeom prst="rect">
            <a:avLst/>
          </a:prstGeom>
          <a:solidFill>
            <a:schemeClr val="tx2">
              <a:lumMod val="20000"/>
              <a:lumOff val="80000"/>
            </a:schemeClr>
          </a:solidFill>
          <a:ln/>
        </p:spPr>
        <p:style>
          <a:lnRef idx="2">
            <a:schemeClr val="accent2"/>
          </a:lnRef>
          <a:fillRef idx="1">
            <a:schemeClr val="lt1"/>
          </a:fillRef>
          <a:effectRef idx="0">
            <a:schemeClr val="accent2"/>
          </a:effectRef>
          <a:fontRef idx="minor">
            <a:schemeClr val="dk1"/>
          </a:fontRef>
        </p:style>
        <p:txBody>
          <a:bodyPr lIns="66118" tIns="66118" rIns="66118" bIns="66118" rtlCol="0" anchor="t">
            <a:noAutofit/>
          </a:bodyPr>
          <a:lstStyle/>
          <a:p>
            <a:r>
              <a:rPr lang="en-US" sz="1200" b="1">
                <a:solidFill>
                  <a:schemeClr val="tx1">
                    <a:lumMod val="50000"/>
                  </a:schemeClr>
                </a:solidFill>
              </a:rPr>
              <a:t>By 2025 Gartner Predicts:</a:t>
            </a:r>
          </a:p>
        </p:txBody>
      </p:sp>
      <p:sp>
        <p:nvSpPr>
          <p:cNvPr id="3" name="Content Placeholder 2">
            <a:extLst>
              <a:ext uri="{FF2B5EF4-FFF2-40B4-BE49-F238E27FC236}">
                <a16:creationId xmlns:a16="http://schemas.microsoft.com/office/drawing/2014/main" id="{B08EA7C8-7D7A-F91B-9915-579F07D316C3}"/>
              </a:ext>
            </a:extLst>
          </p:cNvPr>
          <p:cNvSpPr txBox="1">
            <a:spLocks/>
          </p:cNvSpPr>
          <p:nvPr/>
        </p:nvSpPr>
        <p:spPr>
          <a:xfrm>
            <a:off x="7083390" y="5082210"/>
            <a:ext cx="1201613" cy="27242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5400" b="0" i="0" u="none" strike="noStrike" kern="1200" cap="none" spc="0" normalizeH="0" baseline="3000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80%</a:t>
            </a:r>
          </a:p>
        </p:txBody>
      </p:sp>
      <p:pic>
        <p:nvPicPr>
          <p:cNvPr id="5" name="Graphic 4">
            <a:extLst>
              <a:ext uri="{FF2B5EF4-FFF2-40B4-BE49-F238E27FC236}">
                <a16:creationId xmlns:a16="http://schemas.microsoft.com/office/drawing/2014/main" id="{6FBBDA54-B55C-B8CA-C472-512340A6B9C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11841" y="4962839"/>
            <a:ext cx="805469" cy="805469"/>
          </a:xfrm>
          <a:prstGeom prst="rect">
            <a:avLst/>
          </a:prstGeom>
        </p:spPr>
      </p:pic>
      <p:sp>
        <p:nvSpPr>
          <p:cNvPr id="7" name="Content Placeholder 2">
            <a:extLst>
              <a:ext uri="{FF2B5EF4-FFF2-40B4-BE49-F238E27FC236}">
                <a16:creationId xmlns:a16="http://schemas.microsoft.com/office/drawing/2014/main" id="{7FE710F3-5B75-9828-06B1-836597F654A6}"/>
              </a:ext>
            </a:extLst>
          </p:cNvPr>
          <p:cNvSpPr txBox="1">
            <a:spLocks/>
          </p:cNvSpPr>
          <p:nvPr/>
        </p:nvSpPr>
        <p:spPr>
          <a:xfrm>
            <a:off x="7074571" y="5423011"/>
            <a:ext cx="1719358" cy="39447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3000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of all new midsize core financial management application projects will</a:t>
            </a:r>
            <a:r>
              <a:rPr lang="en-US" sz="1400" baseline="30000">
                <a:solidFill>
                  <a:schemeClr val="tx1">
                    <a:lumMod val="50000"/>
                  </a:schemeClr>
                </a:solidFill>
              </a:rPr>
              <a:t> be deployed in the public cloud </a:t>
            </a:r>
            <a:endParaRPr kumimoji="0" lang="en-US" sz="1400" i="0" u="none" strike="noStrike" kern="1200" cap="none" spc="0" normalizeH="0" baseline="3000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p:txBody>
      </p:sp>
      <p:sp>
        <p:nvSpPr>
          <p:cNvPr id="12" name="Content Placeholder 2">
            <a:extLst>
              <a:ext uri="{FF2B5EF4-FFF2-40B4-BE49-F238E27FC236}">
                <a16:creationId xmlns:a16="http://schemas.microsoft.com/office/drawing/2014/main" id="{D31789F5-831F-85E4-7E4A-A7C65CBF3350}"/>
              </a:ext>
            </a:extLst>
          </p:cNvPr>
          <p:cNvSpPr txBox="1">
            <a:spLocks/>
          </p:cNvSpPr>
          <p:nvPr/>
        </p:nvSpPr>
        <p:spPr>
          <a:xfrm>
            <a:off x="9761500" y="5095877"/>
            <a:ext cx="1201613" cy="27242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5400" b="0" i="0" u="none" strike="noStrike" kern="1200" cap="none" spc="0" normalizeH="0" baseline="3000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45%</a:t>
            </a:r>
          </a:p>
        </p:txBody>
      </p:sp>
      <p:sp>
        <p:nvSpPr>
          <p:cNvPr id="15" name="Content Placeholder 2">
            <a:extLst>
              <a:ext uri="{FF2B5EF4-FFF2-40B4-BE49-F238E27FC236}">
                <a16:creationId xmlns:a16="http://schemas.microsoft.com/office/drawing/2014/main" id="{7D73E446-1336-7D04-7656-BDBC3DEC8291}"/>
              </a:ext>
            </a:extLst>
          </p:cNvPr>
          <p:cNvSpPr txBox="1">
            <a:spLocks/>
          </p:cNvSpPr>
          <p:nvPr/>
        </p:nvSpPr>
        <p:spPr>
          <a:xfrm>
            <a:off x="9749198" y="5447671"/>
            <a:ext cx="1477181" cy="39447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3000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AND of large and global ones will be deployed in the public cloud. </a:t>
            </a:r>
          </a:p>
        </p:txBody>
      </p:sp>
      <p:pic>
        <p:nvPicPr>
          <p:cNvPr id="17" name="Graphic 16">
            <a:extLst>
              <a:ext uri="{FF2B5EF4-FFF2-40B4-BE49-F238E27FC236}">
                <a16:creationId xmlns:a16="http://schemas.microsoft.com/office/drawing/2014/main" id="{7017CC82-238D-8F99-28D7-7752546A8A6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868829" y="4919027"/>
            <a:ext cx="805469" cy="805469"/>
          </a:xfrm>
          <a:prstGeom prst="rect">
            <a:avLst/>
          </a:prstGeom>
        </p:spPr>
      </p:pic>
    </p:spTree>
    <p:extLst>
      <p:ext uri="{BB962C8B-B14F-4D97-AF65-F5344CB8AC3E}">
        <p14:creationId xmlns:p14="http://schemas.microsoft.com/office/powerpoint/2010/main" val="37247076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25757804-762A-4BBB-A435-9220104A5126}"/>
              </a:ext>
            </a:extLst>
          </p:cNvPr>
          <p:cNvSpPr>
            <a:spLocks noGrp="1"/>
          </p:cNvSpPr>
          <p:nvPr>
            <p:ph type="title" idx="4294967295"/>
            <p:custDataLst>
              <p:tags r:id="rId2"/>
            </p:custDataLst>
          </p:nvPr>
        </p:nvSpPr>
        <p:spPr>
          <a:xfrm>
            <a:off x="496906" y="244453"/>
            <a:ext cx="10741025" cy="496888"/>
          </a:xfrm>
        </p:spPr>
        <p:txBody>
          <a:bodyPr/>
          <a:lstStyle/>
          <a:p>
            <a:r>
              <a:rPr lang="en-US"/>
              <a:t>Business Applications beyond ERP</a:t>
            </a:r>
          </a:p>
        </p:txBody>
      </p:sp>
      <p:graphicFrame>
        <p:nvGraphicFramePr>
          <p:cNvPr id="30" name="Table 30">
            <a:extLst>
              <a:ext uri="{FF2B5EF4-FFF2-40B4-BE49-F238E27FC236}">
                <a16:creationId xmlns:a16="http://schemas.microsoft.com/office/drawing/2014/main" id="{DE6D74CE-0A95-91F3-2E42-BFA92E38EFD6}"/>
              </a:ext>
            </a:extLst>
          </p:cNvPr>
          <p:cNvGraphicFramePr>
            <a:graphicFrameLocks noGrp="1"/>
          </p:cNvGraphicFramePr>
          <p:nvPr>
            <p:ph sz="quarter" idx="4294967295"/>
            <p:extLst>
              <p:ext uri="{D42A27DB-BD31-4B8C-83A1-F6EECF244321}">
                <p14:modId xmlns:p14="http://schemas.microsoft.com/office/powerpoint/2010/main" val="2929579641"/>
              </p:ext>
            </p:extLst>
          </p:nvPr>
        </p:nvGraphicFramePr>
        <p:xfrm>
          <a:off x="511175" y="1909763"/>
          <a:ext cx="10726756" cy="4426488"/>
        </p:xfrm>
        <a:graphic>
          <a:graphicData uri="http://schemas.openxmlformats.org/drawingml/2006/table">
            <a:tbl>
              <a:tblPr firstRow="1" bandRow="1">
                <a:tableStyleId>{8EC20E35-A176-4012-BC5E-935CFFF8708E}</a:tableStyleId>
              </a:tblPr>
              <a:tblGrid>
                <a:gridCol w="2681689">
                  <a:extLst>
                    <a:ext uri="{9D8B030D-6E8A-4147-A177-3AD203B41FA5}">
                      <a16:colId xmlns:a16="http://schemas.microsoft.com/office/drawing/2014/main" val="3857704868"/>
                    </a:ext>
                  </a:extLst>
                </a:gridCol>
                <a:gridCol w="2681689">
                  <a:extLst>
                    <a:ext uri="{9D8B030D-6E8A-4147-A177-3AD203B41FA5}">
                      <a16:colId xmlns:a16="http://schemas.microsoft.com/office/drawing/2014/main" val="847539754"/>
                    </a:ext>
                  </a:extLst>
                </a:gridCol>
                <a:gridCol w="2681689">
                  <a:extLst>
                    <a:ext uri="{9D8B030D-6E8A-4147-A177-3AD203B41FA5}">
                      <a16:colId xmlns:a16="http://schemas.microsoft.com/office/drawing/2014/main" val="916159845"/>
                    </a:ext>
                  </a:extLst>
                </a:gridCol>
                <a:gridCol w="2681689">
                  <a:extLst>
                    <a:ext uri="{9D8B030D-6E8A-4147-A177-3AD203B41FA5}">
                      <a16:colId xmlns:a16="http://schemas.microsoft.com/office/drawing/2014/main" val="1909805159"/>
                    </a:ext>
                  </a:extLst>
                </a:gridCol>
              </a:tblGrid>
              <a:tr h="371992">
                <a:tc>
                  <a:txBody>
                    <a:bodyPr/>
                    <a:lstStyle/>
                    <a:p>
                      <a:pPr algn="ctr"/>
                      <a:r>
                        <a:rPr lang="en-US" sz="1600"/>
                        <a:t>Software Category</a:t>
                      </a:r>
                    </a:p>
                  </a:txBody>
                  <a:tcPr/>
                </a:tc>
                <a:tc>
                  <a:txBody>
                    <a:bodyPr/>
                    <a:lstStyle/>
                    <a:p>
                      <a:pPr algn="ctr"/>
                      <a:r>
                        <a:rPr lang="en-US" sz="1600"/>
                        <a:t>Functionality</a:t>
                      </a:r>
                    </a:p>
                  </a:txBody>
                  <a:tcPr/>
                </a:tc>
                <a:tc>
                  <a:txBody>
                    <a:bodyPr/>
                    <a:lstStyle/>
                    <a:p>
                      <a:pPr marL="0" marR="0" lvl="0" indent="0" algn="ctr" defTabSz="1088333" rtl="0" eaLnBrk="1" fontAlgn="auto" latinLnBrk="0" hangingPunct="1">
                        <a:lnSpc>
                          <a:spcPct val="100000"/>
                        </a:lnSpc>
                        <a:spcBef>
                          <a:spcPts val="0"/>
                        </a:spcBef>
                        <a:spcAft>
                          <a:spcPts val="0"/>
                        </a:spcAft>
                        <a:buClrTx/>
                        <a:buSzTx/>
                        <a:buFontTx/>
                        <a:buNone/>
                        <a:tabLst/>
                        <a:defRPr/>
                      </a:pPr>
                      <a:r>
                        <a:rPr lang="en-US" sz="1600"/>
                        <a:t>Software Category</a:t>
                      </a:r>
                    </a:p>
                  </a:txBody>
                  <a:tcPr/>
                </a:tc>
                <a:tc>
                  <a:txBody>
                    <a:bodyPr/>
                    <a:lstStyle/>
                    <a:p>
                      <a:pPr marL="0" marR="0" lvl="0" indent="0" algn="ctr" defTabSz="1088333" rtl="0" eaLnBrk="1" fontAlgn="auto" latinLnBrk="0" hangingPunct="1">
                        <a:lnSpc>
                          <a:spcPct val="100000"/>
                        </a:lnSpc>
                        <a:spcBef>
                          <a:spcPts val="0"/>
                        </a:spcBef>
                        <a:spcAft>
                          <a:spcPts val="0"/>
                        </a:spcAft>
                        <a:buClrTx/>
                        <a:buSzTx/>
                        <a:buFontTx/>
                        <a:buNone/>
                        <a:tabLst/>
                        <a:defRPr/>
                      </a:pPr>
                      <a:r>
                        <a:rPr lang="en-US" sz="1600"/>
                        <a:t>Functionality</a:t>
                      </a:r>
                    </a:p>
                  </a:txBody>
                  <a:tcPr/>
                </a:tc>
                <a:extLst>
                  <a:ext uri="{0D108BD9-81ED-4DB2-BD59-A6C34878D82A}">
                    <a16:rowId xmlns:a16="http://schemas.microsoft.com/office/drawing/2014/main" val="3926400563"/>
                  </a:ext>
                </a:extLst>
              </a:tr>
              <a:tr h="663104">
                <a:tc>
                  <a:txBody>
                    <a:bodyPr/>
                    <a:lstStyle/>
                    <a:p>
                      <a:endParaRPr lang="en-US" sz="1000"/>
                    </a:p>
                  </a:txBody>
                  <a:tcPr anchor="ctr"/>
                </a:tc>
                <a:tc>
                  <a:txBody>
                    <a:bodyPr/>
                    <a:lstStyle/>
                    <a:p>
                      <a:pPr marL="171450" indent="-171450">
                        <a:buFont typeface="Arial" panose="020B0604020202020204" pitchFamily="34" charset="0"/>
                        <a:buChar char="•"/>
                      </a:pPr>
                      <a:r>
                        <a:rPr lang="en-US" sz="1000"/>
                        <a:t>Lead generation</a:t>
                      </a:r>
                    </a:p>
                    <a:p>
                      <a:pPr marL="171450" indent="-171450">
                        <a:buFont typeface="Arial" panose="020B0604020202020204" pitchFamily="34" charset="0"/>
                        <a:buChar char="•"/>
                      </a:pPr>
                      <a:r>
                        <a:rPr lang="en-US" sz="1000"/>
                        <a:t>Outreach (email / text)</a:t>
                      </a:r>
                    </a:p>
                  </a:txBody>
                  <a:tcPr anchor="ctr"/>
                </a:tc>
                <a:tc>
                  <a:txBody>
                    <a:bodyPr/>
                    <a:lstStyle/>
                    <a:p>
                      <a:endParaRPr lang="en-US" sz="1000"/>
                    </a:p>
                  </a:txBody>
                  <a:tcPr anchor="ctr"/>
                </a:tc>
                <a:tc>
                  <a:txBody>
                    <a:bodyPr/>
                    <a:lstStyle/>
                    <a:p>
                      <a:pPr marL="171450" indent="-171450">
                        <a:buFont typeface="Arial" panose="020B0604020202020204" pitchFamily="34" charset="0"/>
                        <a:buChar char="•"/>
                      </a:pPr>
                      <a:r>
                        <a:rPr lang="en-US" sz="1000"/>
                        <a:t>“Cash Register” for Retail &amp; Restaurant</a:t>
                      </a:r>
                    </a:p>
                    <a:p>
                      <a:pPr marL="171450" indent="-171450">
                        <a:buFont typeface="Arial" panose="020B0604020202020204" pitchFamily="34" charset="0"/>
                        <a:buChar char="•"/>
                      </a:pPr>
                      <a:r>
                        <a:rPr lang="en-US" sz="1000"/>
                        <a:t>Inventory management</a:t>
                      </a:r>
                    </a:p>
                    <a:p>
                      <a:pPr marL="171450" indent="-171450">
                        <a:buFont typeface="Arial" panose="020B0604020202020204" pitchFamily="34" charset="0"/>
                        <a:buChar char="•"/>
                      </a:pPr>
                      <a:r>
                        <a:rPr lang="en-US" sz="1000"/>
                        <a:t>Credit Card processing</a:t>
                      </a:r>
                    </a:p>
                  </a:txBody>
                  <a:tcPr anchor="ctr"/>
                </a:tc>
                <a:extLst>
                  <a:ext uri="{0D108BD9-81ED-4DB2-BD59-A6C34878D82A}">
                    <a16:rowId xmlns:a16="http://schemas.microsoft.com/office/drawing/2014/main" val="3038043841"/>
                  </a:ext>
                </a:extLst>
              </a:tr>
              <a:tr h="663104">
                <a:tc>
                  <a:txBody>
                    <a:bodyPr/>
                    <a:lstStyle/>
                    <a:p>
                      <a:endParaRPr lang="en-US" sz="1000"/>
                    </a:p>
                  </a:txBody>
                  <a:tcPr anchor="ctr"/>
                </a:tc>
                <a:tc>
                  <a:txBody>
                    <a:bodyPr/>
                    <a:lstStyle/>
                    <a:p>
                      <a:pPr marL="171450" indent="-171450">
                        <a:buFont typeface="Arial" panose="020B0604020202020204" pitchFamily="34" charset="0"/>
                        <a:buChar char="•"/>
                      </a:pPr>
                      <a:r>
                        <a:rPr lang="en-US" sz="1000"/>
                        <a:t>Leads and Prospects</a:t>
                      </a:r>
                    </a:p>
                    <a:p>
                      <a:pPr marL="171450" indent="-171450">
                        <a:buFont typeface="Arial" panose="020B0604020202020204" pitchFamily="34" charset="0"/>
                        <a:buChar char="•"/>
                      </a:pPr>
                      <a:r>
                        <a:rPr lang="en-US" sz="1000"/>
                        <a:t>Sales Opportunity Tracking</a:t>
                      </a:r>
                    </a:p>
                    <a:p>
                      <a:pPr marL="171450" indent="-171450">
                        <a:buFont typeface="Arial" panose="020B0604020202020204" pitchFamily="34" charset="0"/>
                        <a:buChar char="•"/>
                      </a:pPr>
                      <a:r>
                        <a:rPr lang="en-US" sz="1000"/>
                        <a:t>Customer Interactions</a:t>
                      </a:r>
                    </a:p>
                  </a:txBody>
                  <a:tcPr anchor="ctr"/>
                </a:tc>
                <a:tc>
                  <a:txBody>
                    <a:bodyPr/>
                    <a:lstStyle/>
                    <a:p>
                      <a:endParaRPr lang="en-US" sz="1000"/>
                    </a:p>
                  </a:txBody>
                  <a:tcPr anchor="ctr"/>
                </a:tc>
                <a:tc>
                  <a:txBody>
                    <a:bodyPr/>
                    <a:lstStyle/>
                    <a:p>
                      <a:pPr marL="171450" indent="-171450">
                        <a:buFont typeface="Arial" panose="020B0604020202020204" pitchFamily="34" charset="0"/>
                        <a:buChar char="•"/>
                      </a:pPr>
                      <a:r>
                        <a:rPr lang="en-US" sz="1000"/>
                        <a:t>Budgeting &amp; Forecasting</a:t>
                      </a:r>
                    </a:p>
                    <a:p>
                      <a:pPr marL="171450" indent="-171450">
                        <a:buFont typeface="Arial" panose="020B0604020202020204" pitchFamily="34" charset="0"/>
                        <a:buChar char="•"/>
                      </a:pPr>
                      <a:r>
                        <a:rPr lang="en-US" sz="1000"/>
                        <a:t>FP&amp;A</a:t>
                      </a:r>
                    </a:p>
                    <a:p>
                      <a:pPr marL="171450" indent="-171450">
                        <a:buFont typeface="Arial" panose="020B0604020202020204" pitchFamily="34" charset="0"/>
                        <a:buChar char="•"/>
                      </a:pPr>
                      <a:r>
                        <a:rPr lang="en-US" sz="1000"/>
                        <a:t>Financial Reporting</a:t>
                      </a:r>
                    </a:p>
                  </a:txBody>
                  <a:tcPr anchor="ctr"/>
                </a:tc>
                <a:extLst>
                  <a:ext uri="{0D108BD9-81ED-4DB2-BD59-A6C34878D82A}">
                    <a16:rowId xmlns:a16="http://schemas.microsoft.com/office/drawing/2014/main" val="3485778468"/>
                  </a:ext>
                </a:extLst>
              </a:tr>
              <a:tr h="663104">
                <a:tc>
                  <a:txBody>
                    <a:bodyPr/>
                    <a:lstStyle/>
                    <a:p>
                      <a:endParaRPr lang="en-US" sz="1000"/>
                    </a:p>
                  </a:txBody>
                  <a:tcPr anchor="ctr"/>
                </a:tc>
                <a:tc>
                  <a:txBody>
                    <a:bodyPr/>
                    <a:lstStyle/>
                    <a:p>
                      <a:pPr marL="171450" indent="-171450">
                        <a:buFont typeface="Arial" panose="020B0604020202020204" pitchFamily="34" charset="0"/>
                        <a:buChar char="•"/>
                      </a:pPr>
                      <a:r>
                        <a:rPr lang="en-US" sz="1000"/>
                        <a:t>Product Configuration</a:t>
                      </a:r>
                    </a:p>
                    <a:p>
                      <a:pPr marL="171450" indent="-171450">
                        <a:buFont typeface="Arial" panose="020B0604020202020204" pitchFamily="34" charset="0"/>
                        <a:buChar char="•"/>
                      </a:pPr>
                      <a:r>
                        <a:rPr lang="en-US" sz="1000"/>
                        <a:t>Dynamic Pricing</a:t>
                      </a:r>
                    </a:p>
                    <a:p>
                      <a:pPr marL="171450" indent="-171450">
                        <a:buFont typeface="Arial" panose="020B0604020202020204" pitchFamily="34" charset="0"/>
                        <a:buChar char="•"/>
                      </a:pPr>
                      <a:r>
                        <a:rPr lang="en-US" sz="1000"/>
                        <a:t>Quote Generation</a:t>
                      </a:r>
                    </a:p>
                  </a:txBody>
                  <a:tcPr anchor="ctr"/>
                </a:tc>
                <a:tc>
                  <a:txBody>
                    <a:bodyPr/>
                    <a:lstStyle/>
                    <a:p>
                      <a:endParaRPr lang="en-US" sz="1000"/>
                    </a:p>
                  </a:txBody>
                  <a:tcPr anchor="ctr"/>
                </a:tc>
                <a:tc>
                  <a:txBody>
                    <a:bodyPr/>
                    <a:lstStyle/>
                    <a:p>
                      <a:pPr marL="171450" indent="-171450">
                        <a:buFont typeface="Arial" panose="020B0604020202020204" pitchFamily="34" charset="0"/>
                        <a:buChar char="•"/>
                      </a:pPr>
                      <a:r>
                        <a:rPr lang="en-US" sz="1000"/>
                        <a:t>Online Sales </a:t>
                      </a:r>
                    </a:p>
                    <a:p>
                      <a:pPr marL="171450" indent="-171450">
                        <a:buFont typeface="Arial" panose="020B0604020202020204" pitchFamily="34" charset="0"/>
                        <a:buChar char="•"/>
                      </a:pPr>
                      <a:r>
                        <a:rPr lang="en-US" sz="1000"/>
                        <a:t>Marketplace Sales</a:t>
                      </a:r>
                    </a:p>
                  </a:txBody>
                  <a:tcPr anchor="ctr"/>
                </a:tc>
                <a:extLst>
                  <a:ext uri="{0D108BD9-81ED-4DB2-BD59-A6C34878D82A}">
                    <a16:rowId xmlns:a16="http://schemas.microsoft.com/office/drawing/2014/main" val="3758197370"/>
                  </a:ext>
                </a:extLst>
              </a:tr>
              <a:tr h="663104">
                <a:tc>
                  <a:txBody>
                    <a:bodyPr/>
                    <a:lstStyle/>
                    <a:p>
                      <a:endParaRPr lang="en-US" sz="1000"/>
                    </a:p>
                  </a:txBody>
                  <a:tcPr anchor="ctr"/>
                </a:tc>
                <a:tc>
                  <a:txBody>
                    <a:bodyPr/>
                    <a:lstStyle/>
                    <a:p>
                      <a:pPr marL="171450" indent="-171450">
                        <a:buFont typeface="Arial" panose="020B0604020202020204" pitchFamily="34" charset="0"/>
                        <a:buChar char="•"/>
                      </a:pPr>
                      <a:r>
                        <a:rPr lang="en-US" sz="1000"/>
                        <a:t>Manage Subscription billing &amp; collections</a:t>
                      </a:r>
                    </a:p>
                    <a:p>
                      <a:pPr marL="171450" indent="-171450">
                        <a:buFont typeface="Arial" panose="020B0604020202020204" pitchFamily="34" charset="0"/>
                        <a:buChar char="•"/>
                      </a:pPr>
                      <a:r>
                        <a:rPr lang="en-US" sz="1000"/>
                        <a:t>Ability to handle frequent amendments</a:t>
                      </a:r>
                    </a:p>
                    <a:p>
                      <a:pPr marL="171450" indent="-171450">
                        <a:buFont typeface="Arial" panose="020B0604020202020204" pitchFamily="34" charset="0"/>
                        <a:buChar char="•"/>
                      </a:pPr>
                      <a:r>
                        <a:rPr lang="en-US" sz="1000"/>
                        <a:t>Allocate revenue based on Accounting Rules (ASC 606)</a:t>
                      </a:r>
                    </a:p>
                  </a:txBody>
                  <a:tcPr anchor="ctr"/>
                </a:tc>
                <a:tc>
                  <a:txBody>
                    <a:bodyPr/>
                    <a:lstStyle/>
                    <a:p>
                      <a:endParaRPr lang="en-US" sz="1000"/>
                    </a:p>
                  </a:txBody>
                  <a:tcPr anchor="ctr"/>
                </a:tc>
                <a:tc>
                  <a:txBody>
                    <a:bodyPr/>
                    <a:lstStyle/>
                    <a:p>
                      <a:pPr marL="171450" indent="-171450">
                        <a:buFont typeface="Arial" panose="020B0604020202020204" pitchFamily="34" charset="0"/>
                        <a:buChar char="•"/>
                      </a:pPr>
                      <a:r>
                        <a:rPr lang="en-US" sz="1000"/>
                        <a:t>Automated maintenance of Sales Tax Rates by jurisdiction</a:t>
                      </a:r>
                    </a:p>
                    <a:p>
                      <a:pPr marL="171450" indent="-171450">
                        <a:buFont typeface="Arial" panose="020B0604020202020204" pitchFamily="34" charset="0"/>
                        <a:buChar char="•"/>
                      </a:pPr>
                      <a:r>
                        <a:rPr lang="en-US" sz="1000"/>
                        <a:t>Rate Engine for Sales &amp; Invoicing</a:t>
                      </a:r>
                    </a:p>
                    <a:p>
                      <a:pPr marL="171450" indent="-171450">
                        <a:buFont typeface="Arial" panose="020B0604020202020204" pitchFamily="34" charset="0"/>
                        <a:buChar char="•"/>
                      </a:pPr>
                      <a:r>
                        <a:rPr lang="en-US" sz="1000"/>
                        <a:t>Compliance &amp; Tax filings</a:t>
                      </a:r>
                    </a:p>
                  </a:txBody>
                  <a:tcPr anchor="ctr"/>
                </a:tc>
                <a:extLst>
                  <a:ext uri="{0D108BD9-81ED-4DB2-BD59-A6C34878D82A}">
                    <a16:rowId xmlns:a16="http://schemas.microsoft.com/office/drawing/2014/main" val="957079801"/>
                  </a:ext>
                </a:extLst>
              </a:tr>
              <a:tr h="663104">
                <a:tc>
                  <a:txBody>
                    <a:bodyPr/>
                    <a:lstStyle/>
                    <a:p>
                      <a:endParaRPr lang="en-US" sz="1000"/>
                    </a:p>
                  </a:txBody>
                  <a:tcPr anchor="ctr"/>
                </a:tc>
                <a:tc>
                  <a:txBody>
                    <a:bodyPr/>
                    <a:lstStyle/>
                    <a:p>
                      <a:pPr marL="171450" indent="-171450">
                        <a:buFont typeface="Arial" panose="020B0604020202020204" pitchFamily="34" charset="0"/>
                        <a:buChar char="•"/>
                      </a:pPr>
                      <a:r>
                        <a:rPr lang="en-US" sz="1000"/>
                        <a:t>Project Based Revenue</a:t>
                      </a:r>
                    </a:p>
                    <a:p>
                      <a:pPr marL="171450" indent="-171450">
                        <a:buFont typeface="Arial" panose="020B0604020202020204" pitchFamily="34" charset="0"/>
                        <a:buChar char="•"/>
                      </a:pPr>
                      <a:r>
                        <a:rPr lang="en-US" sz="1000"/>
                        <a:t>Time Tracking</a:t>
                      </a:r>
                    </a:p>
                    <a:p>
                      <a:pPr marL="171450" indent="-171450">
                        <a:buFont typeface="Arial" panose="020B0604020202020204" pitchFamily="34" charset="0"/>
                        <a:buChar char="•"/>
                      </a:pPr>
                      <a:r>
                        <a:rPr lang="en-US" sz="1000"/>
                        <a:t>Project Based Billing</a:t>
                      </a:r>
                    </a:p>
                  </a:txBody>
                  <a:tcPr anchor="ctr"/>
                </a:tc>
                <a:tc>
                  <a:txBody>
                    <a:bodyPr/>
                    <a:lstStyle/>
                    <a:p>
                      <a:endParaRPr lang="en-US" sz="1000"/>
                    </a:p>
                  </a:txBody>
                  <a:tcPr anchor="ctr"/>
                </a:tc>
                <a:tc>
                  <a:txBody>
                    <a:bodyPr/>
                    <a:lstStyle/>
                    <a:p>
                      <a:pPr marL="171450" indent="-171450">
                        <a:buFont typeface="Arial" panose="020B0604020202020204" pitchFamily="34" charset="0"/>
                        <a:buChar char="•"/>
                      </a:pPr>
                      <a:r>
                        <a:rPr lang="en-US" sz="1000"/>
                        <a:t>Checklists for close tasks</a:t>
                      </a:r>
                    </a:p>
                    <a:p>
                      <a:pPr marL="171450" indent="-171450">
                        <a:buFont typeface="Arial" panose="020B0604020202020204" pitchFamily="34" charset="0"/>
                        <a:buChar char="•"/>
                      </a:pPr>
                      <a:r>
                        <a:rPr lang="en-US" sz="1000"/>
                        <a:t>Reconciliation and review</a:t>
                      </a:r>
                    </a:p>
                  </a:txBody>
                  <a:tcPr anchor="ctr"/>
                </a:tc>
                <a:extLst>
                  <a:ext uri="{0D108BD9-81ED-4DB2-BD59-A6C34878D82A}">
                    <a16:rowId xmlns:a16="http://schemas.microsoft.com/office/drawing/2014/main" val="4029223548"/>
                  </a:ext>
                </a:extLst>
              </a:tr>
              <a:tr h="658140">
                <a:tc>
                  <a:txBody>
                    <a:bodyPr/>
                    <a:lstStyle/>
                    <a:p>
                      <a:endParaRPr lang="en-US" sz="1000"/>
                    </a:p>
                  </a:txBody>
                  <a:tcPr anchor="ctr"/>
                </a:tc>
                <a:tc>
                  <a:txBody>
                    <a:bodyPr/>
                    <a:lstStyle/>
                    <a:p>
                      <a:pPr marL="171450" indent="-171450">
                        <a:buFont typeface="Arial" panose="020B0604020202020204" pitchFamily="34" charset="0"/>
                        <a:buChar char="•"/>
                      </a:pPr>
                      <a:r>
                        <a:rPr lang="en-US" sz="1000"/>
                        <a:t>Employee Life Cycle (Hire to Retire)</a:t>
                      </a:r>
                    </a:p>
                    <a:p>
                      <a:pPr marL="171450" indent="-171450">
                        <a:buFont typeface="Arial" panose="020B0604020202020204" pitchFamily="34" charset="0"/>
                        <a:buChar char="•"/>
                      </a:pPr>
                      <a:r>
                        <a:rPr lang="en-US" sz="1000"/>
                        <a:t>Benefits Management </a:t>
                      </a:r>
                    </a:p>
                    <a:p>
                      <a:pPr marL="171450" indent="-171450">
                        <a:buFont typeface="Arial" panose="020B0604020202020204" pitchFamily="34" charset="0"/>
                        <a:buChar char="•"/>
                      </a:pPr>
                      <a:r>
                        <a:rPr lang="en-US" sz="1000"/>
                        <a:t>Time Tracking</a:t>
                      </a:r>
                    </a:p>
                    <a:p>
                      <a:pPr marL="171450" indent="-171450">
                        <a:buFont typeface="Arial" panose="020B0604020202020204" pitchFamily="34" charset="0"/>
                        <a:buChar char="•"/>
                      </a:pPr>
                      <a:r>
                        <a:rPr lang="en-US" sz="1000"/>
                        <a:t>Payroll</a:t>
                      </a:r>
                    </a:p>
                  </a:txBody>
                  <a:tcPr anchor="ctr"/>
                </a:tc>
                <a:tc>
                  <a:txBody>
                    <a:bodyPr/>
                    <a:lstStyle/>
                    <a:p>
                      <a:endParaRPr lang="en-US" sz="1000"/>
                    </a:p>
                  </a:txBody>
                  <a:tcPr anchor="ctr"/>
                </a:tc>
                <a:tc>
                  <a:txBody>
                    <a:bodyPr/>
                    <a:lstStyle/>
                    <a:p>
                      <a:pPr marL="171450" indent="-171450">
                        <a:buFont typeface="Arial" panose="020B0604020202020204" pitchFamily="34" charset="0"/>
                        <a:buChar char="•"/>
                      </a:pPr>
                      <a:r>
                        <a:rPr lang="en-US" sz="1000"/>
                        <a:t>Employee Expense Reimbursement</a:t>
                      </a:r>
                    </a:p>
                    <a:p>
                      <a:pPr marL="171450" indent="-171450">
                        <a:buFont typeface="Arial" panose="020B0604020202020204" pitchFamily="34" charset="0"/>
                        <a:buChar char="•"/>
                      </a:pPr>
                      <a:r>
                        <a:rPr lang="en-US" sz="1000"/>
                        <a:t>P-Card Expense capture</a:t>
                      </a:r>
                    </a:p>
                  </a:txBody>
                  <a:tcPr anchor="ctr"/>
                </a:tc>
                <a:extLst>
                  <a:ext uri="{0D108BD9-81ED-4DB2-BD59-A6C34878D82A}">
                    <a16:rowId xmlns:a16="http://schemas.microsoft.com/office/drawing/2014/main" val="1886327910"/>
                  </a:ext>
                </a:extLst>
              </a:tr>
            </a:tbl>
          </a:graphicData>
        </a:graphic>
      </p:graphicFrame>
      <p:sp>
        <p:nvSpPr>
          <p:cNvPr id="23" name="Slide Number Placeholder 22">
            <a:extLst>
              <a:ext uri="{FF2B5EF4-FFF2-40B4-BE49-F238E27FC236}">
                <a16:creationId xmlns:a16="http://schemas.microsoft.com/office/drawing/2014/main" id="{D7F14376-1045-431B-87FB-83A7FD690EE6}"/>
              </a:ext>
            </a:extLst>
          </p:cNvPr>
          <p:cNvSpPr>
            <a:spLocks noGrp="1"/>
          </p:cNvSpPr>
          <p:nvPr>
            <p:ph type="sldNum" sz="quarter" idx="4294967295"/>
            <p:custDataLst>
              <p:tags r:id="rId3"/>
            </p:custDataLst>
          </p:nvPr>
        </p:nvSpPr>
        <p:spPr>
          <a:xfrm>
            <a:off x="0" y="6181725"/>
            <a:ext cx="1022350" cy="246063"/>
          </a:xfrm>
          <a:prstGeom prst="rect">
            <a:avLst/>
          </a:prstGeom>
        </p:spPr>
        <p:txBody>
          <a:bodyPr/>
          <a:lstStyle/>
          <a:p>
            <a:fld id="{AF4FAD32-EA27-4361-AB7D-99AD52059D67}" type="slidenum">
              <a:rPr lang="en-US" smtClean="0"/>
              <a:pPr/>
              <a:t>15</a:t>
            </a:fld>
            <a:endParaRPr lang="en-US"/>
          </a:p>
        </p:txBody>
      </p:sp>
      <p:sp>
        <p:nvSpPr>
          <p:cNvPr id="4" name="Rectangle 3">
            <a:extLst>
              <a:ext uri="{FF2B5EF4-FFF2-40B4-BE49-F238E27FC236}">
                <a16:creationId xmlns:a16="http://schemas.microsoft.com/office/drawing/2014/main" id="{9DEB976F-7982-27F7-0004-4717B8FF4CB7}"/>
              </a:ext>
            </a:extLst>
          </p:cNvPr>
          <p:cNvSpPr/>
          <p:nvPr/>
        </p:nvSpPr>
        <p:spPr>
          <a:xfrm>
            <a:off x="1747826" y="3680765"/>
            <a:ext cx="2065672" cy="555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CPQ</a:t>
            </a:r>
          </a:p>
          <a:p>
            <a:r>
              <a:rPr lang="en-US" sz="900">
                <a:solidFill>
                  <a:schemeClr val="tx1"/>
                </a:solidFill>
                <a:latin typeface="Arial" panose="020B0604020202020204" pitchFamily="34" charset="0"/>
                <a:cs typeface="Arial" panose="020B0604020202020204" pitchFamily="34" charset="0"/>
              </a:rPr>
              <a:t>Configure, Price, Quote</a:t>
            </a:r>
          </a:p>
        </p:txBody>
      </p:sp>
      <p:pic>
        <p:nvPicPr>
          <p:cNvPr id="5" name="Picture 4">
            <a:extLst>
              <a:ext uri="{FF2B5EF4-FFF2-40B4-BE49-F238E27FC236}">
                <a16:creationId xmlns:a16="http://schemas.microsoft.com/office/drawing/2014/main" id="{41636178-9186-7CA9-EDDB-CECCAFCF11B6}"/>
              </a:ext>
            </a:extLst>
          </p:cNvPr>
          <p:cNvPicPr>
            <a:picLocks noChangeAspect="1"/>
          </p:cNvPicPr>
          <p:nvPr/>
        </p:nvPicPr>
        <p:blipFill>
          <a:blip r:embed="rId6"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564171" y="5154257"/>
            <a:ext cx="365760" cy="365760"/>
          </a:xfrm>
          <a:prstGeom prst="rect">
            <a:avLst/>
          </a:prstGeom>
          <a:noFill/>
        </p:spPr>
      </p:pic>
      <p:sp>
        <p:nvSpPr>
          <p:cNvPr id="6" name="Rectangle 5">
            <a:extLst>
              <a:ext uri="{FF2B5EF4-FFF2-40B4-BE49-F238E27FC236}">
                <a16:creationId xmlns:a16="http://schemas.microsoft.com/office/drawing/2014/main" id="{01919287-F2E5-1A49-79EE-560A1A614100}"/>
              </a:ext>
            </a:extLst>
          </p:cNvPr>
          <p:cNvSpPr/>
          <p:nvPr/>
        </p:nvSpPr>
        <p:spPr>
          <a:xfrm>
            <a:off x="7036107" y="5042310"/>
            <a:ext cx="2079772" cy="55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FCA</a:t>
            </a:r>
          </a:p>
          <a:p>
            <a:r>
              <a:rPr lang="en-US" sz="900">
                <a:solidFill>
                  <a:schemeClr val="tx1"/>
                </a:solidFill>
                <a:latin typeface="Arial" panose="020B0604020202020204" pitchFamily="34" charset="0"/>
                <a:cs typeface="Arial" panose="020B0604020202020204" pitchFamily="34" charset="0"/>
              </a:rPr>
              <a:t>Financial Close Automation</a:t>
            </a:r>
          </a:p>
        </p:txBody>
      </p:sp>
      <p:sp>
        <p:nvSpPr>
          <p:cNvPr id="7" name="Rectangle 6">
            <a:extLst>
              <a:ext uri="{FF2B5EF4-FFF2-40B4-BE49-F238E27FC236}">
                <a16:creationId xmlns:a16="http://schemas.microsoft.com/office/drawing/2014/main" id="{FDDA5FA7-13DF-C6E6-DDD6-21F85FFBC025}"/>
              </a:ext>
            </a:extLst>
          </p:cNvPr>
          <p:cNvSpPr/>
          <p:nvPr/>
        </p:nvSpPr>
        <p:spPr>
          <a:xfrm>
            <a:off x="7020681" y="2993104"/>
            <a:ext cx="3005674" cy="55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CPM</a:t>
            </a:r>
          </a:p>
          <a:p>
            <a:r>
              <a:rPr lang="en-US" sz="900">
                <a:solidFill>
                  <a:schemeClr val="tx1"/>
                </a:solidFill>
                <a:latin typeface="Arial" panose="020B0604020202020204" pitchFamily="34" charset="0"/>
                <a:cs typeface="Arial" panose="020B0604020202020204" pitchFamily="34" charset="0"/>
              </a:rPr>
              <a:t>Enterprise Performance Management</a:t>
            </a:r>
          </a:p>
        </p:txBody>
      </p:sp>
      <p:sp>
        <p:nvSpPr>
          <p:cNvPr id="8" name="Rectangle 7">
            <a:extLst>
              <a:ext uri="{FF2B5EF4-FFF2-40B4-BE49-F238E27FC236}">
                <a16:creationId xmlns:a16="http://schemas.microsoft.com/office/drawing/2014/main" id="{E50DB369-9625-FF1A-1F92-8ADAEDFD5FD3}"/>
              </a:ext>
            </a:extLst>
          </p:cNvPr>
          <p:cNvSpPr/>
          <p:nvPr/>
        </p:nvSpPr>
        <p:spPr>
          <a:xfrm>
            <a:off x="7036107" y="4368848"/>
            <a:ext cx="2079771" cy="564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Sales</a:t>
            </a:r>
            <a:r>
              <a:rPr lang="en-US" sz="1200" b="1">
                <a:solidFill>
                  <a:srgbClr val="009CDE"/>
                </a:solidFill>
                <a:latin typeface="Arial" panose="020B0604020202020204" pitchFamily="34" charset="0"/>
                <a:cs typeface="Arial" panose="020B0604020202020204" pitchFamily="34" charset="0"/>
              </a:rPr>
              <a:t> </a:t>
            </a:r>
            <a:r>
              <a:rPr lang="en-US" sz="1200" b="1">
                <a:solidFill>
                  <a:schemeClr val="accent2"/>
                </a:solidFill>
                <a:latin typeface="Arial" panose="020B0604020202020204" pitchFamily="34" charset="0"/>
                <a:cs typeface="Arial" panose="020B0604020202020204" pitchFamily="34" charset="0"/>
              </a:rPr>
              <a:t>Tax</a:t>
            </a:r>
          </a:p>
          <a:p>
            <a:r>
              <a:rPr lang="en-US" sz="900">
                <a:solidFill>
                  <a:schemeClr val="tx1"/>
                </a:solidFill>
                <a:latin typeface="Arial" panose="020B0604020202020204" pitchFamily="34" charset="0"/>
                <a:cs typeface="Arial" panose="020B0604020202020204" pitchFamily="34" charset="0"/>
              </a:rPr>
              <a:t>Sales and Use Tax Automation</a:t>
            </a:r>
          </a:p>
        </p:txBody>
      </p:sp>
      <p:sp>
        <p:nvSpPr>
          <p:cNvPr id="9" name="Rectangle 8">
            <a:extLst>
              <a:ext uri="{FF2B5EF4-FFF2-40B4-BE49-F238E27FC236}">
                <a16:creationId xmlns:a16="http://schemas.microsoft.com/office/drawing/2014/main" id="{B2208E3C-6D2A-F9C2-2930-C69FCF6B662D}"/>
              </a:ext>
            </a:extLst>
          </p:cNvPr>
          <p:cNvSpPr/>
          <p:nvPr/>
        </p:nvSpPr>
        <p:spPr>
          <a:xfrm>
            <a:off x="1742951" y="3046034"/>
            <a:ext cx="1811468" cy="555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CRM</a:t>
            </a:r>
          </a:p>
          <a:p>
            <a:r>
              <a:rPr lang="en-US" sz="900">
                <a:solidFill>
                  <a:schemeClr val="tx1"/>
                </a:solidFill>
                <a:latin typeface="Arial" panose="020B0604020202020204" pitchFamily="34" charset="0"/>
                <a:cs typeface="Arial" panose="020B0604020202020204" pitchFamily="34" charset="0"/>
              </a:rPr>
              <a:t>Customer Relationship Mgmt.</a:t>
            </a:r>
          </a:p>
        </p:txBody>
      </p:sp>
      <p:sp>
        <p:nvSpPr>
          <p:cNvPr id="10" name="Rectangle 9">
            <a:extLst>
              <a:ext uri="{FF2B5EF4-FFF2-40B4-BE49-F238E27FC236}">
                <a16:creationId xmlns:a16="http://schemas.microsoft.com/office/drawing/2014/main" id="{B92E6606-C94A-DD84-5D37-762214FD998A}"/>
              </a:ext>
            </a:extLst>
          </p:cNvPr>
          <p:cNvSpPr/>
          <p:nvPr/>
        </p:nvSpPr>
        <p:spPr>
          <a:xfrm>
            <a:off x="1742951" y="2380454"/>
            <a:ext cx="1735406" cy="555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Marketing</a:t>
            </a:r>
          </a:p>
          <a:p>
            <a:r>
              <a:rPr lang="en-US" sz="900">
                <a:solidFill>
                  <a:schemeClr val="tx1"/>
                </a:solidFill>
                <a:latin typeface="Arial" panose="020B0604020202020204" pitchFamily="34" charset="0"/>
                <a:cs typeface="Arial" panose="020B0604020202020204" pitchFamily="34" charset="0"/>
              </a:rPr>
              <a:t>Marketing Automation</a:t>
            </a:r>
          </a:p>
        </p:txBody>
      </p:sp>
      <p:sp>
        <p:nvSpPr>
          <p:cNvPr id="12" name="Rectangle 11">
            <a:extLst>
              <a:ext uri="{FF2B5EF4-FFF2-40B4-BE49-F238E27FC236}">
                <a16:creationId xmlns:a16="http://schemas.microsoft.com/office/drawing/2014/main" id="{2D6999C7-B69A-4238-BBAA-64EBB703A3F6}"/>
              </a:ext>
            </a:extLst>
          </p:cNvPr>
          <p:cNvSpPr/>
          <p:nvPr/>
        </p:nvSpPr>
        <p:spPr>
          <a:xfrm>
            <a:off x="1742951" y="4356351"/>
            <a:ext cx="2349205" cy="555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Billing &amp; Revenue</a:t>
            </a:r>
          </a:p>
          <a:p>
            <a:r>
              <a:rPr lang="en-US" sz="900">
                <a:solidFill>
                  <a:schemeClr val="tx1"/>
                </a:solidFill>
                <a:latin typeface="Arial" panose="020B0604020202020204" pitchFamily="34" charset="0"/>
                <a:cs typeface="Arial" panose="020B0604020202020204" pitchFamily="34" charset="0"/>
              </a:rPr>
              <a:t>Subscription Billing &amp; Revenue Recognition Automation</a:t>
            </a:r>
          </a:p>
        </p:txBody>
      </p:sp>
      <p:sp>
        <p:nvSpPr>
          <p:cNvPr id="13" name="Rectangle 12">
            <a:extLst>
              <a:ext uri="{FF2B5EF4-FFF2-40B4-BE49-F238E27FC236}">
                <a16:creationId xmlns:a16="http://schemas.microsoft.com/office/drawing/2014/main" id="{F124BD86-D3AD-0886-B607-808D6F4E98FF}"/>
              </a:ext>
            </a:extLst>
          </p:cNvPr>
          <p:cNvSpPr/>
          <p:nvPr/>
        </p:nvSpPr>
        <p:spPr>
          <a:xfrm>
            <a:off x="1747826" y="5061188"/>
            <a:ext cx="2079773" cy="55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PSA</a:t>
            </a:r>
          </a:p>
          <a:p>
            <a:r>
              <a:rPr lang="en-US" sz="900">
                <a:solidFill>
                  <a:schemeClr val="tx1"/>
                </a:solidFill>
                <a:latin typeface="Arial" panose="020B0604020202020204" pitchFamily="34" charset="0"/>
                <a:cs typeface="Arial" panose="020B0604020202020204" pitchFamily="34" charset="0"/>
              </a:rPr>
              <a:t>Professional Services Automation</a:t>
            </a:r>
          </a:p>
        </p:txBody>
      </p:sp>
      <p:pic>
        <p:nvPicPr>
          <p:cNvPr id="14" name="Graphic 40" descr="Daily Calendar">
            <a:extLst>
              <a:ext uri="{FF2B5EF4-FFF2-40B4-BE49-F238E27FC236}">
                <a16:creationId xmlns:a16="http://schemas.microsoft.com/office/drawing/2014/main" id="{D1CBA051-1023-FF30-707B-58C22446A9C9}"/>
              </a:ext>
            </a:extLst>
          </p:cNvPr>
          <p:cNvPicPr>
            <a:picLocks noChangeAspect="1"/>
          </p:cNvPicPr>
          <p:nvPr/>
        </p:nvPicPr>
        <p:blipFill>
          <a:blip r:embed="rId7" cstate="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43366" y="5101892"/>
            <a:ext cx="403479" cy="403479"/>
          </a:xfrm>
          <a:prstGeom prst="rect">
            <a:avLst/>
          </a:prstGeom>
        </p:spPr>
      </p:pic>
      <p:sp>
        <p:nvSpPr>
          <p:cNvPr id="15" name="Rectangle 14">
            <a:extLst>
              <a:ext uri="{FF2B5EF4-FFF2-40B4-BE49-F238E27FC236}">
                <a16:creationId xmlns:a16="http://schemas.microsoft.com/office/drawing/2014/main" id="{3D61D055-1F3A-36A4-5F8B-36A97941E90E}"/>
              </a:ext>
            </a:extLst>
          </p:cNvPr>
          <p:cNvSpPr/>
          <p:nvPr/>
        </p:nvSpPr>
        <p:spPr>
          <a:xfrm>
            <a:off x="1727957" y="5731000"/>
            <a:ext cx="2079774" cy="55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HRIS</a:t>
            </a:r>
          </a:p>
          <a:p>
            <a:r>
              <a:rPr lang="en-US" sz="900">
                <a:solidFill>
                  <a:schemeClr val="tx1"/>
                </a:solidFill>
                <a:latin typeface="Arial" panose="020B0604020202020204" pitchFamily="34" charset="0"/>
                <a:cs typeface="Arial" panose="020B0604020202020204" pitchFamily="34" charset="0"/>
              </a:rPr>
              <a:t>Human Resources Information System</a:t>
            </a:r>
          </a:p>
        </p:txBody>
      </p:sp>
      <p:pic>
        <p:nvPicPr>
          <p:cNvPr id="16" name="Picture 15">
            <a:extLst>
              <a:ext uri="{FF2B5EF4-FFF2-40B4-BE49-F238E27FC236}">
                <a16:creationId xmlns:a16="http://schemas.microsoft.com/office/drawing/2014/main" id="{0B2D4591-C258-F8E8-1532-D97108AE63B0}"/>
              </a:ext>
            </a:extLst>
          </p:cNvPr>
          <p:cNvPicPr>
            <a:picLocks noChangeAspect="1"/>
          </p:cNvPicPr>
          <p:nvPr/>
        </p:nvPicPr>
        <p:blipFill>
          <a:blip r:embed="rId9">
            <a:clrChange>
              <a:clrFrom>
                <a:srgbClr val="FFFFFF"/>
              </a:clrFrom>
              <a:clrTo>
                <a:srgbClr val="FFFFFF">
                  <a:alpha val="0"/>
                </a:srgbClr>
              </a:clrTo>
            </a:clrChange>
            <a:duotone>
              <a:prstClr val="black"/>
              <a:schemeClr val="accent2">
                <a:tint val="45000"/>
                <a:satMod val="400000"/>
              </a:schemeClr>
            </a:duotone>
          </a:blip>
          <a:stretch>
            <a:fillRect/>
          </a:stretch>
        </p:blipFill>
        <p:spPr>
          <a:xfrm>
            <a:off x="1171456" y="5782802"/>
            <a:ext cx="543904" cy="450507"/>
          </a:xfrm>
          <a:prstGeom prst="rect">
            <a:avLst/>
          </a:prstGeom>
        </p:spPr>
      </p:pic>
      <p:sp>
        <p:nvSpPr>
          <p:cNvPr id="17" name="Rectangle 16">
            <a:extLst>
              <a:ext uri="{FF2B5EF4-FFF2-40B4-BE49-F238E27FC236}">
                <a16:creationId xmlns:a16="http://schemas.microsoft.com/office/drawing/2014/main" id="{38F762CF-F611-9D2C-4DED-758B882EB33D}"/>
              </a:ext>
            </a:extLst>
          </p:cNvPr>
          <p:cNvSpPr/>
          <p:nvPr/>
        </p:nvSpPr>
        <p:spPr>
          <a:xfrm>
            <a:off x="7036107" y="2346421"/>
            <a:ext cx="2219608" cy="55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POS</a:t>
            </a:r>
          </a:p>
          <a:p>
            <a:r>
              <a:rPr lang="en-US" sz="900">
                <a:solidFill>
                  <a:schemeClr val="tx1"/>
                </a:solidFill>
                <a:latin typeface="Arial" panose="020B0604020202020204" pitchFamily="34" charset="0"/>
                <a:cs typeface="Arial" panose="020B0604020202020204" pitchFamily="34" charset="0"/>
              </a:rPr>
              <a:t>Point of Sale System</a:t>
            </a:r>
          </a:p>
        </p:txBody>
      </p:sp>
      <p:sp>
        <p:nvSpPr>
          <p:cNvPr id="18" name="Rectangle 17">
            <a:extLst>
              <a:ext uri="{FF2B5EF4-FFF2-40B4-BE49-F238E27FC236}">
                <a16:creationId xmlns:a16="http://schemas.microsoft.com/office/drawing/2014/main" id="{0DD9DA9E-D5BE-E6A9-255E-6997620E704D}"/>
              </a:ext>
            </a:extLst>
          </p:cNvPr>
          <p:cNvSpPr/>
          <p:nvPr/>
        </p:nvSpPr>
        <p:spPr>
          <a:xfrm>
            <a:off x="7036107" y="5722663"/>
            <a:ext cx="1832319" cy="55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EMS</a:t>
            </a:r>
          </a:p>
          <a:p>
            <a:r>
              <a:rPr lang="en-US" sz="900">
                <a:solidFill>
                  <a:schemeClr val="tx1"/>
                </a:solidFill>
                <a:latin typeface="Arial" panose="020B0604020202020204" pitchFamily="34" charset="0"/>
                <a:cs typeface="Arial" panose="020B0604020202020204" pitchFamily="34" charset="0"/>
              </a:rPr>
              <a:t>Expense Mgmt. Software</a:t>
            </a:r>
          </a:p>
        </p:txBody>
      </p:sp>
      <p:pic>
        <p:nvPicPr>
          <p:cNvPr id="19" name="Picture 18">
            <a:extLst>
              <a:ext uri="{FF2B5EF4-FFF2-40B4-BE49-F238E27FC236}">
                <a16:creationId xmlns:a16="http://schemas.microsoft.com/office/drawing/2014/main" id="{50940E55-8F02-FB84-E36C-BB8F3D9EF436}"/>
              </a:ext>
            </a:extLst>
          </p:cNvPr>
          <p:cNvPicPr>
            <a:picLocks noChangeAspect="1"/>
          </p:cNvPicPr>
          <p:nvPr/>
        </p:nvPicPr>
        <p:blipFill>
          <a:blip r:embed="rId10">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11">
                    <a14:imgEffect>
                      <a14:saturation sat="0"/>
                    </a14:imgEffect>
                  </a14:imgLayer>
                </a14:imgProps>
              </a:ext>
            </a:extLst>
          </a:blip>
          <a:stretch>
            <a:fillRect/>
          </a:stretch>
        </p:blipFill>
        <p:spPr>
          <a:xfrm>
            <a:off x="6553099" y="5810001"/>
            <a:ext cx="457813" cy="379433"/>
          </a:xfrm>
          <a:prstGeom prst="rect">
            <a:avLst/>
          </a:prstGeom>
        </p:spPr>
      </p:pic>
      <p:pic>
        <p:nvPicPr>
          <p:cNvPr id="20" name="Picture 19">
            <a:extLst>
              <a:ext uri="{FF2B5EF4-FFF2-40B4-BE49-F238E27FC236}">
                <a16:creationId xmlns:a16="http://schemas.microsoft.com/office/drawing/2014/main" id="{F5E08366-6BC3-7671-B719-8198A4A8C9B9}"/>
              </a:ext>
            </a:extLst>
          </p:cNvPr>
          <p:cNvPicPr>
            <a:picLocks noChangeAspect="1"/>
          </p:cNvPicPr>
          <p:nvPr/>
        </p:nvPicPr>
        <p:blipFill>
          <a:blip r:embed="rId12">
            <a:duotone>
              <a:prstClr val="black"/>
              <a:schemeClr val="accent2">
                <a:tint val="45000"/>
                <a:satMod val="400000"/>
              </a:schemeClr>
            </a:duotone>
          </a:blip>
          <a:stretch>
            <a:fillRect/>
          </a:stretch>
        </p:blipFill>
        <p:spPr>
          <a:xfrm>
            <a:off x="6521645" y="4478023"/>
            <a:ext cx="481878" cy="388006"/>
          </a:xfrm>
          <a:prstGeom prst="rect">
            <a:avLst/>
          </a:prstGeom>
        </p:spPr>
      </p:pic>
      <p:pic>
        <p:nvPicPr>
          <p:cNvPr id="24" name="Picture 23">
            <a:extLst>
              <a:ext uri="{FF2B5EF4-FFF2-40B4-BE49-F238E27FC236}">
                <a16:creationId xmlns:a16="http://schemas.microsoft.com/office/drawing/2014/main" id="{13BF2C33-3877-886F-0553-55F04228F13A}"/>
              </a:ext>
            </a:extLst>
          </p:cNvPr>
          <p:cNvPicPr/>
          <p:nvPr/>
        </p:nvPicPr>
        <p:blipFill>
          <a:blip r:embed="rId13" cstate="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240275" y="3137012"/>
            <a:ext cx="393760" cy="327893"/>
          </a:xfrm>
          <a:prstGeom prst="rect">
            <a:avLst/>
          </a:prstGeom>
        </p:spPr>
      </p:pic>
      <p:pic>
        <p:nvPicPr>
          <p:cNvPr id="25" name="Graphic 74" descr="Shopping cart">
            <a:extLst>
              <a:ext uri="{FF2B5EF4-FFF2-40B4-BE49-F238E27FC236}">
                <a16:creationId xmlns:a16="http://schemas.microsoft.com/office/drawing/2014/main" id="{9354DED1-6991-E7F7-8A8D-D9CA9D522FBB}"/>
              </a:ext>
            </a:extLst>
          </p:cNvPr>
          <p:cNvPicPr>
            <a:picLocks noChangeAspect="1"/>
          </p:cNvPicPr>
          <p:nvPr/>
        </p:nvPicPr>
        <p:blipFill>
          <a:blip r:embed="rId14" cstate="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69329" y="3753696"/>
            <a:ext cx="444889" cy="444889"/>
          </a:xfrm>
          <a:prstGeom prst="rect">
            <a:avLst/>
          </a:prstGeom>
        </p:spPr>
      </p:pic>
      <p:pic>
        <p:nvPicPr>
          <p:cNvPr id="26" name="Graphic 52" descr="Lightbulb">
            <a:extLst>
              <a:ext uri="{FF2B5EF4-FFF2-40B4-BE49-F238E27FC236}">
                <a16:creationId xmlns:a16="http://schemas.microsoft.com/office/drawing/2014/main" id="{4D31357D-F705-C659-C17D-DBF4A0AECB8F}"/>
              </a:ext>
            </a:extLst>
          </p:cNvPr>
          <p:cNvPicPr>
            <a:picLocks noChangeAspect="1"/>
          </p:cNvPicPr>
          <p:nvPr/>
        </p:nvPicPr>
        <p:blipFill>
          <a:blip r:embed="rId16" cstate="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273078" y="2486894"/>
            <a:ext cx="327402" cy="327402"/>
          </a:xfrm>
          <a:prstGeom prst="rect">
            <a:avLst/>
          </a:prstGeom>
        </p:spPr>
      </p:pic>
      <p:pic>
        <p:nvPicPr>
          <p:cNvPr id="27" name="Graphic 70" descr="Database">
            <a:extLst>
              <a:ext uri="{FF2B5EF4-FFF2-40B4-BE49-F238E27FC236}">
                <a16:creationId xmlns:a16="http://schemas.microsoft.com/office/drawing/2014/main" id="{BC6651D7-6879-7A0E-3288-5B2B2ABAAE21}"/>
              </a:ext>
            </a:extLst>
          </p:cNvPr>
          <p:cNvPicPr>
            <a:picLocks noChangeAspect="1"/>
          </p:cNvPicPr>
          <p:nvPr/>
        </p:nvPicPr>
        <p:blipFill>
          <a:blip r:embed="rId18" cstate="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596319" y="2447698"/>
            <a:ext cx="390908" cy="390908"/>
          </a:xfrm>
          <a:prstGeom prst="rect">
            <a:avLst/>
          </a:prstGeom>
        </p:spPr>
      </p:pic>
      <p:sp>
        <p:nvSpPr>
          <p:cNvPr id="31" name="Rectangle 30">
            <a:extLst>
              <a:ext uri="{FF2B5EF4-FFF2-40B4-BE49-F238E27FC236}">
                <a16:creationId xmlns:a16="http://schemas.microsoft.com/office/drawing/2014/main" id="{77CB8316-9FE6-38E5-5D8E-7DC2104540A2}"/>
              </a:ext>
            </a:extLst>
          </p:cNvPr>
          <p:cNvSpPr/>
          <p:nvPr/>
        </p:nvSpPr>
        <p:spPr>
          <a:xfrm>
            <a:off x="7036107" y="3672990"/>
            <a:ext cx="3005674" cy="55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accent2"/>
                </a:solidFill>
                <a:latin typeface="Arial" panose="020B0604020202020204" pitchFamily="34" charset="0"/>
                <a:cs typeface="Arial" panose="020B0604020202020204" pitchFamily="34" charset="0"/>
              </a:rPr>
              <a:t>eCommerce</a:t>
            </a:r>
          </a:p>
          <a:p>
            <a:r>
              <a:rPr lang="en-US" sz="900">
                <a:solidFill>
                  <a:schemeClr val="tx1"/>
                </a:solidFill>
                <a:latin typeface="Arial" panose="020B0604020202020204" pitchFamily="34" charset="0"/>
                <a:cs typeface="Arial" panose="020B0604020202020204" pitchFamily="34" charset="0"/>
              </a:rPr>
              <a:t>Online Sales Tools</a:t>
            </a:r>
          </a:p>
        </p:txBody>
      </p:sp>
      <p:pic>
        <p:nvPicPr>
          <p:cNvPr id="34" name="Picture 33">
            <a:extLst>
              <a:ext uri="{FF2B5EF4-FFF2-40B4-BE49-F238E27FC236}">
                <a16:creationId xmlns:a16="http://schemas.microsoft.com/office/drawing/2014/main" id="{6F9C53BF-046E-C457-5FF1-DA4F5C25BF88}"/>
              </a:ext>
            </a:extLst>
          </p:cNvPr>
          <p:cNvPicPr>
            <a:picLocks noChangeAspect="1"/>
          </p:cNvPicPr>
          <p:nvPr/>
        </p:nvPicPr>
        <p:blipFill>
          <a:blip r:embed="rId20">
            <a:clrChange>
              <a:clrFrom>
                <a:srgbClr val="FFFFFF"/>
              </a:clrFrom>
              <a:clrTo>
                <a:srgbClr val="FFFFFF">
                  <a:alpha val="0"/>
                </a:srgbClr>
              </a:clrTo>
            </a:clrChange>
            <a:duotone>
              <a:prstClr val="black"/>
              <a:schemeClr val="accent2">
                <a:tint val="45000"/>
                <a:satMod val="400000"/>
              </a:schemeClr>
            </a:duotone>
          </a:blip>
          <a:stretch>
            <a:fillRect/>
          </a:stretch>
        </p:blipFill>
        <p:spPr>
          <a:xfrm>
            <a:off x="6547803" y="3091168"/>
            <a:ext cx="443208" cy="390909"/>
          </a:xfrm>
          <a:prstGeom prst="rect">
            <a:avLst/>
          </a:prstGeom>
          <a:ln>
            <a:noFill/>
          </a:ln>
        </p:spPr>
      </p:pic>
      <p:pic>
        <p:nvPicPr>
          <p:cNvPr id="35" name="Picture 34">
            <a:extLst>
              <a:ext uri="{FF2B5EF4-FFF2-40B4-BE49-F238E27FC236}">
                <a16:creationId xmlns:a16="http://schemas.microsoft.com/office/drawing/2014/main" id="{CA784881-5FFD-C50F-BCBA-7D79C16C626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261947" y="3765759"/>
            <a:ext cx="421031" cy="408822"/>
          </a:xfrm>
          <a:prstGeom prst="rect">
            <a:avLst/>
          </a:prstGeom>
        </p:spPr>
      </p:pic>
      <p:sp>
        <p:nvSpPr>
          <p:cNvPr id="38" name="TextBox 37">
            <a:extLst>
              <a:ext uri="{FF2B5EF4-FFF2-40B4-BE49-F238E27FC236}">
                <a16:creationId xmlns:a16="http://schemas.microsoft.com/office/drawing/2014/main" id="{42B6EAB0-55B2-8B87-140A-54234366D895}"/>
              </a:ext>
            </a:extLst>
          </p:cNvPr>
          <p:cNvSpPr txBox="1"/>
          <p:nvPr/>
        </p:nvSpPr>
        <p:spPr>
          <a:xfrm>
            <a:off x="511175" y="1029569"/>
            <a:ext cx="10726756" cy="606165"/>
          </a:xfrm>
          <a:prstGeom prst="rect">
            <a:avLst/>
          </a:prstGeom>
          <a:noFill/>
        </p:spPr>
        <p:txBody>
          <a:bodyPr wrap="square" lIns="0" tIns="0" rIns="0" bIns="0" rtlCol="0">
            <a:noAutofit/>
          </a:bodyPr>
          <a:lstStyle/>
          <a:p>
            <a:r>
              <a:rPr lang="en-US" sz="1200"/>
              <a:t>The core of a business system architecture is an </a:t>
            </a:r>
            <a:r>
              <a:rPr lang="en-US" sz="1200" b="1">
                <a:solidFill>
                  <a:schemeClr val="tx2"/>
                </a:solidFill>
              </a:rPr>
              <a:t>Enterprise Resource Planning (ERP) </a:t>
            </a:r>
            <a:r>
              <a:rPr lang="en-US" sz="1200"/>
              <a:t>platform. The ERP houses the core accounting and finance functionality required (Accounts Payable, Accounts Receivable, General Ledger) and often contains other key functionality such as Manufacturing, Distribution, and Inventory Management.  Depending upon the company’s business model, other supporting business applications may also be needed.</a:t>
            </a:r>
          </a:p>
        </p:txBody>
      </p:sp>
      <p:pic>
        <p:nvPicPr>
          <p:cNvPr id="2" name="Picture 1">
            <a:extLst>
              <a:ext uri="{FF2B5EF4-FFF2-40B4-BE49-F238E27FC236}">
                <a16:creationId xmlns:a16="http://schemas.microsoft.com/office/drawing/2014/main" id="{E365F019-5D64-BE88-7FD9-892E2D995EE9}"/>
              </a:ext>
            </a:extLst>
          </p:cNvPr>
          <p:cNvPicPr>
            <a:picLocks noChangeAspect="1"/>
          </p:cNvPicPr>
          <p:nvPr/>
        </p:nvPicPr>
        <p:blipFill>
          <a:blip r:embed="rId22">
            <a:clrChange>
              <a:clrFrom>
                <a:srgbClr val="FFFFFF"/>
              </a:clrFrom>
              <a:clrTo>
                <a:srgbClr val="FFFFFF">
                  <a:alpha val="0"/>
                </a:srgbClr>
              </a:clrTo>
            </a:clrChange>
            <a:duotone>
              <a:prstClr val="black"/>
              <a:schemeClr val="tx2">
                <a:tint val="45000"/>
                <a:satMod val="400000"/>
              </a:schemeClr>
            </a:duotone>
          </a:blip>
          <a:stretch>
            <a:fillRect/>
          </a:stretch>
        </p:blipFill>
        <p:spPr>
          <a:xfrm>
            <a:off x="1211994" y="4464496"/>
            <a:ext cx="588752" cy="423202"/>
          </a:xfrm>
          <a:prstGeom prst="rect">
            <a:avLst/>
          </a:prstGeom>
        </p:spPr>
      </p:pic>
    </p:spTree>
    <p:custDataLst>
      <p:tags r:id="rId1"/>
    </p:custDataLst>
    <p:extLst>
      <p:ext uri="{BB962C8B-B14F-4D97-AF65-F5344CB8AC3E}">
        <p14:creationId xmlns:p14="http://schemas.microsoft.com/office/powerpoint/2010/main" val="3618316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C5F618F-2727-134D-E1FA-07AB6F2A645C}"/>
              </a:ext>
            </a:extLst>
          </p:cNvPr>
          <p:cNvSpPr txBox="1">
            <a:spLocks/>
          </p:cNvSpPr>
          <p:nvPr>
            <p:custDataLst>
              <p:tags r:id="rId1"/>
            </p:custDataLst>
          </p:nvPr>
        </p:nvSpPr>
        <p:spPr>
          <a:xfrm>
            <a:off x="771240" y="326221"/>
            <a:ext cx="8261924"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Arial"/>
                <a:ea typeface="+mj-ea"/>
                <a:cs typeface="+mj-cs"/>
              </a:rPr>
              <a:t>Technology Alignment</a:t>
            </a:r>
            <a:endParaRPr kumimoji="0" lang="en-US" sz="2800" b="0" i="0" u="none" strike="noStrike" kern="1200" cap="none" spc="0" normalizeH="0" baseline="0" noProof="0">
              <a:ln>
                <a:noFill/>
              </a:ln>
              <a:solidFill>
                <a:srgbClr val="63666A"/>
              </a:solidFill>
              <a:effectLst/>
              <a:uLnTx/>
              <a:uFillTx/>
              <a:latin typeface="Arial"/>
              <a:ea typeface="+mj-ea"/>
              <a:cs typeface="+mj-cs"/>
            </a:endParaRPr>
          </a:p>
        </p:txBody>
      </p:sp>
      <p:sp>
        <p:nvSpPr>
          <p:cNvPr id="25" name="TextBox 24">
            <a:extLst>
              <a:ext uri="{FF2B5EF4-FFF2-40B4-BE49-F238E27FC236}">
                <a16:creationId xmlns:a16="http://schemas.microsoft.com/office/drawing/2014/main" id="{BD7AB0A8-EF8B-6B4A-B106-67D5C51F1FAA}"/>
              </a:ext>
            </a:extLst>
          </p:cNvPr>
          <p:cNvSpPr txBox="1">
            <a:spLocks/>
          </p:cNvSpPr>
          <p:nvPr/>
        </p:nvSpPr>
        <p:spPr>
          <a:xfrm>
            <a:off x="11371085" y="6536507"/>
            <a:ext cx="600428" cy="153888"/>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49435FB2-2907-4A1B-9AF4-7FDB3101C2DF}"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888B8D"/>
              </a:solidFill>
              <a:effectLst/>
              <a:uLnTx/>
              <a:uFillTx/>
              <a:latin typeface="Arial"/>
              <a:ea typeface="+mn-ea"/>
              <a:cs typeface="+mn-cs"/>
            </a:endParaRPr>
          </a:p>
        </p:txBody>
      </p:sp>
      <p:pic>
        <p:nvPicPr>
          <p:cNvPr id="3" name="Picture 40">
            <a:extLst>
              <a:ext uri="{FF2B5EF4-FFF2-40B4-BE49-F238E27FC236}">
                <a16:creationId xmlns:a16="http://schemas.microsoft.com/office/drawing/2014/main" id="{C7890AE4-2D29-C6B1-6F06-F1F958DA8261}"/>
              </a:ext>
            </a:extLst>
          </p:cNvPr>
          <p:cNvPicPr>
            <a:picLocks noChangeAspect="1" noChangeArrowheads="1"/>
          </p:cNvPicPr>
          <p:nvPr>
            <p:custDataLst>
              <p:tags r:id="rId2"/>
            </p:custDataLst>
          </p:nvPr>
        </p:nvPicPr>
        <p:blipFill>
          <a:blip r:embed="rId12">
            <a:extLst>
              <a:ext uri="{28A0092B-C50C-407E-A947-70E740481C1C}">
                <a14:useLocalDpi xmlns:a14="http://schemas.microsoft.com/office/drawing/2010/main" val="0"/>
              </a:ext>
            </a:extLst>
          </a:blip>
          <a:srcRect/>
          <a:stretch/>
        </p:blipFill>
        <p:spPr bwMode="auto">
          <a:xfrm>
            <a:off x="759936" y="2314239"/>
            <a:ext cx="1708392" cy="403062"/>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3">
            <a:extLst>
              <a:ext uri="{FF2B5EF4-FFF2-40B4-BE49-F238E27FC236}">
                <a16:creationId xmlns:a16="http://schemas.microsoft.com/office/drawing/2014/main" id="{98886C8A-38D8-11EC-78CF-47478B8C9652}"/>
              </a:ext>
            </a:extLst>
          </p:cNvPr>
          <p:cNvSpPr txBox="1">
            <a:spLocks/>
          </p:cNvSpPr>
          <p:nvPr>
            <p:custDataLst>
              <p:tags r:id="rId3"/>
            </p:custDataLst>
          </p:nvPr>
        </p:nvSpPr>
        <p:spPr>
          <a:xfrm>
            <a:off x="619584" y="1867923"/>
            <a:ext cx="2433150" cy="419356"/>
          </a:xfrm>
          <a:prstGeom prst="rect">
            <a:avLst/>
          </a:prstGeom>
        </p:spPr>
        <p:txBody>
          <a:bodyPr vert="horz" lIns="0" tIns="0" rIns="0" bIns="0" rtlCol="0" anchor="t">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595959"/>
                </a:solidFill>
                <a:effectLst/>
                <a:uLnTx/>
                <a:uFillTx/>
                <a:latin typeface="Arial" panose="020B0604020202020204"/>
                <a:ea typeface="+mn-ea"/>
                <a:cs typeface="Arial" panose="020B0604020202020204" pitchFamily="34" charset="0"/>
              </a:rPr>
              <a:t>Core ERP Solutions</a:t>
            </a:r>
          </a:p>
        </p:txBody>
      </p:sp>
      <p:pic>
        <p:nvPicPr>
          <p:cNvPr id="6" name="Picture 5">
            <a:extLst>
              <a:ext uri="{FF2B5EF4-FFF2-40B4-BE49-F238E27FC236}">
                <a16:creationId xmlns:a16="http://schemas.microsoft.com/office/drawing/2014/main" id="{D6265380-0295-6EE4-8CB1-C7DEE5ACDF45}"/>
              </a:ext>
            </a:extLst>
          </p:cNvPr>
          <p:cNvPicPr>
            <a:picLocks noChangeAspect="1"/>
          </p:cNvPicPr>
          <p:nvPr>
            <p:custDataLst>
              <p:tags r:id="rId4"/>
            </p:custDataLst>
          </p:nvPr>
        </p:nvPicPr>
        <p:blipFill rotWithShape="1">
          <a:blip r:embed="rId13"/>
          <a:srcRect t="8255" r="31398"/>
          <a:stretch/>
        </p:blipFill>
        <p:spPr>
          <a:xfrm>
            <a:off x="3721883" y="1455880"/>
            <a:ext cx="5151719" cy="4993348"/>
          </a:xfrm>
          <a:prstGeom prst="rect">
            <a:avLst/>
          </a:prstGeom>
        </p:spPr>
      </p:pic>
      <p:sp>
        <p:nvSpPr>
          <p:cNvPr id="7" name="TextBox 6">
            <a:extLst>
              <a:ext uri="{FF2B5EF4-FFF2-40B4-BE49-F238E27FC236}">
                <a16:creationId xmlns:a16="http://schemas.microsoft.com/office/drawing/2014/main" id="{54BB8D59-04D6-A476-52FF-DFEDFE5774B6}"/>
              </a:ext>
            </a:extLst>
          </p:cNvPr>
          <p:cNvSpPr txBox="1"/>
          <p:nvPr>
            <p:custDataLst>
              <p:tags r:id="rId5"/>
            </p:custDataLst>
          </p:nvPr>
        </p:nvSpPr>
        <p:spPr>
          <a:xfrm>
            <a:off x="9037351" y="1877924"/>
            <a:ext cx="277388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800" b="1" i="0" u="none" strike="noStrike" kern="1200" cap="none" spc="0" normalizeH="0" baseline="0" noProof="0">
                <a:ln>
                  <a:noFill/>
                </a:ln>
                <a:solidFill>
                  <a:srgbClr val="595959"/>
                </a:solidFill>
                <a:effectLst/>
                <a:uLnTx/>
                <a:uFillTx/>
                <a:latin typeface="Arial" panose="020B0604020202020204"/>
                <a:ea typeface="+mn-ea"/>
                <a:cs typeface="+mn-cs"/>
              </a:rPr>
              <a:t>Additional Solutions</a:t>
            </a:r>
          </a:p>
        </p:txBody>
      </p:sp>
      <p:pic>
        <p:nvPicPr>
          <p:cNvPr id="9" name="Picture 8" descr="A blue text on a white background&#10;&#10;Description automatically generated">
            <a:extLst>
              <a:ext uri="{FF2B5EF4-FFF2-40B4-BE49-F238E27FC236}">
                <a16:creationId xmlns:a16="http://schemas.microsoft.com/office/drawing/2014/main" id="{5D7FB9B3-8723-85EF-B404-91A944BD8C8E}"/>
              </a:ext>
            </a:extLst>
          </p:cNvPr>
          <p:cNvPicPr>
            <a:picLocks noChangeAspect="1"/>
          </p:cNvPicPr>
          <p:nvPr>
            <p:custDataLst>
              <p:tags r:id="rId6"/>
            </p:custDataLst>
          </p:nvPr>
        </p:nvPicPr>
        <p:blipFill>
          <a:blip r:embed="rId14" cstate="print">
            <a:extLst>
              <a:ext uri="{28A0092B-C50C-407E-A947-70E740481C1C}">
                <a14:useLocalDpi xmlns:a14="http://schemas.microsoft.com/office/drawing/2010/main" val="0"/>
              </a:ext>
            </a:extLst>
          </a:blip>
          <a:stretch>
            <a:fillRect/>
          </a:stretch>
        </p:blipFill>
        <p:spPr>
          <a:xfrm>
            <a:off x="677377" y="5349738"/>
            <a:ext cx="1603637" cy="384314"/>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57E2083A-376B-9FB4-4A48-D1248B729CA5}"/>
              </a:ext>
            </a:extLst>
          </p:cNvPr>
          <p:cNvPicPr>
            <a:picLocks noChangeAspect="1"/>
          </p:cNvPicPr>
          <p:nvPr>
            <p:custDataLst>
              <p:tags r:id="rId7"/>
            </p:custDataLst>
          </p:nvPr>
        </p:nvPicPr>
        <p:blipFill>
          <a:blip r:embed="rId15" cstate="print">
            <a:extLst>
              <a:ext uri="{28A0092B-C50C-407E-A947-70E740481C1C}">
                <a14:useLocalDpi xmlns:a14="http://schemas.microsoft.com/office/drawing/2010/main" val="0"/>
              </a:ext>
            </a:extLst>
          </a:blip>
          <a:stretch>
            <a:fillRect/>
          </a:stretch>
        </p:blipFill>
        <p:spPr>
          <a:xfrm>
            <a:off x="9446422" y="3814074"/>
            <a:ext cx="1955741" cy="977871"/>
          </a:xfrm>
          <a:prstGeom prst="rect">
            <a:avLst/>
          </a:prstGeom>
        </p:spPr>
      </p:pic>
      <p:pic>
        <p:nvPicPr>
          <p:cNvPr id="11" name="Picture 10" descr="A blue square with white text&#10;&#10;Description automatically generated">
            <a:extLst>
              <a:ext uri="{FF2B5EF4-FFF2-40B4-BE49-F238E27FC236}">
                <a16:creationId xmlns:a16="http://schemas.microsoft.com/office/drawing/2014/main" id="{6BCD8FF4-601D-9798-CD91-6ED088DF2813}"/>
              </a:ext>
            </a:extLst>
          </p:cNvPr>
          <p:cNvPicPr>
            <a:picLocks noChangeAspect="1"/>
          </p:cNvPicPr>
          <p:nvPr>
            <p:custDataLst>
              <p:tags r:id="rId8"/>
            </p:custDataLst>
          </p:nvPr>
        </p:nvPicPr>
        <p:blipFill>
          <a:blip r:embed="rId16" cstate="print">
            <a:extLst>
              <a:ext uri="{28A0092B-C50C-407E-A947-70E740481C1C}">
                <a14:useLocalDpi xmlns:a14="http://schemas.microsoft.com/office/drawing/2010/main" val="0"/>
              </a:ext>
            </a:extLst>
          </a:blip>
          <a:stretch>
            <a:fillRect/>
          </a:stretch>
        </p:blipFill>
        <p:spPr>
          <a:xfrm>
            <a:off x="9744144" y="2250787"/>
            <a:ext cx="1360297" cy="1384985"/>
          </a:xfrm>
          <a:prstGeom prst="rect">
            <a:avLst/>
          </a:prstGeom>
        </p:spPr>
      </p:pic>
      <p:sp>
        <p:nvSpPr>
          <p:cNvPr id="12" name="Content Placeholder 3">
            <a:extLst>
              <a:ext uri="{FF2B5EF4-FFF2-40B4-BE49-F238E27FC236}">
                <a16:creationId xmlns:a16="http://schemas.microsoft.com/office/drawing/2014/main" id="{90EC753A-0BD2-751C-1020-EE34D0D892AA}"/>
              </a:ext>
            </a:extLst>
          </p:cNvPr>
          <p:cNvSpPr txBox="1">
            <a:spLocks/>
          </p:cNvSpPr>
          <p:nvPr>
            <p:custDataLst>
              <p:tags r:id="rId9"/>
            </p:custDataLst>
          </p:nvPr>
        </p:nvSpPr>
        <p:spPr>
          <a:xfrm>
            <a:off x="614605" y="3952554"/>
            <a:ext cx="2433150" cy="419356"/>
          </a:xfrm>
          <a:prstGeom prst="rect">
            <a:avLst/>
          </a:prstGeom>
        </p:spPr>
        <p:txBody>
          <a:bodyPr vert="horz" lIns="0" tIns="0" rIns="0" bIns="0" rtlCol="0" anchor="t">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595959"/>
                </a:solidFill>
                <a:effectLst/>
                <a:uLnTx/>
                <a:uFillTx/>
                <a:latin typeface="Arial" panose="020B0604020202020204"/>
                <a:ea typeface="+mn-ea"/>
                <a:cs typeface="Arial" panose="020B0604020202020204" pitchFamily="34" charset="0"/>
              </a:rPr>
              <a:t>Billing Solutions</a:t>
            </a:r>
          </a:p>
        </p:txBody>
      </p:sp>
      <p:pic>
        <p:nvPicPr>
          <p:cNvPr id="13" name="Picture 2" descr="Is Chargent a Replacement for Salesforce Billing? - Chargent by AppFrontier">
            <a:extLst>
              <a:ext uri="{FF2B5EF4-FFF2-40B4-BE49-F238E27FC236}">
                <a16:creationId xmlns:a16="http://schemas.microsoft.com/office/drawing/2014/main" id="{0CA841D7-E7D3-7827-A1B5-8489BD11C8BF}"/>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6775" y="4499216"/>
            <a:ext cx="2191552" cy="58545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Integrate Zuora with Totango">
            <a:extLst>
              <a:ext uri="{FF2B5EF4-FFF2-40B4-BE49-F238E27FC236}">
                <a16:creationId xmlns:a16="http://schemas.microsoft.com/office/drawing/2014/main" id="{62FABFA9-3E4F-B506-8420-25D8A70DB1DB}"/>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5833" y="5514848"/>
            <a:ext cx="1391950" cy="139195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MuleSoft | Nordic APIs">
            <a:extLst>
              <a:ext uri="{FF2B5EF4-FFF2-40B4-BE49-F238E27FC236}">
                <a16:creationId xmlns:a16="http://schemas.microsoft.com/office/drawing/2014/main" id="{414707FC-F277-ECE8-2E63-5BB2B3BD4BD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321403" y="4926492"/>
            <a:ext cx="2205778" cy="65053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Sage Intacct · GitHub">
            <a:extLst>
              <a:ext uri="{FF2B5EF4-FFF2-40B4-BE49-F238E27FC236}">
                <a16:creationId xmlns:a16="http://schemas.microsoft.com/office/drawing/2014/main" id="{AEFEED2A-7C10-0F92-147A-2E3002002C1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281014" y="2926714"/>
            <a:ext cx="820011" cy="82001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ynamics 365 Applications - New Dynamic">
            <a:extLst>
              <a:ext uri="{FF2B5EF4-FFF2-40B4-BE49-F238E27FC236}">
                <a16:creationId xmlns:a16="http://schemas.microsoft.com/office/drawing/2014/main" id="{77D8E60B-3E5A-953B-771B-6623EAC5563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38538" y="2946986"/>
            <a:ext cx="1698041" cy="592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30705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1425" y="327172"/>
            <a:ext cx="10741025" cy="496888"/>
          </a:xfrm>
        </p:spPr>
        <p:txBody>
          <a:bodyPr>
            <a:normAutofit fontScale="90000"/>
          </a:bodyPr>
          <a:lstStyle/>
          <a:p>
            <a:r>
              <a:rPr lang="en-US"/>
              <a:t>Business Applications Enterprise Architecture</a:t>
            </a:r>
          </a:p>
        </p:txBody>
      </p:sp>
      <p:sp>
        <p:nvSpPr>
          <p:cNvPr id="4" name="Slide Number Placeholder 3"/>
          <p:cNvSpPr>
            <a:spLocks noGrp="1"/>
          </p:cNvSpPr>
          <p:nvPr>
            <p:ph type="sldNum" sz="quarter" idx="4294967295"/>
          </p:nvPr>
        </p:nvSpPr>
        <p:spPr>
          <a:xfrm>
            <a:off x="0" y="6203950"/>
            <a:ext cx="2743200" cy="279400"/>
          </a:xfrm>
        </p:spPr>
        <p:txBody>
          <a:bodyPr/>
          <a:lstStyle/>
          <a:p>
            <a:fld id="{936A99BC-3C9D-4DF8-8B8C-E1FD2BDF0AD4}" type="slidenum">
              <a:rPr lang="en-US" sz="800" smtClean="0"/>
              <a:pPr/>
              <a:t>17</a:t>
            </a:fld>
            <a:endParaRPr lang="en-US" sz="800"/>
          </a:p>
        </p:txBody>
      </p:sp>
      <p:sp>
        <p:nvSpPr>
          <p:cNvPr id="3" name="Oval 2"/>
          <p:cNvSpPr/>
          <p:nvPr/>
        </p:nvSpPr>
        <p:spPr>
          <a:xfrm>
            <a:off x="2450819" y="1836612"/>
            <a:ext cx="1637898" cy="1637898"/>
          </a:xfrm>
          <a:prstGeom prst="ellipse">
            <a:avLst/>
          </a:prstGeom>
          <a:solidFill>
            <a:schemeClr val="accent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RM</a:t>
            </a:r>
          </a:p>
        </p:txBody>
      </p:sp>
      <p:sp>
        <p:nvSpPr>
          <p:cNvPr id="7" name="Oval 6"/>
          <p:cNvSpPr/>
          <p:nvPr/>
        </p:nvSpPr>
        <p:spPr>
          <a:xfrm>
            <a:off x="3084037" y="2938704"/>
            <a:ext cx="1637898" cy="1637898"/>
          </a:xfrm>
          <a:prstGeom prst="ellipse">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loud ERP</a:t>
            </a:r>
          </a:p>
        </p:txBody>
      </p:sp>
      <p:sp>
        <p:nvSpPr>
          <p:cNvPr id="8" name="Oval 7"/>
          <p:cNvSpPr/>
          <p:nvPr/>
        </p:nvSpPr>
        <p:spPr>
          <a:xfrm>
            <a:off x="3717254" y="1836612"/>
            <a:ext cx="1637898" cy="1637898"/>
          </a:xfrm>
          <a:prstGeom prst="ellipse">
            <a:avLst/>
          </a:prstGeom>
          <a:solidFill>
            <a:schemeClr val="accent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PQ</a:t>
            </a:r>
          </a:p>
        </p:txBody>
      </p:sp>
      <p:sp>
        <p:nvSpPr>
          <p:cNvPr id="18" name="TextBox 17"/>
          <p:cNvSpPr txBox="1"/>
          <p:nvPr/>
        </p:nvSpPr>
        <p:spPr>
          <a:xfrm>
            <a:off x="2805187" y="1297050"/>
            <a:ext cx="2180405" cy="461665"/>
          </a:xfrm>
          <a:prstGeom prst="rect">
            <a:avLst/>
          </a:prstGeom>
          <a:noFill/>
        </p:spPr>
        <p:txBody>
          <a:bodyPr wrap="none" rtlCol="0">
            <a:spAutoFit/>
          </a:bodyPr>
          <a:lstStyle/>
          <a:p>
            <a:pPr algn="ctr"/>
            <a:r>
              <a:rPr lang="en-US" sz="1200"/>
              <a:t>The Cross Section of Typical </a:t>
            </a:r>
          </a:p>
          <a:p>
            <a:pPr algn="ctr"/>
            <a:r>
              <a:rPr lang="en-US" sz="1200"/>
              <a:t>Business Applications</a:t>
            </a:r>
          </a:p>
        </p:txBody>
      </p:sp>
      <p:sp>
        <p:nvSpPr>
          <p:cNvPr id="23" name="Oval 22"/>
          <p:cNvSpPr/>
          <p:nvPr/>
        </p:nvSpPr>
        <p:spPr>
          <a:xfrm>
            <a:off x="2117558" y="1559295"/>
            <a:ext cx="829565" cy="818949"/>
          </a:xfrm>
          <a:prstGeom prst="ellipse">
            <a:avLst/>
          </a:prstGeom>
          <a:solidFill>
            <a:schemeClr val="accent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err="1">
                <a:solidFill>
                  <a:schemeClr val="tx1"/>
                </a:solidFill>
              </a:rPr>
              <a:t>Ecom</a:t>
            </a:r>
            <a:r>
              <a:rPr lang="en-US" sz="1050" b="1">
                <a:solidFill>
                  <a:schemeClr val="tx1"/>
                </a:solidFill>
              </a:rPr>
              <a:t>.</a:t>
            </a:r>
          </a:p>
        </p:txBody>
      </p:sp>
      <p:sp>
        <p:nvSpPr>
          <p:cNvPr id="25" name="Oval 24"/>
          <p:cNvSpPr/>
          <p:nvPr/>
        </p:nvSpPr>
        <p:spPr>
          <a:xfrm>
            <a:off x="4820801" y="1545055"/>
            <a:ext cx="926646" cy="818949"/>
          </a:xfrm>
          <a:prstGeom prst="ellipse">
            <a:avLst/>
          </a:prstGeom>
          <a:solidFill>
            <a:schemeClr val="accent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tx1"/>
                </a:solidFill>
              </a:rPr>
              <a:t>Contract</a:t>
            </a:r>
          </a:p>
          <a:p>
            <a:pPr algn="ctr"/>
            <a:r>
              <a:rPr lang="en-US" sz="900" b="1">
                <a:solidFill>
                  <a:schemeClr val="tx1"/>
                </a:solidFill>
              </a:rPr>
              <a:t>Mgmt.</a:t>
            </a:r>
          </a:p>
        </p:txBody>
      </p:sp>
      <p:sp>
        <p:nvSpPr>
          <p:cNvPr id="26" name="Oval 25"/>
          <p:cNvSpPr/>
          <p:nvPr/>
        </p:nvSpPr>
        <p:spPr>
          <a:xfrm>
            <a:off x="2567771" y="3751522"/>
            <a:ext cx="818949" cy="818949"/>
          </a:xfrm>
          <a:prstGeom prst="ellipse">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Rev</a:t>
            </a:r>
          </a:p>
          <a:p>
            <a:pPr algn="ctr"/>
            <a:r>
              <a:rPr lang="en-US" sz="1050" b="1">
                <a:solidFill>
                  <a:schemeClr val="tx1"/>
                </a:solidFill>
              </a:rPr>
              <a:t>Rec</a:t>
            </a:r>
          </a:p>
        </p:txBody>
      </p:sp>
      <p:pic>
        <p:nvPicPr>
          <p:cNvPr id="27" name="Picture 26"/>
          <p:cNvPicPr>
            <a:picLocks noChangeAspect="1"/>
          </p:cNvPicPr>
          <p:nvPr/>
        </p:nvPicPr>
        <p:blipFill>
          <a:blip r:embed="rId2"/>
          <a:stretch>
            <a:fillRect/>
          </a:stretch>
        </p:blipFill>
        <p:spPr>
          <a:xfrm>
            <a:off x="675327" y="2964298"/>
            <a:ext cx="304376" cy="567813"/>
          </a:xfrm>
          <a:prstGeom prst="rect">
            <a:avLst/>
          </a:prstGeom>
        </p:spPr>
      </p:pic>
      <p:pic>
        <p:nvPicPr>
          <p:cNvPr id="28" name="Picture 27"/>
          <p:cNvPicPr>
            <a:picLocks noChangeAspect="1"/>
          </p:cNvPicPr>
          <p:nvPr/>
        </p:nvPicPr>
        <p:blipFill>
          <a:blip r:embed="rId2"/>
          <a:stretch>
            <a:fillRect/>
          </a:stretch>
        </p:blipFill>
        <p:spPr>
          <a:xfrm>
            <a:off x="827727" y="3116698"/>
            <a:ext cx="304376" cy="567813"/>
          </a:xfrm>
          <a:prstGeom prst="rect">
            <a:avLst/>
          </a:prstGeom>
        </p:spPr>
      </p:pic>
      <p:pic>
        <p:nvPicPr>
          <p:cNvPr id="29" name="Picture 28"/>
          <p:cNvPicPr>
            <a:picLocks noChangeAspect="1"/>
          </p:cNvPicPr>
          <p:nvPr/>
        </p:nvPicPr>
        <p:blipFill>
          <a:blip r:embed="rId2"/>
          <a:stretch>
            <a:fillRect/>
          </a:stretch>
        </p:blipFill>
        <p:spPr>
          <a:xfrm>
            <a:off x="980127" y="3269098"/>
            <a:ext cx="304376" cy="567813"/>
          </a:xfrm>
          <a:prstGeom prst="rect">
            <a:avLst/>
          </a:prstGeom>
        </p:spPr>
      </p:pic>
      <p:pic>
        <p:nvPicPr>
          <p:cNvPr id="30" name="Picture 29"/>
          <p:cNvPicPr>
            <a:picLocks noChangeAspect="1"/>
          </p:cNvPicPr>
          <p:nvPr/>
        </p:nvPicPr>
        <p:blipFill>
          <a:blip r:embed="rId2"/>
          <a:stretch>
            <a:fillRect/>
          </a:stretch>
        </p:blipFill>
        <p:spPr>
          <a:xfrm>
            <a:off x="1232851" y="2948664"/>
            <a:ext cx="304376" cy="567813"/>
          </a:xfrm>
          <a:prstGeom prst="rect">
            <a:avLst/>
          </a:prstGeom>
        </p:spPr>
      </p:pic>
      <p:pic>
        <p:nvPicPr>
          <p:cNvPr id="31" name="Picture 30"/>
          <p:cNvPicPr>
            <a:picLocks noChangeAspect="1"/>
          </p:cNvPicPr>
          <p:nvPr/>
        </p:nvPicPr>
        <p:blipFill>
          <a:blip r:embed="rId2"/>
          <a:stretch>
            <a:fillRect/>
          </a:stretch>
        </p:blipFill>
        <p:spPr>
          <a:xfrm>
            <a:off x="1385251" y="3101064"/>
            <a:ext cx="304376" cy="567813"/>
          </a:xfrm>
          <a:prstGeom prst="rect">
            <a:avLst/>
          </a:prstGeom>
        </p:spPr>
      </p:pic>
      <p:pic>
        <p:nvPicPr>
          <p:cNvPr id="32" name="Picture 31"/>
          <p:cNvPicPr>
            <a:picLocks noChangeAspect="1"/>
          </p:cNvPicPr>
          <p:nvPr/>
        </p:nvPicPr>
        <p:blipFill>
          <a:blip r:embed="rId2"/>
          <a:stretch>
            <a:fillRect/>
          </a:stretch>
        </p:blipFill>
        <p:spPr>
          <a:xfrm>
            <a:off x="1537651" y="3253464"/>
            <a:ext cx="304376" cy="567813"/>
          </a:xfrm>
          <a:prstGeom prst="rect">
            <a:avLst/>
          </a:prstGeom>
        </p:spPr>
      </p:pic>
      <p:pic>
        <p:nvPicPr>
          <p:cNvPr id="33" name="Picture 32"/>
          <p:cNvPicPr>
            <a:picLocks noChangeAspect="1"/>
          </p:cNvPicPr>
          <p:nvPr/>
        </p:nvPicPr>
        <p:blipFill>
          <a:blip r:embed="rId2"/>
          <a:stretch>
            <a:fillRect/>
          </a:stretch>
        </p:blipFill>
        <p:spPr>
          <a:xfrm>
            <a:off x="5639750" y="2992813"/>
            <a:ext cx="304376" cy="567813"/>
          </a:xfrm>
          <a:prstGeom prst="rect">
            <a:avLst/>
          </a:prstGeom>
        </p:spPr>
      </p:pic>
      <p:pic>
        <p:nvPicPr>
          <p:cNvPr id="34" name="Picture 33"/>
          <p:cNvPicPr>
            <a:picLocks noChangeAspect="1"/>
          </p:cNvPicPr>
          <p:nvPr/>
        </p:nvPicPr>
        <p:blipFill>
          <a:blip r:embed="rId2"/>
          <a:stretch>
            <a:fillRect/>
          </a:stretch>
        </p:blipFill>
        <p:spPr>
          <a:xfrm>
            <a:off x="5792150" y="3145213"/>
            <a:ext cx="304376" cy="567813"/>
          </a:xfrm>
          <a:prstGeom prst="rect">
            <a:avLst/>
          </a:prstGeom>
        </p:spPr>
      </p:pic>
      <p:pic>
        <p:nvPicPr>
          <p:cNvPr id="35" name="Picture 34"/>
          <p:cNvPicPr>
            <a:picLocks noChangeAspect="1"/>
          </p:cNvPicPr>
          <p:nvPr/>
        </p:nvPicPr>
        <p:blipFill>
          <a:blip r:embed="rId2"/>
          <a:stretch>
            <a:fillRect/>
          </a:stretch>
        </p:blipFill>
        <p:spPr>
          <a:xfrm>
            <a:off x="5944550" y="3297613"/>
            <a:ext cx="304376" cy="567813"/>
          </a:xfrm>
          <a:prstGeom prst="rect">
            <a:avLst/>
          </a:prstGeom>
        </p:spPr>
      </p:pic>
      <p:pic>
        <p:nvPicPr>
          <p:cNvPr id="36" name="Picture 35"/>
          <p:cNvPicPr>
            <a:picLocks noChangeAspect="1"/>
          </p:cNvPicPr>
          <p:nvPr/>
        </p:nvPicPr>
        <p:blipFill>
          <a:blip r:embed="rId2"/>
          <a:stretch>
            <a:fillRect/>
          </a:stretch>
        </p:blipFill>
        <p:spPr>
          <a:xfrm>
            <a:off x="6281356" y="2977179"/>
            <a:ext cx="304376" cy="567813"/>
          </a:xfrm>
          <a:prstGeom prst="rect">
            <a:avLst/>
          </a:prstGeom>
        </p:spPr>
      </p:pic>
      <p:pic>
        <p:nvPicPr>
          <p:cNvPr id="37" name="Picture 36"/>
          <p:cNvPicPr>
            <a:picLocks noChangeAspect="1"/>
          </p:cNvPicPr>
          <p:nvPr/>
        </p:nvPicPr>
        <p:blipFill>
          <a:blip r:embed="rId2"/>
          <a:stretch>
            <a:fillRect/>
          </a:stretch>
        </p:blipFill>
        <p:spPr>
          <a:xfrm>
            <a:off x="6433756" y="3129579"/>
            <a:ext cx="304376" cy="567813"/>
          </a:xfrm>
          <a:prstGeom prst="rect">
            <a:avLst/>
          </a:prstGeom>
        </p:spPr>
      </p:pic>
      <p:pic>
        <p:nvPicPr>
          <p:cNvPr id="38" name="Picture 37"/>
          <p:cNvPicPr>
            <a:picLocks noChangeAspect="1"/>
          </p:cNvPicPr>
          <p:nvPr/>
        </p:nvPicPr>
        <p:blipFill>
          <a:blip r:embed="rId2"/>
          <a:stretch>
            <a:fillRect/>
          </a:stretch>
        </p:blipFill>
        <p:spPr>
          <a:xfrm>
            <a:off x="6586156" y="3281979"/>
            <a:ext cx="304376" cy="567813"/>
          </a:xfrm>
          <a:prstGeom prst="rect">
            <a:avLst/>
          </a:prstGeom>
        </p:spPr>
      </p:pic>
      <p:sp>
        <p:nvSpPr>
          <p:cNvPr id="39" name="TextBox 38"/>
          <p:cNvSpPr txBox="1"/>
          <p:nvPr/>
        </p:nvSpPr>
        <p:spPr>
          <a:xfrm>
            <a:off x="5782495" y="2521707"/>
            <a:ext cx="788999" cy="430887"/>
          </a:xfrm>
          <a:prstGeom prst="rect">
            <a:avLst/>
          </a:prstGeom>
          <a:noFill/>
        </p:spPr>
        <p:txBody>
          <a:bodyPr wrap="none" rtlCol="0">
            <a:spAutoFit/>
          </a:bodyPr>
          <a:lstStyle/>
          <a:p>
            <a:pPr algn="ctr"/>
            <a:r>
              <a:rPr lang="en-US" sz="1100"/>
              <a:t>Company</a:t>
            </a:r>
          </a:p>
          <a:p>
            <a:pPr algn="ctr"/>
            <a:r>
              <a:rPr lang="en-US" sz="1100"/>
              <a:t>Team</a:t>
            </a:r>
          </a:p>
        </p:txBody>
      </p:sp>
      <p:sp>
        <p:nvSpPr>
          <p:cNvPr id="40" name="TextBox 39"/>
          <p:cNvSpPr txBox="1"/>
          <p:nvPr/>
        </p:nvSpPr>
        <p:spPr>
          <a:xfrm>
            <a:off x="674584" y="2457211"/>
            <a:ext cx="944489" cy="430887"/>
          </a:xfrm>
          <a:prstGeom prst="rect">
            <a:avLst/>
          </a:prstGeom>
          <a:noFill/>
        </p:spPr>
        <p:txBody>
          <a:bodyPr wrap="none" rtlCol="0">
            <a:spAutoFit/>
          </a:bodyPr>
          <a:lstStyle/>
          <a:p>
            <a:pPr algn="ctr"/>
            <a:r>
              <a:rPr lang="en-US" sz="1100"/>
              <a:t>Prospects &amp;</a:t>
            </a:r>
          </a:p>
          <a:p>
            <a:pPr algn="ctr"/>
            <a:r>
              <a:rPr lang="en-US" sz="1100"/>
              <a:t>Customers</a:t>
            </a:r>
          </a:p>
        </p:txBody>
      </p:sp>
      <p:graphicFrame>
        <p:nvGraphicFramePr>
          <p:cNvPr id="41" name="Table 40"/>
          <p:cNvGraphicFramePr>
            <a:graphicFrameLocks noGrp="1"/>
          </p:cNvGraphicFramePr>
          <p:nvPr/>
        </p:nvGraphicFramePr>
        <p:xfrm>
          <a:off x="7907656" y="1581733"/>
          <a:ext cx="3449880" cy="3265509"/>
        </p:xfrm>
        <a:graphic>
          <a:graphicData uri="http://schemas.openxmlformats.org/drawingml/2006/table">
            <a:tbl>
              <a:tblPr>
                <a:tableStyleId>{5C22544A-7EE6-4342-B048-85BDC9FD1C3A}</a:tableStyleId>
              </a:tblPr>
              <a:tblGrid>
                <a:gridCol w="3449880">
                  <a:extLst>
                    <a:ext uri="{9D8B030D-6E8A-4147-A177-3AD203B41FA5}">
                      <a16:colId xmlns:a16="http://schemas.microsoft.com/office/drawing/2014/main" val="857357762"/>
                    </a:ext>
                  </a:extLst>
                </a:gridCol>
              </a:tblGrid>
              <a:tr h="206616">
                <a:tc>
                  <a:txBody>
                    <a:bodyPr/>
                    <a:lstStyle/>
                    <a:p>
                      <a:pPr algn="l" fontAlgn="b"/>
                      <a:r>
                        <a:rPr lang="en-US" sz="1200" b="0" i="0" u="none" strike="noStrike">
                          <a:solidFill>
                            <a:schemeClr val="bg1"/>
                          </a:solidFill>
                          <a:effectLst/>
                          <a:latin typeface="+mn-lt"/>
                        </a:rPr>
                        <a:t>Customer Acquisition</a:t>
                      </a:r>
                    </a:p>
                  </a:txBody>
                  <a:tcPr marL="7125" marR="7125" marT="7125" marB="0" anchor="b">
                    <a:solidFill>
                      <a:schemeClr val="bg2"/>
                    </a:solidFill>
                  </a:tcPr>
                </a:tc>
                <a:extLst>
                  <a:ext uri="{0D108BD9-81ED-4DB2-BD59-A6C34878D82A}">
                    <a16:rowId xmlns:a16="http://schemas.microsoft.com/office/drawing/2014/main" val="1076328317"/>
                  </a:ext>
                </a:extLst>
              </a:tr>
              <a:tr h="206616">
                <a:tc>
                  <a:txBody>
                    <a:bodyPr/>
                    <a:lstStyle/>
                    <a:p>
                      <a:pPr algn="l" fontAlgn="b"/>
                      <a:r>
                        <a:rPr lang="en-US" sz="1200" b="0" i="0" u="none" strike="noStrike">
                          <a:solidFill>
                            <a:schemeClr val="bg1"/>
                          </a:solidFill>
                          <a:effectLst/>
                          <a:latin typeface="+mn-lt"/>
                        </a:rPr>
                        <a:t>Deal Management </a:t>
                      </a:r>
                    </a:p>
                  </a:txBody>
                  <a:tcPr marL="7125" marR="7125" marT="7125" marB="0" anchor="b">
                    <a:solidFill>
                      <a:schemeClr val="bg2"/>
                    </a:solidFill>
                  </a:tcPr>
                </a:tc>
                <a:extLst>
                  <a:ext uri="{0D108BD9-81ED-4DB2-BD59-A6C34878D82A}">
                    <a16:rowId xmlns:a16="http://schemas.microsoft.com/office/drawing/2014/main" val="2789882088"/>
                  </a:ext>
                </a:extLst>
              </a:tr>
              <a:tr h="368165">
                <a:tc>
                  <a:txBody>
                    <a:bodyPr/>
                    <a:lstStyle/>
                    <a:p>
                      <a:pPr algn="l" fontAlgn="b"/>
                      <a:r>
                        <a:rPr lang="en-US" sz="1200" b="0" i="0" u="none" strike="noStrike">
                          <a:solidFill>
                            <a:schemeClr val="bg1"/>
                          </a:solidFill>
                          <a:effectLst/>
                          <a:latin typeface="+mn-lt"/>
                        </a:rPr>
                        <a:t>Configure Price</a:t>
                      </a:r>
                      <a:r>
                        <a:rPr lang="en-US" sz="1200" b="0" i="0" u="none" strike="noStrike" baseline="0">
                          <a:solidFill>
                            <a:schemeClr val="bg1"/>
                          </a:solidFill>
                          <a:effectLst/>
                          <a:latin typeface="+mn-lt"/>
                        </a:rPr>
                        <a:t> &amp; Quote / Price Books / Discounting</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1055355973"/>
                  </a:ext>
                </a:extLst>
              </a:tr>
              <a:tr h="2066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u="none" strike="noStrike">
                          <a:solidFill>
                            <a:schemeClr val="bg1"/>
                          </a:solidFill>
                          <a:effectLst/>
                          <a:latin typeface="+mn-lt"/>
                        </a:rPr>
                        <a:t>Contract Management / Renewals</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2944022606"/>
                  </a:ext>
                </a:extLst>
              </a:tr>
              <a:tr h="206616">
                <a:tc>
                  <a:txBody>
                    <a:bodyPr/>
                    <a:lstStyle/>
                    <a:p>
                      <a:pPr algn="l" fontAlgn="b"/>
                      <a:r>
                        <a:rPr lang="en-US" sz="1200" u="none" strike="noStrike">
                          <a:solidFill>
                            <a:schemeClr val="bg1"/>
                          </a:solidFill>
                          <a:effectLst/>
                          <a:latin typeface="+mn-lt"/>
                        </a:rPr>
                        <a:t>Service Delivery &amp; Product Support</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2019285024"/>
                  </a:ext>
                </a:extLst>
              </a:tr>
              <a:tr h="206616">
                <a:tc>
                  <a:txBody>
                    <a:bodyPr/>
                    <a:lstStyle/>
                    <a:p>
                      <a:pPr algn="l" fontAlgn="b"/>
                      <a:r>
                        <a:rPr lang="en-US" sz="1200" u="none" strike="noStrike">
                          <a:solidFill>
                            <a:schemeClr val="bg1"/>
                          </a:solidFill>
                          <a:effectLst/>
                          <a:latin typeface="+mn-lt"/>
                        </a:rPr>
                        <a:t>Customer Service and Issue Resolution / Credits</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1366165493"/>
                  </a:ext>
                </a:extLst>
              </a:tr>
              <a:tr h="206616">
                <a:tc>
                  <a:txBody>
                    <a:bodyPr/>
                    <a:lstStyle/>
                    <a:p>
                      <a:pPr algn="l" fontAlgn="b"/>
                      <a:r>
                        <a:rPr lang="en-US" sz="1200" b="0" i="0" u="none" strike="noStrike">
                          <a:solidFill>
                            <a:schemeClr val="bg1"/>
                          </a:solidFill>
                          <a:effectLst/>
                          <a:latin typeface="+mn-lt"/>
                        </a:rPr>
                        <a:t>Revenue Recognition / Deferred</a:t>
                      </a:r>
                      <a:r>
                        <a:rPr lang="en-US" sz="1200" b="0" i="0" u="none" strike="noStrike" baseline="0">
                          <a:solidFill>
                            <a:schemeClr val="bg1"/>
                          </a:solidFill>
                          <a:effectLst/>
                          <a:latin typeface="+mn-lt"/>
                        </a:rPr>
                        <a:t> Revenue</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359396996"/>
                  </a:ext>
                </a:extLst>
              </a:tr>
              <a:tr h="206616">
                <a:tc>
                  <a:txBody>
                    <a:bodyPr/>
                    <a:lstStyle/>
                    <a:p>
                      <a:pPr algn="l" fontAlgn="b"/>
                      <a:r>
                        <a:rPr lang="en-US" sz="1200" u="none" strike="noStrike">
                          <a:solidFill>
                            <a:schemeClr val="bg1"/>
                          </a:solidFill>
                          <a:effectLst/>
                          <a:latin typeface="+mn-lt"/>
                        </a:rPr>
                        <a:t>Billing, Invoicing and Cash Application</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3699133850"/>
                  </a:ext>
                </a:extLst>
              </a:tr>
              <a:tr h="206616">
                <a:tc>
                  <a:txBody>
                    <a:bodyPr/>
                    <a:lstStyle/>
                    <a:p>
                      <a:pPr algn="l" fontAlgn="b"/>
                      <a:r>
                        <a:rPr lang="en-US" sz="1200" u="none" strike="noStrike">
                          <a:solidFill>
                            <a:schemeClr val="bg1"/>
                          </a:solidFill>
                          <a:effectLst/>
                          <a:latin typeface="+mn-lt"/>
                        </a:rPr>
                        <a:t>Accounts Receivable</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907508057"/>
                  </a:ext>
                </a:extLst>
              </a:tr>
              <a:tr h="206616">
                <a:tc>
                  <a:txBody>
                    <a:bodyPr/>
                    <a:lstStyle/>
                    <a:p>
                      <a:pPr algn="l" fontAlgn="b"/>
                      <a:r>
                        <a:rPr lang="en-US" sz="1200" u="none" strike="noStrike">
                          <a:solidFill>
                            <a:schemeClr val="bg1"/>
                          </a:solidFill>
                          <a:effectLst/>
                          <a:latin typeface="+mn-lt"/>
                        </a:rPr>
                        <a:t>Close Consolidate and Report</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589265004"/>
                  </a:ext>
                </a:extLst>
              </a:tr>
              <a:tr h="206616">
                <a:tc>
                  <a:txBody>
                    <a:bodyPr/>
                    <a:lstStyle/>
                    <a:p>
                      <a:pPr algn="l" fontAlgn="b"/>
                      <a:r>
                        <a:rPr lang="en-US" sz="1200" u="none" strike="noStrike">
                          <a:solidFill>
                            <a:schemeClr val="bg1"/>
                          </a:solidFill>
                          <a:effectLst/>
                          <a:latin typeface="+mn-lt"/>
                        </a:rPr>
                        <a:t>Procure to Pay</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1506745737"/>
                  </a:ext>
                </a:extLst>
              </a:tr>
              <a:tr h="206616">
                <a:tc>
                  <a:txBody>
                    <a:bodyPr/>
                    <a:lstStyle/>
                    <a:p>
                      <a:pPr algn="l" fontAlgn="b"/>
                      <a:r>
                        <a:rPr lang="en-US" sz="1200" u="none" strike="noStrike">
                          <a:solidFill>
                            <a:schemeClr val="bg1"/>
                          </a:solidFill>
                          <a:effectLst/>
                          <a:latin typeface="+mn-lt"/>
                        </a:rPr>
                        <a:t>Customer Performance Management</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2307622016"/>
                  </a:ext>
                </a:extLst>
              </a:tr>
              <a:tr h="206616">
                <a:tc>
                  <a:txBody>
                    <a:bodyPr/>
                    <a:lstStyle/>
                    <a:p>
                      <a:pPr algn="l" fontAlgn="b"/>
                      <a:r>
                        <a:rPr lang="en-US" sz="1200" u="none" strike="noStrike">
                          <a:solidFill>
                            <a:schemeClr val="bg1"/>
                          </a:solidFill>
                          <a:effectLst/>
                          <a:latin typeface="+mn-lt"/>
                        </a:rPr>
                        <a:t>Corporate Performance Management</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2080061942"/>
                  </a:ext>
                </a:extLst>
              </a:tr>
              <a:tr h="2066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chemeClr val="bg1"/>
                          </a:solidFill>
                          <a:effectLst/>
                          <a:latin typeface="+mn-lt"/>
                        </a:rPr>
                        <a:t>Expense</a:t>
                      </a:r>
                      <a:r>
                        <a:rPr lang="en-US" sz="1200" b="0" i="0" u="none" strike="noStrike" baseline="0">
                          <a:solidFill>
                            <a:schemeClr val="bg1"/>
                          </a:solidFill>
                          <a:effectLst/>
                          <a:latin typeface="+mn-lt"/>
                        </a:rPr>
                        <a:t> Management </a:t>
                      </a:r>
                      <a:endParaRPr lang="en-US" sz="1200" b="0" i="0" u="none" strike="noStrike">
                        <a:solidFill>
                          <a:schemeClr val="bg1"/>
                        </a:solidFill>
                        <a:effectLst/>
                        <a:latin typeface="+mn-lt"/>
                      </a:endParaRPr>
                    </a:p>
                  </a:txBody>
                  <a:tcPr marL="7125" marR="7125" marT="7125" marB="0" anchor="b">
                    <a:solidFill>
                      <a:schemeClr val="bg2"/>
                    </a:solidFill>
                  </a:tcPr>
                </a:tc>
                <a:extLst>
                  <a:ext uri="{0D108BD9-81ED-4DB2-BD59-A6C34878D82A}">
                    <a16:rowId xmlns:a16="http://schemas.microsoft.com/office/drawing/2014/main" val="2340564259"/>
                  </a:ext>
                </a:extLst>
              </a:tr>
              <a:tr h="2066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chemeClr val="bg1"/>
                          </a:solidFill>
                          <a:effectLst/>
                          <a:latin typeface="+mn-lt"/>
                        </a:rPr>
                        <a:t>Payroll &amp; Human Resources</a:t>
                      </a:r>
                    </a:p>
                  </a:txBody>
                  <a:tcPr marL="7125" marR="7125" marT="7125" marB="0" anchor="b">
                    <a:solidFill>
                      <a:schemeClr val="bg2"/>
                    </a:solidFill>
                  </a:tcPr>
                </a:tc>
                <a:extLst>
                  <a:ext uri="{0D108BD9-81ED-4DB2-BD59-A6C34878D82A}">
                    <a16:rowId xmlns:a16="http://schemas.microsoft.com/office/drawing/2014/main" val="3259505744"/>
                  </a:ext>
                </a:extLst>
              </a:tr>
            </a:tbl>
          </a:graphicData>
        </a:graphic>
      </p:graphicFrame>
      <p:sp>
        <p:nvSpPr>
          <p:cNvPr id="42" name="TextBox 41"/>
          <p:cNvSpPr txBox="1"/>
          <p:nvPr/>
        </p:nvSpPr>
        <p:spPr>
          <a:xfrm>
            <a:off x="8674066" y="1185080"/>
            <a:ext cx="2121093" cy="276999"/>
          </a:xfrm>
          <a:prstGeom prst="rect">
            <a:avLst/>
          </a:prstGeom>
          <a:noFill/>
        </p:spPr>
        <p:txBody>
          <a:bodyPr wrap="none" rtlCol="0">
            <a:spAutoFit/>
          </a:bodyPr>
          <a:lstStyle/>
          <a:p>
            <a:r>
              <a:rPr lang="en-US" sz="1200"/>
              <a:t>Internal Business Processes</a:t>
            </a:r>
          </a:p>
        </p:txBody>
      </p:sp>
      <p:sp>
        <p:nvSpPr>
          <p:cNvPr id="43" name="Oval 42"/>
          <p:cNvSpPr/>
          <p:nvPr/>
        </p:nvSpPr>
        <p:spPr>
          <a:xfrm>
            <a:off x="5990080" y="4964573"/>
            <a:ext cx="1375187" cy="1375187"/>
          </a:xfrm>
          <a:prstGeom prst="ellips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44" name="Flowchart: Magnetic Disk 43"/>
          <p:cNvSpPr/>
          <p:nvPr/>
        </p:nvSpPr>
        <p:spPr>
          <a:xfrm>
            <a:off x="6274039" y="5448038"/>
            <a:ext cx="861088" cy="667242"/>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Data</a:t>
            </a:r>
          </a:p>
          <a:p>
            <a:pPr algn="ctr"/>
            <a:r>
              <a:rPr lang="en-US" sz="1000"/>
              <a:t>Integration</a:t>
            </a:r>
          </a:p>
          <a:p>
            <a:pPr algn="ctr"/>
            <a:r>
              <a:rPr lang="en-US" sz="1000"/>
              <a:t>Strategy</a:t>
            </a:r>
          </a:p>
        </p:txBody>
      </p:sp>
      <p:sp>
        <p:nvSpPr>
          <p:cNvPr id="45" name="TextBox 44"/>
          <p:cNvSpPr txBox="1"/>
          <p:nvPr/>
        </p:nvSpPr>
        <p:spPr>
          <a:xfrm>
            <a:off x="6242284" y="5017151"/>
            <a:ext cx="924599" cy="430887"/>
          </a:xfrm>
          <a:prstGeom prst="rect">
            <a:avLst/>
          </a:prstGeom>
          <a:noFill/>
        </p:spPr>
        <p:txBody>
          <a:bodyPr wrap="square" rtlCol="0">
            <a:spAutoFit/>
          </a:bodyPr>
          <a:lstStyle/>
          <a:p>
            <a:pPr algn="ctr"/>
            <a:r>
              <a:rPr lang="en-US" sz="1100"/>
              <a:t>Customer </a:t>
            </a:r>
          </a:p>
          <a:p>
            <a:pPr algn="ctr"/>
            <a:r>
              <a:rPr lang="en-US" sz="1100"/>
              <a:t>Behavior</a:t>
            </a:r>
          </a:p>
        </p:txBody>
      </p:sp>
      <p:cxnSp>
        <p:nvCxnSpPr>
          <p:cNvPr id="16" name="Connector: Elbow 15">
            <a:extLst>
              <a:ext uri="{FF2B5EF4-FFF2-40B4-BE49-F238E27FC236}">
                <a16:creationId xmlns:a16="http://schemas.microsoft.com/office/drawing/2014/main" id="{4864E094-AD80-40AF-AA01-24A83CA5371B}"/>
              </a:ext>
            </a:extLst>
          </p:cNvPr>
          <p:cNvCxnSpPr>
            <a:cxnSpLocks/>
            <a:endCxn id="43" idx="2"/>
          </p:cNvCxnSpPr>
          <p:nvPr/>
        </p:nvCxnSpPr>
        <p:spPr>
          <a:xfrm>
            <a:off x="3823855" y="5084354"/>
            <a:ext cx="2166225" cy="567813"/>
          </a:xfrm>
          <a:prstGeom prst="bentConnector3">
            <a:avLst>
              <a:gd name="adj1" fmla="val 11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3AA97523-C25E-4A74-AE99-F7D9818950EF}"/>
              </a:ext>
            </a:extLst>
          </p:cNvPr>
          <p:cNvCxnSpPr>
            <a:endCxn id="43" idx="6"/>
          </p:cNvCxnSpPr>
          <p:nvPr/>
        </p:nvCxnSpPr>
        <p:spPr>
          <a:xfrm rot="10800000" flipV="1">
            <a:off x="7365268" y="5017151"/>
            <a:ext cx="2336875" cy="635016"/>
          </a:xfrm>
          <a:prstGeom prst="bentConnector3">
            <a:avLst>
              <a:gd name="adj1" fmla="val -309"/>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280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17"/>
          <p:cNvSpPr txBox="1">
            <a:spLocks/>
          </p:cNvSpPr>
          <p:nvPr/>
        </p:nvSpPr>
        <p:spPr bwMode="gray">
          <a:xfrm>
            <a:off x="7732800" y="4411055"/>
            <a:ext cx="3657600" cy="331044"/>
          </a:xfrm>
          <a:prstGeom prst="chevron">
            <a:avLst>
              <a:gd name="adj" fmla="val 37645"/>
            </a:avLst>
          </a:prstGeom>
          <a:solidFill>
            <a:srgbClr val="50B848"/>
          </a:soli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ctr" defTabSz="1221212" rtl="0" eaLnBrk="1" fontAlgn="auto" latinLnBrk="0" hangingPunct="1">
              <a:lnSpc>
                <a:spcPct val="100000"/>
              </a:lnSpc>
              <a:spcBef>
                <a:spcPts val="0"/>
              </a:spcBef>
              <a:spcAft>
                <a:spcPts val="0"/>
              </a:spcAft>
              <a:buClr>
                <a:srgbClr val="AED8EF"/>
              </a:buClr>
              <a:buSzPct val="110000"/>
              <a:buFont typeface="Arial" panose="020B0604020202020204" pitchFamily="34" charset="0"/>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Maturity</a:t>
            </a:r>
          </a:p>
        </p:txBody>
      </p:sp>
      <p:sp>
        <p:nvSpPr>
          <p:cNvPr id="33" name="Text Placeholder 17"/>
          <p:cNvSpPr txBox="1">
            <a:spLocks/>
          </p:cNvSpPr>
          <p:nvPr/>
        </p:nvSpPr>
        <p:spPr bwMode="gray">
          <a:xfrm>
            <a:off x="4021703" y="4411055"/>
            <a:ext cx="3657600" cy="331044"/>
          </a:xfrm>
          <a:prstGeom prst="chevron">
            <a:avLst>
              <a:gd name="adj" fmla="val 37645"/>
            </a:avLst>
          </a:prstGeom>
          <a:solidFill>
            <a:srgbClr val="009CDE"/>
          </a:soli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ctr" defTabSz="1221212" rtl="0" eaLnBrk="1" fontAlgn="auto" latinLnBrk="0" hangingPunct="1">
              <a:lnSpc>
                <a:spcPct val="100000"/>
              </a:lnSpc>
              <a:spcBef>
                <a:spcPts val="0"/>
              </a:spcBef>
              <a:spcAft>
                <a:spcPts val="0"/>
              </a:spcAft>
              <a:buClr>
                <a:srgbClr val="AED8EF"/>
              </a:buClr>
              <a:buSzPct val="110000"/>
              <a:buFont typeface="Arial" panose="020B0604020202020204" pitchFamily="34" charset="0"/>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Growth</a:t>
            </a:r>
          </a:p>
        </p:txBody>
      </p:sp>
      <p:sp>
        <p:nvSpPr>
          <p:cNvPr id="34" name="Text Placeholder 17"/>
          <p:cNvSpPr txBox="1">
            <a:spLocks/>
          </p:cNvSpPr>
          <p:nvPr/>
        </p:nvSpPr>
        <p:spPr bwMode="gray">
          <a:xfrm>
            <a:off x="326160" y="4412054"/>
            <a:ext cx="3657600" cy="331044"/>
          </a:xfrm>
          <a:prstGeom prst="chevron">
            <a:avLst>
              <a:gd name="adj" fmla="val 37645"/>
            </a:avLst>
          </a:prstGeom>
          <a:solidFill>
            <a:srgbClr val="616161"/>
          </a:soli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ctr" defTabSz="1221212" rtl="0" eaLnBrk="1" fontAlgn="auto" latinLnBrk="0" hangingPunct="1">
              <a:lnSpc>
                <a:spcPct val="100000"/>
              </a:lnSpc>
              <a:spcBef>
                <a:spcPts val="0"/>
              </a:spcBef>
              <a:spcAft>
                <a:spcPts val="0"/>
              </a:spcAft>
              <a:buClr>
                <a:srgbClr val="AED8EF"/>
              </a:buClr>
              <a:buSzPct val="110000"/>
              <a:buFont typeface="Arial" panose="020B0604020202020204" pitchFamily="34" charset="0"/>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Startup</a:t>
            </a:r>
          </a:p>
        </p:txBody>
      </p:sp>
      <p:cxnSp>
        <p:nvCxnSpPr>
          <p:cNvPr id="35" name="Straight Connector 34"/>
          <p:cNvCxnSpPr/>
          <p:nvPr/>
        </p:nvCxnSpPr>
        <p:spPr>
          <a:xfrm>
            <a:off x="326160" y="4371733"/>
            <a:ext cx="11064240" cy="0"/>
          </a:xfrm>
          <a:prstGeom prst="line">
            <a:avLst/>
          </a:prstGeom>
          <a:ln w="22225">
            <a:solidFill>
              <a:srgbClr val="01A6E0"/>
            </a:solidFill>
            <a:prstDash val="solid"/>
          </a:ln>
        </p:spPr>
        <p:style>
          <a:lnRef idx="1">
            <a:schemeClr val="accent1"/>
          </a:lnRef>
          <a:fillRef idx="0">
            <a:schemeClr val="accent1"/>
          </a:fillRef>
          <a:effectRef idx="0">
            <a:schemeClr val="accent1"/>
          </a:effectRef>
          <a:fontRef idx="minor">
            <a:schemeClr val="tx1"/>
          </a:fontRef>
        </p:style>
      </p:cxnSp>
      <p:sp>
        <p:nvSpPr>
          <p:cNvPr id="36" name="Title 3"/>
          <p:cNvSpPr>
            <a:spLocks noGrp="1"/>
          </p:cNvSpPr>
          <p:nvPr>
            <p:ph type="title" idx="4294967295"/>
          </p:nvPr>
        </p:nvSpPr>
        <p:spPr>
          <a:xfrm>
            <a:off x="379863" y="151451"/>
            <a:ext cx="10741025" cy="496888"/>
          </a:xfrm>
        </p:spPr>
        <p:txBody>
          <a:bodyPr>
            <a:noAutofit/>
          </a:bodyPr>
          <a:lstStyle/>
          <a:p>
            <a:r>
              <a:rPr lang="en-US"/>
              <a:t>Growing Through Enterprise Resource Planning</a:t>
            </a:r>
          </a:p>
        </p:txBody>
      </p:sp>
      <p:sp>
        <p:nvSpPr>
          <p:cNvPr id="41" name="Rectangle 40"/>
          <p:cNvSpPr/>
          <p:nvPr/>
        </p:nvSpPr>
        <p:spPr>
          <a:xfrm>
            <a:off x="182935" y="838200"/>
            <a:ext cx="11295694" cy="5992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95959"/>
                </a:solidFill>
                <a:effectLst/>
                <a:uLnTx/>
                <a:uFillTx/>
                <a:latin typeface="Arial" panose="020B0604020202020204" pitchFamily="34" charset="0"/>
                <a:cs typeface="Arial" panose="020B0604020202020204" pitchFamily="34" charset="0"/>
              </a:rPr>
              <a:t>Organizations experiencing rapid growth will quickly scale</a:t>
            </a:r>
            <a:r>
              <a:rPr kumimoji="0" lang="en-US" sz="1600" b="0" i="0" u="none" strike="noStrike" kern="1200" cap="none" spc="0" normalizeH="0" noProof="0">
                <a:ln>
                  <a:noFill/>
                </a:ln>
                <a:solidFill>
                  <a:srgbClr val="595959"/>
                </a:solidFill>
                <a:effectLst/>
                <a:uLnTx/>
                <a:uFillTx/>
                <a:latin typeface="Arial" panose="020B0604020202020204" pitchFamily="34" charset="0"/>
                <a:cs typeface="Arial" panose="020B0604020202020204" pitchFamily="34" charset="0"/>
              </a:rPr>
              <a:t> out of QuickBooks and should look to proactively address their future needs with a mid-market solution set built to meet their needs. </a:t>
            </a:r>
            <a:endParaRPr kumimoji="0" lang="en-US" sz="1600" b="0" i="0" u="none" strike="noStrike" kern="1200" cap="none" spc="0" normalizeH="0" baseline="0" noProof="0">
              <a:ln>
                <a:noFill/>
              </a:ln>
              <a:solidFill>
                <a:srgbClr val="595959"/>
              </a:solidFill>
              <a:effectLst/>
              <a:uLnTx/>
              <a:uFillTx/>
              <a:latin typeface="Arial" panose="020B0604020202020204" pitchFamily="34" charset="0"/>
              <a:cs typeface="Arial" panose="020B0604020202020204" pitchFamily="34" charset="0"/>
            </a:endParaRPr>
          </a:p>
        </p:txBody>
      </p:sp>
      <p:grpSp>
        <p:nvGrpSpPr>
          <p:cNvPr id="55" name="Group 7"/>
          <p:cNvGrpSpPr/>
          <p:nvPr/>
        </p:nvGrpSpPr>
        <p:grpSpPr>
          <a:xfrm>
            <a:off x="379863" y="1728591"/>
            <a:ext cx="10900286" cy="2445569"/>
            <a:chOff x="268224" y="1207008"/>
            <a:chExt cx="8875776" cy="2633472"/>
          </a:xfrm>
        </p:grpSpPr>
        <p:sp>
          <p:nvSpPr>
            <p:cNvPr id="62" name="Rectangle 61"/>
            <p:cNvSpPr/>
            <p:nvPr/>
          </p:nvSpPr>
          <p:spPr>
            <a:xfrm>
              <a:off x="268224" y="1207008"/>
              <a:ext cx="8875776" cy="2633472"/>
            </a:xfrm>
            <a:prstGeom prst="rect">
              <a:avLst/>
            </a:pr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Freeform 62"/>
            <p:cNvSpPr/>
            <p:nvPr/>
          </p:nvSpPr>
          <p:spPr>
            <a:xfrm>
              <a:off x="490493" y="1459625"/>
              <a:ext cx="8473440" cy="2243328"/>
            </a:xfrm>
            <a:custGeom>
              <a:avLst/>
              <a:gdLst>
                <a:gd name="connsiteX0" fmla="*/ 0 w 8534400"/>
                <a:gd name="connsiteY0" fmla="*/ 1741424 h 1741424"/>
                <a:gd name="connsiteX1" fmla="*/ 3011424 w 8534400"/>
                <a:gd name="connsiteY1" fmla="*/ 1278128 h 1741424"/>
                <a:gd name="connsiteX2" fmla="*/ 6742176 w 8534400"/>
                <a:gd name="connsiteY2" fmla="*/ 180848 h 1741424"/>
                <a:gd name="connsiteX3" fmla="*/ 8534400 w 8534400"/>
                <a:gd name="connsiteY3" fmla="*/ 193040 h 1741424"/>
                <a:gd name="connsiteX0" fmla="*/ 0 w 8534400"/>
                <a:gd name="connsiteY0" fmla="*/ 1731264 h 1731264"/>
                <a:gd name="connsiteX1" fmla="*/ 3572256 w 8534400"/>
                <a:gd name="connsiteY1" fmla="*/ 1207008 h 1731264"/>
                <a:gd name="connsiteX2" fmla="*/ 6742176 w 8534400"/>
                <a:gd name="connsiteY2" fmla="*/ 170688 h 1731264"/>
                <a:gd name="connsiteX3" fmla="*/ 8534400 w 8534400"/>
                <a:gd name="connsiteY3" fmla="*/ 182880 h 1731264"/>
                <a:gd name="connsiteX0" fmla="*/ 0 w 8534400"/>
                <a:gd name="connsiteY0" fmla="*/ 1731264 h 1731264"/>
                <a:gd name="connsiteX1" fmla="*/ 3572256 w 8534400"/>
                <a:gd name="connsiteY1" fmla="*/ 1207008 h 1731264"/>
                <a:gd name="connsiteX2" fmla="*/ 6742176 w 8534400"/>
                <a:gd name="connsiteY2" fmla="*/ 170688 h 1731264"/>
                <a:gd name="connsiteX3" fmla="*/ 8534400 w 8534400"/>
                <a:gd name="connsiteY3" fmla="*/ 182880 h 1731264"/>
                <a:gd name="connsiteX0" fmla="*/ 0 w 8534400"/>
                <a:gd name="connsiteY0" fmla="*/ 1840992 h 1840992"/>
                <a:gd name="connsiteX1" fmla="*/ 3572256 w 8534400"/>
                <a:gd name="connsiteY1" fmla="*/ 1316736 h 1840992"/>
                <a:gd name="connsiteX2" fmla="*/ 6742176 w 8534400"/>
                <a:gd name="connsiteY2" fmla="*/ 170688 h 1840992"/>
                <a:gd name="connsiteX3" fmla="*/ 8534400 w 8534400"/>
                <a:gd name="connsiteY3" fmla="*/ 292608 h 1840992"/>
                <a:gd name="connsiteX0" fmla="*/ 0 w 8595360"/>
                <a:gd name="connsiteY0" fmla="*/ 1822704 h 1822704"/>
                <a:gd name="connsiteX1" fmla="*/ 3572256 w 8595360"/>
                <a:gd name="connsiteY1" fmla="*/ 1298448 h 1822704"/>
                <a:gd name="connsiteX2" fmla="*/ 6742176 w 8595360"/>
                <a:gd name="connsiteY2" fmla="*/ 152400 h 1822704"/>
                <a:gd name="connsiteX3" fmla="*/ 8595360 w 8595360"/>
                <a:gd name="connsiteY3" fmla="*/ 384048 h 1822704"/>
                <a:gd name="connsiteX0" fmla="*/ 0 w 8595360"/>
                <a:gd name="connsiteY0" fmla="*/ 1822704 h 1822704"/>
                <a:gd name="connsiteX1" fmla="*/ 3572256 w 8595360"/>
                <a:gd name="connsiteY1" fmla="*/ 1298448 h 1822704"/>
                <a:gd name="connsiteX2" fmla="*/ 6742176 w 8595360"/>
                <a:gd name="connsiteY2" fmla="*/ 152400 h 1822704"/>
                <a:gd name="connsiteX3" fmla="*/ 8595360 w 8595360"/>
                <a:gd name="connsiteY3" fmla="*/ 384048 h 1822704"/>
                <a:gd name="connsiteX0" fmla="*/ 0 w 8595360"/>
                <a:gd name="connsiteY0" fmla="*/ 1969008 h 1969008"/>
                <a:gd name="connsiteX1" fmla="*/ 3572256 w 8595360"/>
                <a:gd name="connsiteY1" fmla="*/ 1298448 h 1969008"/>
                <a:gd name="connsiteX2" fmla="*/ 6742176 w 8595360"/>
                <a:gd name="connsiteY2" fmla="*/ 152400 h 1969008"/>
                <a:gd name="connsiteX3" fmla="*/ 8595360 w 8595360"/>
                <a:gd name="connsiteY3" fmla="*/ 384048 h 1969008"/>
                <a:gd name="connsiteX0" fmla="*/ 0 w 8595360"/>
                <a:gd name="connsiteY0" fmla="*/ 1995424 h 1995424"/>
                <a:gd name="connsiteX1" fmla="*/ 3877056 w 8595360"/>
                <a:gd name="connsiteY1" fmla="*/ 1483360 h 1995424"/>
                <a:gd name="connsiteX2" fmla="*/ 6742176 w 8595360"/>
                <a:gd name="connsiteY2" fmla="*/ 178816 h 1995424"/>
                <a:gd name="connsiteX3" fmla="*/ 8595360 w 8595360"/>
                <a:gd name="connsiteY3" fmla="*/ 410464 h 1995424"/>
                <a:gd name="connsiteX0" fmla="*/ 0 w 8595360"/>
                <a:gd name="connsiteY0" fmla="*/ 1995424 h 1995424"/>
                <a:gd name="connsiteX1" fmla="*/ 3877056 w 8595360"/>
                <a:gd name="connsiteY1" fmla="*/ 1483360 h 1995424"/>
                <a:gd name="connsiteX2" fmla="*/ 6742176 w 8595360"/>
                <a:gd name="connsiteY2" fmla="*/ 178816 h 1995424"/>
                <a:gd name="connsiteX3" fmla="*/ 8595360 w 8595360"/>
                <a:gd name="connsiteY3" fmla="*/ 410464 h 1995424"/>
                <a:gd name="connsiteX0" fmla="*/ 0 w 8595360"/>
                <a:gd name="connsiteY0" fmla="*/ 1995424 h 1995424"/>
                <a:gd name="connsiteX1" fmla="*/ 3877056 w 8595360"/>
                <a:gd name="connsiteY1" fmla="*/ 1483360 h 1995424"/>
                <a:gd name="connsiteX2" fmla="*/ 6742176 w 8595360"/>
                <a:gd name="connsiteY2" fmla="*/ 178816 h 1995424"/>
                <a:gd name="connsiteX3" fmla="*/ 8595360 w 8595360"/>
                <a:gd name="connsiteY3" fmla="*/ 410464 h 1995424"/>
                <a:gd name="connsiteX0" fmla="*/ 0 w 8595360"/>
                <a:gd name="connsiteY0" fmla="*/ 1969008 h 1969008"/>
                <a:gd name="connsiteX1" fmla="*/ 3901440 w 8595360"/>
                <a:gd name="connsiteY1" fmla="*/ 1298448 h 1969008"/>
                <a:gd name="connsiteX2" fmla="*/ 6742176 w 8595360"/>
                <a:gd name="connsiteY2" fmla="*/ 152400 h 1969008"/>
                <a:gd name="connsiteX3" fmla="*/ 8595360 w 8595360"/>
                <a:gd name="connsiteY3" fmla="*/ 384048 h 1969008"/>
                <a:gd name="connsiteX0" fmla="*/ 0 w 8595360"/>
                <a:gd name="connsiteY0" fmla="*/ 1969008 h 1969008"/>
                <a:gd name="connsiteX1" fmla="*/ 3901440 w 8595360"/>
                <a:gd name="connsiteY1" fmla="*/ 1298448 h 1969008"/>
                <a:gd name="connsiteX2" fmla="*/ 6742176 w 8595360"/>
                <a:gd name="connsiteY2" fmla="*/ 152400 h 1969008"/>
                <a:gd name="connsiteX3" fmla="*/ 8595360 w 8595360"/>
                <a:gd name="connsiteY3" fmla="*/ 384048 h 1969008"/>
                <a:gd name="connsiteX0" fmla="*/ 0 w 8595360"/>
                <a:gd name="connsiteY0" fmla="*/ 1969008 h 1969008"/>
                <a:gd name="connsiteX1" fmla="*/ 3901440 w 8595360"/>
                <a:gd name="connsiteY1" fmla="*/ 1298448 h 1969008"/>
                <a:gd name="connsiteX2" fmla="*/ 6742176 w 8595360"/>
                <a:gd name="connsiteY2" fmla="*/ 152400 h 1969008"/>
                <a:gd name="connsiteX3" fmla="*/ 8595360 w 8595360"/>
                <a:gd name="connsiteY3" fmla="*/ 384048 h 1969008"/>
                <a:gd name="connsiteX0" fmla="*/ 0 w 8180832"/>
                <a:gd name="connsiteY0" fmla="*/ 1969008 h 1969008"/>
                <a:gd name="connsiteX1" fmla="*/ 3486912 w 8180832"/>
                <a:gd name="connsiteY1" fmla="*/ 1298448 h 1969008"/>
                <a:gd name="connsiteX2" fmla="*/ 6327648 w 8180832"/>
                <a:gd name="connsiteY2" fmla="*/ 152400 h 1969008"/>
                <a:gd name="connsiteX3" fmla="*/ 8180832 w 8180832"/>
                <a:gd name="connsiteY3" fmla="*/ 384048 h 1969008"/>
                <a:gd name="connsiteX0" fmla="*/ 0 w 8180832"/>
                <a:gd name="connsiteY0" fmla="*/ 1969008 h 1969008"/>
                <a:gd name="connsiteX1" fmla="*/ 3486912 w 8180832"/>
                <a:gd name="connsiteY1" fmla="*/ 1298448 h 1969008"/>
                <a:gd name="connsiteX2" fmla="*/ 6327648 w 8180832"/>
                <a:gd name="connsiteY2" fmla="*/ 152400 h 1969008"/>
                <a:gd name="connsiteX3" fmla="*/ 8180832 w 8180832"/>
                <a:gd name="connsiteY3" fmla="*/ 384048 h 1969008"/>
                <a:gd name="connsiteX0" fmla="*/ 0 w 8180832"/>
                <a:gd name="connsiteY0" fmla="*/ 1989328 h 1989328"/>
                <a:gd name="connsiteX1" fmla="*/ 3523488 w 8180832"/>
                <a:gd name="connsiteY1" fmla="*/ 1440688 h 1989328"/>
                <a:gd name="connsiteX2" fmla="*/ 6327648 w 8180832"/>
                <a:gd name="connsiteY2" fmla="*/ 172720 h 1989328"/>
                <a:gd name="connsiteX3" fmla="*/ 8180832 w 8180832"/>
                <a:gd name="connsiteY3" fmla="*/ 404368 h 1989328"/>
                <a:gd name="connsiteX0" fmla="*/ 0 w 8180832"/>
                <a:gd name="connsiteY0" fmla="*/ 2025904 h 2025904"/>
                <a:gd name="connsiteX1" fmla="*/ 3523488 w 8180832"/>
                <a:gd name="connsiteY1" fmla="*/ 1477264 h 2025904"/>
                <a:gd name="connsiteX2" fmla="*/ 6644640 w 8180832"/>
                <a:gd name="connsiteY2" fmla="*/ 172720 h 2025904"/>
                <a:gd name="connsiteX3" fmla="*/ 8180832 w 8180832"/>
                <a:gd name="connsiteY3" fmla="*/ 440944 h 2025904"/>
                <a:gd name="connsiteX0" fmla="*/ 0 w 8375904"/>
                <a:gd name="connsiteY0" fmla="*/ 2034032 h 2034032"/>
                <a:gd name="connsiteX1" fmla="*/ 3523488 w 8375904"/>
                <a:gd name="connsiteY1" fmla="*/ 1485392 h 2034032"/>
                <a:gd name="connsiteX2" fmla="*/ 6644640 w 8375904"/>
                <a:gd name="connsiteY2" fmla="*/ 180848 h 2034032"/>
                <a:gd name="connsiteX3" fmla="*/ 8375904 w 8375904"/>
                <a:gd name="connsiteY3" fmla="*/ 400304 h 2034032"/>
                <a:gd name="connsiteX0" fmla="*/ 0 w 8375904"/>
                <a:gd name="connsiteY0" fmla="*/ 2155952 h 2155952"/>
                <a:gd name="connsiteX1" fmla="*/ 3523488 w 8375904"/>
                <a:gd name="connsiteY1" fmla="*/ 1485392 h 2155952"/>
                <a:gd name="connsiteX2" fmla="*/ 6644640 w 8375904"/>
                <a:gd name="connsiteY2" fmla="*/ 180848 h 2155952"/>
                <a:gd name="connsiteX3" fmla="*/ 8375904 w 8375904"/>
                <a:gd name="connsiteY3" fmla="*/ 400304 h 2155952"/>
                <a:gd name="connsiteX0" fmla="*/ 0 w 8375904"/>
                <a:gd name="connsiteY0" fmla="*/ 2155952 h 2155952"/>
                <a:gd name="connsiteX1" fmla="*/ 3523488 w 8375904"/>
                <a:gd name="connsiteY1" fmla="*/ 1485392 h 2155952"/>
                <a:gd name="connsiteX2" fmla="*/ 6644640 w 8375904"/>
                <a:gd name="connsiteY2" fmla="*/ 180848 h 2155952"/>
                <a:gd name="connsiteX3" fmla="*/ 8375904 w 8375904"/>
                <a:gd name="connsiteY3" fmla="*/ 400304 h 2155952"/>
                <a:gd name="connsiteX0" fmla="*/ 0 w 8375904"/>
                <a:gd name="connsiteY0" fmla="*/ 2180336 h 2180336"/>
                <a:gd name="connsiteX1" fmla="*/ 3523488 w 8375904"/>
                <a:gd name="connsiteY1" fmla="*/ 1509776 h 2180336"/>
                <a:gd name="connsiteX2" fmla="*/ 6949440 w 8375904"/>
                <a:gd name="connsiteY2" fmla="*/ 180848 h 2180336"/>
                <a:gd name="connsiteX3" fmla="*/ 8375904 w 8375904"/>
                <a:gd name="connsiteY3" fmla="*/ 424688 h 2180336"/>
                <a:gd name="connsiteX0" fmla="*/ 0 w 8375904"/>
                <a:gd name="connsiteY0" fmla="*/ 2192528 h 2192528"/>
                <a:gd name="connsiteX1" fmla="*/ 3596640 w 8375904"/>
                <a:gd name="connsiteY1" fmla="*/ 1595120 h 2192528"/>
                <a:gd name="connsiteX2" fmla="*/ 6949440 w 8375904"/>
                <a:gd name="connsiteY2" fmla="*/ 193040 h 2192528"/>
                <a:gd name="connsiteX3" fmla="*/ 8375904 w 8375904"/>
                <a:gd name="connsiteY3" fmla="*/ 436880 h 2192528"/>
                <a:gd name="connsiteX0" fmla="*/ 0 w 8363712"/>
                <a:gd name="connsiteY0" fmla="*/ 2277872 h 2277872"/>
                <a:gd name="connsiteX1" fmla="*/ 3584448 w 8363712"/>
                <a:gd name="connsiteY1" fmla="*/ 1595120 h 2277872"/>
                <a:gd name="connsiteX2" fmla="*/ 6937248 w 8363712"/>
                <a:gd name="connsiteY2" fmla="*/ 193040 h 2277872"/>
                <a:gd name="connsiteX3" fmla="*/ 8363712 w 8363712"/>
                <a:gd name="connsiteY3" fmla="*/ 436880 h 2277872"/>
                <a:gd name="connsiteX0" fmla="*/ 0 w 8363712"/>
                <a:gd name="connsiteY0" fmla="*/ 2277872 h 2277872"/>
                <a:gd name="connsiteX1" fmla="*/ 3584448 w 8363712"/>
                <a:gd name="connsiteY1" fmla="*/ 1595120 h 2277872"/>
                <a:gd name="connsiteX2" fmla="*/ 6937248 w 8363712"/>
                <a:gd name="connsiteY2" fmla="*/ 193040 h 2277872"/>
                <a:gd name="connsiteX3" fmla="*/ 8363712 w 8363712"/>
                <a:gd name="connsiteY3" fmla="*/ 436880 h 2277872"/>
                <a:gd name="connsiteX0" fmla="*/ 0 w 8473440"/>
                <a:gd name="connsiteY0" fmla="*/ 2253488 h 2253488"/>
                <a:gd name="connsiteX1" fmla="*/ 3694176 w 8473440"/>
                <a:gd name="connsiteY1" fmla="*/ 1595120 h 2253488"/>
                <a:gd name="connsiteX2" fmla="*/ 7046976 w 8473440"/>
                <a:gd name="connsiteY2" fmla="*/ 193040 h 2253488"/>
                <a:gd name="connsiteX3" fmla="*/ 8473440 w 8473440"/>
                <a:gd name="connsiteY3" fmla="*/ 436880 h 2253488"/>
                <a:gd name="connsiteX0" fmla="*/ 0 w 8473440"/>
                <a:gd name="connsiteY0" fmla="*/ 2243328 h 2243328"/>
                <a:gd name="connsiteX1" fmla="*/ 4084320 w 8473440"/>
                <a:gd name="connsiteY1" fmla="*/ 1524000 h 2243328"/>
                <a:gd name="connsiteX2" fmla="*/ 7046976 w 8473440"/>
                <a:gd name="connsiteY2" fmla="*/ 182880 h 2243328"/>
                <a:gd name="connsiteX3" fmla="*/ 8473440 w 8473440"/>
                <a:gd name="connsiteY3" fmla="*/ 426720 h 2243328"/>
                <a:gd name="connsiteX0" fmla="*/ 0 w 8473440"/>
                <a:gd name="connsiteY0" fmla="*/ 2243328 h 2243328"/>
                <a:gd name="connsiteX1" fmla="*/ 4084320 w 8473440"/>
                <a:gd name="connsiteY1" fmla="*/ 1524000 h 2243328"/>
                <a:gd name="connsiteX2" fmla="*/ 7046976 w 8473440"/>
                <a:gd name="connsiteY2" fmla="*/ 182880 h 2243328"/>
                <a:gd name="connsiteX3" fmla="*/ 8473440 w 8473440"/>
                <a:gd name="connsiteY3" fmla="*/ 426720 h 2243328"/>
                <a:gd name="connsiteX0" fmla="*/ 0 w 8473440"/>
                <a:gd name="connsiteY0" fmla="*/ 2243328 h 2243328"/>
                <a:gd name="connsiteX1" fmla="*/ 4084320 w 8473440"/>
                <a:gd name="connsiteY1" fmla="*/ 1524000 h 2243328"/>
                <a:gd name="connsiteX2" fmla="*/ 7046976 w 8473440"/>
                <a:gd name="connsiteY2" fmla="*/ 182880 h 2243328"/>
                <a:gd name="connsiteX3" fmla="*/ 8473440 w 8473440"/>
                <a:gd name="connsiteY3" fmla="*/ 426720 h 2243328"/>
                <a:gd name="connsiteX0" fmla="*/ 0 w 8473440"/>
                <a:gd name="connsiteY0" fmla="*/ 2243328 h 2243328"/>
                <a:gd name="connsiteX1" fmla="*/ 4084320 w 8473440"/>
                <a:gd name="connsiteY1" fmla="*/ 1524000 h 2243328"/>
                <a:gd name="connsiteX2" fmla="*/ 7046976 w 8473440"/>
                <a:gd name="connsiteY2" fmla="*/ 182880 h 2243328"/>
                <a:gd name="connsiteX3" fmla="*/ 8473440 w 8473440"/>
                <a:gd name="connsiteY3" fmla="*/ 426720 h 2243328"/>
              </a:gdLst>
              <a:ahLst/>
              <a:cxnLst>
                <a:cxn ang="0">
                  <a:pos x="connsiteX0" y="connsiteY0"/>
                </a:cxn>
                <a:cxn ang="0">
                  <a:pos x="connsiteX1" y="connsiteY1"/>
                </a:cxn>
                <a:cxn ang="0">
                  <a:pos x="connsiteX2" y="connsiteY2"/>
                </a:cxn>
                <a:cxn ang="0">
                  <a:pos x="connsiteX3" y="connsiteY3"/>
                </a:cxn>
              </a:cxnLst>
              <a:rect l="l" t="t" r="r" b="b"/>
              <a:pathLst>
                <a:path w="8473440" h="2243328">
                  <a:moveTo>
                    <a:pt x="0" y="2243328"/>
                  </a:moveTo>
                  <a:cubicBezTo>
                    <a:pt x="1273048" y="2117344"/>
                    <a:pt x="2826512" y="2040128"/>
                    <a:pt x="4084320" y="1524000"/>
                  </a:cubicBezTo>
                  <a:cubicBezTo>
                    <a:pt x="5915152" y="764032"/>
                    <a:pt x="6315456" y="365760"/>
                    <a:pt x="7046976" y="182880"/>
                  </a:cubicBezTo>
                  <a:cubicBezTo>
                    <a:pt x="7778496" y="0"/>
                    <a:pt x="8473440" y="426720"/>
                    <a:pt x="8473440" y="426720"/>
                  </a:cubicBezTo>
                </a:path>
              </a:pathLst>
            </a:custGeom>
            <a:ln>
              <a:solidFill>
                <a:schemeClr val="accent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cxnSp>
        <p:nvCxnSpPr>
          <p:cNvPr id="56" name="Straight Connector 55"/>
          <p:cNvCxnSpPr/>
          <p:nvPr/>
        </p:nvCxnSpPr>
        <p:spPr>
          <a:xfrm>
            <a:off x="3999458" y="1699003"/>
            <a:ext cx="0" cy="2645664"/>
          </a:xfrm>
          <a:prstGeom prst="line">
            <a:avLst/>
          </a:prstGeom>
          <a:ln w="3175">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7662107" y="1681793"/>
            <a:ext cx="0" cy="2645664"/>
          </a:xfrm>
          <a:prstGeom prst="line">
            <a:avLst/>
          </a:prstGeom>
          <a:ln w="3175">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a:off x="546689" y="1785425"/>
            <a:ext cx="2364750" cy="369332"/>
          </a:xfrm>
          <a:prstGeom prst="rect">
            <a:avLst/>
          </a:prstGeom>
          <a:noFill/>
        </p:spPr>
        <p:txBody>
          <a:bodyPr wrap="none" rtlCol="0">
            <a:spAutoFit/>
          </a:bodyPr>
          <a:lstStyle/>
          <a:p>
            <a:r>
              <a:rPr lang="en-US" b="1">
                <a:latin typeface="Arial" panose="020B0604020202020204" pitchFamily="34" charset="0"/>
                <a:cs typeface="Arial" panose="020B0604020202020204" pitchFamily="34" charset="0"/>
              </a:rPr>
              <a:t>Business Life Cycle</a:t>
            </a:r>
          </a:p>
        </p:txBody>
      </p:sp>
      <p:sp>
        <p:nvSpPr>
          <p:cNvPr id="64" name="TextBox 63"/>
          <p:cNvSpPr txBox="1"/>
          <p:nvPr/>
        </p:nvSpPr>
        <p:spPr>
          <a:xfrm>
            <a:off x="1218516" y="2622537"/>
            <a:ext cx="1621143" cy="661720"/>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en-US" sz="1600" b="1">
                <a:solidFill>
                  <a:srgbClr val="01A6E0"/>
                </a:solidFill>
                <a:latin typeface="Arial" panose="020B0604020202020204" pitchFamily="34" charset="0"/>
                <a:cs typeface="Arial" panose="020B0604020202020204" pitchFamily="34" charset="0"/>
              </a:rPr>
              <a:t>Entry-Level</a:t>
            </a:r>
          </a:p>
          <a:p>
            <a:pPr>
              <a:defRPr/>
            </a:pPr>
            <a:r>
              <a:rPr lang="en-US" sz="1050">
                <a:solidFill>
                  <a:srgbClr val="616161"/>
                </a:solidFill>
                <a:latin typeface="Arial" panose="020B0604020202020204" pitchFamily="34" charset="0"/>
                <a:cs typeface="Arial" panose="020B0604020202020204" pitchFamily="34" charset="0"/>
              </a:rPr>
              <a:t>$0 – $10 million</a:t>
            </a:r>
          </a:p>
          <a:p>
            <a:pPr>
              <a:defRPr/>
            </a:pPr>
            <a:r>
              <a:rPr lang="en-US" sz="1050">
                <a:solidFill>
                  <a:srgbClr val="616161"/>
                </a:solidFill>
                <a:latin typeface="Arial" panose="020B0604020202020204" pitchFamily="34" charset="0"/>
                <a:cs typeface="Arial" panose="020B0604020202020204" pitchFamily="34" charset="0"/>
              </a:rPr>
              <a:t>0 – 15 employees</a:t>
            </a:r>
          </a:p>
        </p:txBody>
      </p:sp>
      <p:sp>
        <p:nvSpPr>
          <p:cNvPr id="65" name="TextBox 64"/>
          <p:cNvSpPr txBox="1"/>
          <p:nvPr/>
        </p:nvSpPr>
        <p:spPr>
          <a:xfrm>
            <a:off x="4962212" y="2342905"/>
            <a:ext cx="1737142" cy="661720"/>
          </a:xfrm>
          <a:prstGeom prst="rect">
            <a:avLst/>
          </a:prstGeom>
          <a:noFill/>
        </p:spPr>
        <p:txBody>
          <a:bodyPr wrap="square" rtlCol="0">
            <a:spAutoFit/>
          </a:bodyPr>
          <a:lstStyle/>
          <a:p>
            <a:pPr>
              <a:defRPr/>
            </a:pPr>
            <a:r>
              <a:rPr lang="en-US" sz="1600" b="1">
                <a:solidFill>
                  <a:srgbClr val="01A6E0"/>
                </a:solidFill>
                <a:latin typeface="Arial" panose="020B0604020202020204" pitchFamily="34" charset="0"/>
                <a:cs typeface="Arial" panose="020B0604020202020204" pitchFamily="34" charset="0"/>
              </a:rPr>
              <a:t>Mid-Mark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solidFill>
                  <a:srgbClr val="616161"/>
                </a:solidFill>
                <a:latin typeface="Arial" panose="020B0604020202020204" pitchFamily="34" charset="0"/>
                <a:cs typeface="Arial" panose="020B0604020202020204" pitchFamily="34" charset="0"/>
              </a:rPr>
              <a:t>$10 – $500 mill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solidFill>
                  <a:srgbClr val="616161"/>
                </a:solidFill>
                <a:latin typeface="Arial" panose="020B0604020202020204" pitchFamily="34" charset="0"/>
                <a:cs typeface="Arial" panose="020B0604020202020204" pitchFamily="34" charset="0"/>
              </a:rPr>
              <a:t>151 – 10,000 employees</a:t>
            </a:r>
          </a:p>
        </p:txBody>
      </p:sp>
      <p:sp>
        <p:nvSpPr>
          <p:cNvPr id="66" name="TextBox 65"/>
          <p:cNvSpPr txBox="1"/>
          <p:nvPr/>
        </p:nvSpPr>
        <p:spPr>
          <a:xfrm>
            <a:off x="9029221" y="2630185"/>
            <a:ext cx="2001026" cy="661720"/>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en-US" sz="1600" b="1">
                <a:solidFill>
                  <a:srgbClr val="01A6E0"/>
                </a:solidFill>
                <a:latin typeface="Arial" panose="020B0604020202020204" pitchFamily="34" charset="0"/>
                <a:cs typeface="Arial" panose="020B0604020202020204" pitchFamily="34" charset="0"/>
              </a:rPr>
              <a:t>Enterpri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16161"/>
                </a:solidFill>
                <a:effectLst/>
                <a:uLnTx/>
                <a:uFillTx/>
                <a:latin typeface="Arial" panose="020B0604020202020204" pitchFamily="34" charset="0"/>
                <a:cs typeface="Arial" panose="020B0604020202020204" pitchFamily="34" charset="0"/>
              </a:rPr>
              <a:t>$500mm – </a:t>
            </a:r>
            <a:r>
              <a:rPr lang="en-US" sz="1050" noProof="0">
                <a:solidFill>
                  <a:srgbClr val="616161"/>
                </a:solidFill>
                <a:latin typeface="Arial" panose="020B0604020202020204" pitchFamily="34" charset="0"/>
                <a:cs typeface="Arial" panose="020B0604020202020204" pitchFamily="34" charset="0"/>
              </a:rPr>
              <a:t>$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a:ln>
                  <a:noFill/>
                </a:ln>
                <a:solidFill>
                  <a:srgbClr val="616161"/>
                </a:solidFill>
                <a:effectLst/>
                <a:uLnTx/>
                <a:uFillTx/>
                <a:latin typeface="Arial" panose="020B0604020202020204" pitchFamily="34" charset="0"/>
                <a:cs typeface="Arial" panose="020B0604020202020204" pitchFamily="34" charset="0"/>
              </a:rPr>
              <a:t>10,000+</a:t>
            </a:r>
            <a:r>
              <a:rPr kumimoji="0" lang="en-US" sz="1050" b="0" i="0" u="none" strike="noStrike" kern="1200" cap="none" spc="0" normalizeH="0">
                <a:ln>
                  <a:noFill/>
                </a:ln>
                <a:solidFill>
                  <a:srgbClr val="616161"/>
                </a:solidFill>
                <a:effectLst/>
                <a:uLnTx/>
                <a:uFillTx/>
                <a:latin typeface="Arial" panose="020B0604020202020204" pitchFamily="34" charset="0"/>
                <a:cs typeface="Arial" panose="020B0604020202020204" pitchFamily="34" charset="0"/>
              </a:rPr>
              <a:t> employees</a:t>
            </a:r>
            <a:endParaRPr kumimoji="0" lang="en-US" sz="1050" b="0" i="0" u="none" strike="noStrike" kern="1200" cap="none" spc="0" normalizeH="0" baseline="0" noProof="0">
              <a:ln>
                <a:noFill/>
              </a:ln>
              <a:solidFill>
                <a:srgbClr val="616161"/>
              </a:solidFill>
              <a:effectLst/>
              <a:uLnTx/>
              <a:uFillTx/>
              <a:latin typeface="Arial" panose="020B0604020202020204" pitchFamily="34" charset="0"/>
              <a:cs typeface="Arial" panose="020B0604020202020204" pitchFamily="34" charset="0"/>
            </a:endParaRPr>
          </a:p>
        </p:txBody>
      </p:sp>
      <p:sp>
        <p:nvSpPr>
          <p:cNvPr id="67" name="Oval 66"/>
          <p:cNvSpPr/>
          <p:nvPr/>
        </p:nvSpPr>
        <p:spPr>
          <a:xfrm>
            <a:off x="1987730" y="3982312"/>
            <a:ext cx="201522" cy="201522"/>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70" name="Straight Connector 69"/>
          <p:cNvCxnSpPr/>
          <p:nvPr/>
        </p:nvCxnSpPr>
        <p:spPr>
          <a:xfrm flipH="1">
            <a:off x="2080314" y="3844785"/>
            <a:ext cx="1863" cy="143791"/>
          </a:xfrm>
          <a:prstGeom prst="line">
            <a:avLst/>
          </a:prstGeom>
          <a:ln>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1" name="Straight Connector 70"/>
          <p:cNvCxnSpPr/>
          <p:nvPr/>
        </p:nvCxnSpPr>
        <p:spPr>
          <a:xfrm flipH="1">
            <a:off x="9829315" y="2145810"/>
            <a:ext cx="1863" cy="143791"/>
          </a:xfrm>
          <a:prstGeom prst="line">
            <a:avLst/>
          </a:prstGeom>
          <a:ln>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2" name="Straight Connector 71"/>
          <p:cNvCxnSpPr/>
          <p:nvPr/>
        </p:nvCxnSpPr>
        <p:spPr>
          <a:xfrm flipH="1">
            <a:off x="5725844" y="3212362"/>
            <a:ext cx="1863" cy="143791"/>
          </a:xfrm>
          <a:prstGeom prst="line">
            <a:avLst/>
          </a:prstGeom>
          <a:ln>
            <a:solidFill>
              <a:srgbClr val="00B050"/>
            </a:solidFill>
          </a:ln>
        </p:spPr>
        <p:style>
          <a:lnRef idx="3">
            <a:schemeClr val="accent6"/>
          </a:lnRef>
          <a:fillRef idx="0">
            <a:schemeClr val="accent6"/>
          </a:fillRef>
          <a:effectRef idx="2">
            <a:schemeClr val="accent6"/>
          </a:effectRef>
          <a:fontRef idx="minor">
            <a:schemeClr val="tx1"/>
          </a:fontRef>
        </p:style>
      </p:cxnSp>
      <p:sp>
        <p:nvSpPr>
          <p:cNvPr id="68" name="Oval 67"/>
          <p:cNvSpPr/>
          <p:nvPr/>
        </p:nvSpPr>
        <p:spPr>
          <a:xfrm>
            <a:off x="5629261" y="3318181"/>
            <a:ext cx="201522" cy="201522"/>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69" name="Oval 68"/>
          <p:cNvSpPr/>
          <p:nvPr/>
        </p:nvSpPr>
        <p:spPr>
          <a:xfrm>
            <a:off x="9728554" y="1972075"/>
            <a:ext cx="201522" cy="201522"/>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73" name="TextBox 72"/>
          <p:cNvSpPr txBox="1"/>
          <p:nvPr/>
        </p:nvSpPr>
        <p:spPr>
          <a:xfrm>
            <a:off x="1218516" y="4840008"/>
            <a:ext cx="1894825" cy="7386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595959"/>
                </a:solidFill>
                <a:effectLst/>
                <a:uLnTx/>
                <a:uFillTx/>
                <a:latin typeface="Arial" panose="020B0604020202020204" pitchFamily="34" charset="0"/>
                <a:cs typeface="Arial" panose="020B0604020202020204" pitchFamily="34" charset="0"/>
              </a:rPr>
              <a:t>QuickBoo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595959"/>
                </a:solidFill>
                <a:latin typeface="Arial" panose="020B0604020202020204" pitchFamily="34" charset="0"/>
                <a:cs typeface="Arial" panose="020B0604020202020204" pitchFamily="34" charset="0"/>
              </a:rPr>
              <a:t>Sage 5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595959"/>
                </a:solidFill>
                <a:latin typeface="Arial" panose="020B0604020202020204" pitchFamily="34" charset="0"/>
                <a:cs typeface="Arial" panose="020B0604020202020204" pitchFamily="34" charset="0"/>
              </a:rPr>
              <a:t>Xero</a:t>
            </a:r>
          </a:p>
        </p:txBody>
      </p:sp>
      <p:sp>
        <p:nvSpPr>
          <p:cNvPr id="74" name="TextBox 73"/>
          <p:cNvSpPr txBox="1"/>
          <p:nvPr/>
        </p:nvSpPr>
        <p:spPr>
          <a:xfrm>
            <a:off x="4883370" y="4829715"/>
            <a:ext cx="1894825" cy="1600438"/>
          </a:xfrm>
          <a:prstGeom prst="rect">
            <a:avLst/>
          </a:prstGeom>
          <a:noFill/>
        </p:spPr>
        <p:txBody>
          <a:bodyPr wrap="square" rtlCol="0">
            <a:spAutoFit/>
          </a:bodyPr>
          <a:lstStyle/>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Microsoft D365 Business Central</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Sage Intacct</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Oracle NetSuite</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Epicor</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Infor</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Many More!</a:t>
            </a:r>
          </a:p>
        </p:txBody>
      </p:sp>
      <p:sp>
        <p:nvSpPr>
          <p:cNvPr id="75" name="TextBox 74"/>
          <p:cNvSpPr txBox="1"/>
          <p:nvPr/>
        </p:nvSpPr>
        <p:spPr>
          <a:xfrm>
            <a:off x="8614186" y="4829715"/>
            <a:ext cx="2359297" cy="1384995"/>
          </a:xfrm>
          <a:prstGeom prst="rect">
            <a:avLst/>
          </a:prstGeom>
          <a:noFill/>
        </p:spPr>
        <p:txBody>
          <a:bodyPr wrap="square" rtlCol="0">
            <a:spAutoFit/>
          </a:bodyPr>
          <a:lstStyle/>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Infor M3</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JD Edwards</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Oracle Cloud ERP</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SAP S/4HANA</a:t>
            </a:r>
          </a:p>
          <a:p>
            <a:pPr marL="171450" lvl="0" indent="-171450">
              <a:buFont typeface="Arial" panose="020B0604020202020204" pitchFamily="34" charset="0"/>
              <a:buChar char="•"/>
            </a:pPr>
            <a:r>
              <a:rPr lang="en-US" sz="1400">
                <a:latin typeface="Arial" panose="020B0604020202020204" pitchFamily="34" charset="0"/>
                <a:cs typeface="Arial" panose="020B0604020202020204" pitchFamily="34" charset="0"/>
              </a:rPr>
              <a:t>Microsoft D365 Finance and Operations</a:t>
            </a:r>
          </a:p>
        </p:txBody>
      </p:sp>
      <p:grpSp>
        <p:nvGrpSpPr>
          <p:cNvPr id="76" name="Group 75"/>
          <p:cNvGrpSpPr/>
          <p:nvPr/>
        </p:nvGrpSpPr>
        <p:grpSpPr>
          <a:xfrm>
            <a:off x="3718205" y="5093280"/>
            <a:ext cx="591748" cy="488532"/>
            <a:chOff x="2393973" y="761454"/>
            <a:chExt cx="591748" cy="488532"/>
          </a:xfrm>
        </p:grpSpPr>
        <p:sp>
          <p:nvSpPr>
            <p:cNvPr id="77" name="Right Arrow 76"/>
            <p:cNvSpPr/>
            <p:nvPr/>
          </p:nvSpPr>
          <p:spPr>
            <a:xfrm rot="21564981">
              <a:off x="2393973" y="761454"/>
              <a:ext cx="591748" cy="488532"/>
            </a:xfrm>
            <a:prstGeom prst="rightArrow">
              <a:avLst>
                <a:gd name="adj1" fmla="val 60000"/>
                <a:gd name="adj2" fmla="val 50000"/>
              </a:avLst>
            </a:prstGeom>
          </p:spPr>
          <p:style>
            <a:lnRef idx="0">
              <a:schemeClr val="accent3">
                <a:tint val="60000"/>
                <a:hueOff val="0"/>
                <a:satOff val="0"/>
                <a:lumOff val="0"/>
                <a:alphaOff val="0"/>
              </a:schemeClr>
            </a:lnRef>
            <a:fillRef idx="3">
              <a:schemeClr val="accent3">
                <a:tint val="60000"/>
                <a:hueOff val="0"/>
                <a:satOff val="0"/>
                <a:lumOff val="0"/>
                <a:alphaOff val="0"/>
              </a:schemeClr>
            </a:fillRef>
            <a:effectRef idx="3">
              <a:schemeClr val="accent3">
                <a:tint val="6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8" name="Right Arrow 4"/>
            <p:cNvSpPr txBox="1"/>
            <p:nvPr/>
          </p:nvSpPr>
          <p:spPr>
            <a:xfrm rot="21564981">
              <a:off x="2393977" y="859906"/>
              <a:ext cx="445188" cy="29312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latin typeface="Arial" pitchFamily="34" charset="0"/>
                <a:cs typeface="Arial" pitchFamily="34" charset="0"/>
              </a:endParaRPr>
            </a:p>
          </p:txBody>
        </p:sp>
      </p:grpSp>
      <p:grpSp>
        <p:nvGrpSpPr>
          <p:cNvPr id="79" name="Group 78"/>
          <p:cNvGrpSpPr/>
          <p:nvPr/>
        </p:nvGrpSpPr>
        <p:grpSpPr>
          <a:xfrm>
            <a:off x="7436926" y="5093280"/>
            <a:ext cx="591748" cy="488532"/>
            <a:chOff x="2393973" y="761454"/>
            <a:chExt cx="591748" cy="488532"/>
          </a:xfrm>
        </p:grpSpPr>
        <p:sp>
          <p:nvSpPr>
            <p:cNvPr id="80" name="Right Arrow 79"/>
            <p:cNvSpPr/>
            <p:nvPr/>
          </p:nvSpPr>
          <p:spPr>
            <a:xfrm rot="21564981">
              <a:off x="2393973" y="761454"/>
              <a:ext cx="591748" cy="488532"/>
            </a:xfrm>
            <a:prstGeom prst="rightArrow">
              <a:avLst>
                <a:gd name="adj1" fmla="val 60000"/>
                <a:gd name="adj2" fmla="val 50000"/>
              </a:avLst>
            </a:prstGeom>
          </p:spPr>
          <p:style>
            <a:lnRef idx="0">
              <a:schemeClr val="accent3">
                <a:tint val="60000"/>
                <a:hueOff val="0"/>
                <a:satOff val="0"/>
                <a:lumOff val="0"/>
                <a:alphaOff val="0"/>
              </a:schemeClr>
            </a:lnRef>
            <a:fillRef idx="3">
              <a:schemeClr val="accent3">
                <a:tint val="60000"/>
                <a:hueOff val="0"/>
                <a:satOff val="0"/>
                <a:lumOff val="0"/>
                <a:alphaOff val="0"/>
              </a:schemeClr>
            </a:fillRef>
            <a:effectRef idx="3">
              <a:schemeClr val="accent3">
                <a:tint val="6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81" name="Right Arrow 4"/>
            <p:cNvSpPr txBox="1"/>
            <p:nvPr/>
          </p:nvSpPr>
          <p:spPr>
            <a:xfrm rot="21564981">
              <a:off x="2393977" y="859906"/>
              <a:ext cx="445188" cy="29312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latin typeface="Arial" pitchFamily="34" charset="0"/>
                <a:cs typeface="Arial" pitchFamily="34" charset="0"/>
              </a:endParaRPr>
            </a:p>
          </p:txBody>
        </p:sp>
      </p:grpSp>
    </p:spTree>
    <p:extLst>
      <p:ext uri="{BB962C8B-B14F-4D97-AF65-F5344CB8AC3E}">
        <p14:creationId xmlns:p14="http://schemas.microsoft.com/office/powerpoint/2010/main" val="400444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AD27E9F-7E8F-FDDD-E195-B1F48EBD4BFC}"/>
              </a:ext>
            </a:extLst>
          </p:cNvPr>
          <p:cNvSpPr/>
          <p:nvPr/>
        </p:nvSpPr>
        <p:spPr>
          <a:xfrm>
            <a:off x="10030691" y="5789128"/>
            <a:ext cx="1459345" cy="83127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6118" tIns="66118" rIns="66118" bIns="66118" rtlCol="0" anchor="ctr">
            <a:noAutofit/>
          </a:bodyPr>
          <a:lstStyle/>
          <a:p>
            <a:pPr algn="ctr"/>
            <a:endParaRPr lang="en-US" sz="1200"/>
          </a:p>
        </p:txBody>
      </p:sp>
      <p:sp>
        <p:nvSpPr>
          <p:cNvPr id="2" name="Title 1">
            <a:extLst>
              <a:ext uri="{FF2B5EF4-FFF2-40B4-BE49-F238E27FC236}">
                <a16:creationId xmlns:a16="http://schemas.microsoft.com/office/drawing/2014/main" id="{9489C6DB-B587-38A8-CF08-72A5B1899610}"/>
              </a:ext>
            </a:extLst>
          </p:cNvPr>
          <p:cNvSpPr>
            <a:spLocks noGrp="1"/>
          </p:cNvSpPr>
          <p:nvPr>
            <p:ph type="title" idx="4294967295"/>
          </p:nvPr>
        </p:nvSpPr>
        <p:spPr>
          <a:xfrm>
            <a:off x="586099" y="237600"/>
            <a:ext cx="10741025" cy="496888"/>
          </a:xfrm>
        </p:spPr>
        <p:txBody>
          <a:bodyPr/>
          <a:lstStyle/>
          <a:p>
            <a:r>
              <a:rPr lang="en-US"/>
              <a:t>ERP &amp; CRM Tiers</a:t>
            </a:r>
          </a:p>
        </p:txBody>
      </p:sp>
      <p:sp>
        <p:nvSpPr>
          <p:cNvPr id="3" name="Slide Number Placeholder 2">
            <a:extLst>
              <a:ext uri="{FF2B5EF4-FFF2-40B4-BE49-F238E27FC236}">
                <a16:creationId xmlns:a16="http://schemas.microsoft.com/office/drawing/2014/main" id="{962335F7-741F-D802-C3D2-6BC95FA51777}"/>
              </a:ext>
            </a:extLst>
          </p:cNvPr>
          <p:cNvSpPr>
            <a:spLocks noGrp="1"/>
          </p:cNvSpPr>
          <p:nvPr>
            <p:ph type="sldNum" sz="quarter" idx="4294967295"/>
          </p:nvPr>
        </p:nvSpPr>
        <p:spPr>
          <a:xfrm>
            <a:off x="0" y="6181725"/>
            <a:ext cx="1022350" cy="246063"/>
          </a:xfrm>
          <a:prstGeom prst="rect">
            <a:avLst/>
          </a:prstGeom>
        </p:spPr>
        <p:txBody>
          <a:bodyPr/>
          <a:lstStyle/>
          <a:p>
            <a:fld id="{AF4FAD32-EA27-4361-AB7D-99AD52059D67}" type="slidenum">
              <a:rPr lang="en-US" smtClean="0"/>
              <a:pPr/>
              <a:t>19</a:t>
            </a:fld>
            <a:endParaRPr lang="en-US"/>
          </a:p>
        </p:txBody>
      </p:sp>
      <p:graphicFrame>
        <p:nvGraphicFramePr>
          <p:cNvPr id="8" name="Table 8">
            <a:extLst>
              <a:ext uri="{FF2B5EF4-FFF2-40B4-BE49-F238E27FC236}">
                <a16:creationId xmlns:a16="http://schemas.microsoft.com/office/drawing/2014/main" id="{2DC0AA1A-0646-A711-25A3-3568E6411DBB}"/>
              </a:ext>
            </a:extLst>
          </p:cNvPr>
          <p:cNvGraphicFramePr>
            <a:graphicFrameLocks noGrp="1"/>
          </p:cNvGraphicFramePr>
          <p:nvPr>
            <p:extLst>
              <p:ext uri="{D42A27DB-BD31-4B8C-83A1-F6EECF244321}">
                <p14:modId xmlns:p14="http://schemas.microsoft.com/office/powerpoint/2010/main" val="2994128812"/>
              </p:ext>
            </p:extLst>
          </p:nvPr>
        </p:nvGraphicFramePr>
        <p:xfrm>
          <a:off x="609600" y="838200"/>
          <a:ext cx="10744200" cy="5547360"/>
        </p:xfrm>
        <a:graphic>
          <a:graphicData uri="http://schemas.openxmlformats.org/drawingml/2006/table">
            <a:tbl>
              <a:tblPr firstRow="1" bandRow="1">
                <a:tableStyleId>{5DA37D80-6434-44D0-A028-1B22A696006F}</a:tableStyleId>
              </a:tblPr>
              <a:tblGrid>
                <a:gridCol w="387566">
                  <a:extLst>
                    <a:ext uri="{9D8B030D-6E8A-4147-A177-3AD203B41FA5}">
                      <a16:colId xmlns:a16="http://schemas.microsoft.com/office/drawing/2014/main" val="234545040"/>
                    </a:ext>
                  </a:extLst>
                </a:gridCol>
                <a:gridCol w="7694252">
                  <a:extLst>
                    <a:ext uri="{9D8B030D-6E8A-4147-A177-3AD203B41FA5}">
                      <a16:colId xmlns:a16="http://schemas.microsoft.com/office/drawing/2014/main" val="4040341802"/>
                    </a:ext>
                  </a:extLst>
                </a:gridCol>
                <a:gridCol w="2662382">
                  <a:extLst>
                    <a:ext uri="{9D8B030D-6E8A-4147-A177-3AD203B41FA5}">
                      <a16:colId xmlns:a16="http://schemas.microsoft.com/office/drawing/2014/main" val="992242564"/>
                    </a:ext>
                  </a:extLst>
                </a:gridCol>
              </a:tblGrid>
              <a:tr h="353291">
                <a:tc>
                  <a:txBody>
                    <a:bodyPr/>
                    <a:lstStyle/>
                    <a:p>
                      <a:pPr algn="ctr"/>
                      <a:endParaRPr lang="en-US" b="1"/>
                    </a:p>
                  </a:txBody>
                  <a:tcPr vert="vert270" anchor="ctr"/>
                </a:tc>
                <a:tc>
                  <a:txBody>
                    <a:bodyPr/>
                    <a:lstStyle/>
                    <a:p>
                      <a:pPr algn="ctr"/>
                      <a:r>
                        <a:rPr lang="en-US"/>
                        <a:t>ERP</a:t>
                      </a:r>
                    </a:p>
                  </a:txBody>
                  <a:tcPr/>
                </a:tc>
                <a:tc>
                  <a:txBody>
                    <a:bodyPr/>
                    <a:lstStyle/>
                    <a:p>
                      <a:pPr algn="ctr"/>
                      <a:r>
                        <a:rPr lang="en-US"/>
                        <a:t>CRM</a:t>
                      </a:r>
                    </a:p>
                  </a:txBody>
                  <a:tcPr/>
                </a:tc>
                <a:extLst>
                  <a:ext uri="{0D108BD9-81ED-4DB2-BD59-A6C34878D82A}">
                    <a16:rowId xmlns:a16="http://schemas.microsoft.com/office/drawing/2014/main" val="1750244028"/>
                  </a:ext>
                </a:extLst>
              </a:tr>
              <a:tr h="1727200">
                <a:tc>
                  <a:txBody>
                    <a:bodyPr/>
                    <a:lstStyle/>
                    <a:p>
                      <a:pPr algn="ctr"/>
                      <a:r>
                        <a:rPr lang="en-US" b="1"/>
                        <a:t>Tier 1</a:t>
                      </a:r>
                    </a:p>
                  </a:txBody>
                  <a:tcPr vert="vert270" anchor="ctr"/>
                </a:tc>
                <a:tc>
                  <a:txBody>
                    <a:bodyPr/>
                    <a:lstStyle/>
                    <a:p>
                      <a:endParaRPr lang="en-US"/>
                    </a:p>
                  </a:txBody>
                  <a:tcPr/>
                </a:tc>
                <a:tc>
                  <a:txBody>
                    <a:bodyPr/>
                    <a:lstStyle/>
                    <a:p>
                      <a:endParaRPr lang="en-US"/>
                    </a:p>
                  </a:txBody>
                  <a:tcPr/>
                </a:tc>
                <a:extLst>
                  <a:ext uri="{0D108BD9-81ED-4DB2-BD59-A6C34878D82A}">
                    <a16:rowId xmlns:a16="http://schemas.microsoft.com/office/drawing/2014/main" val="3854133745"/>
                  </a:ext>
                </a:extLst>
              </a:tr>
              <a:tr h="1727200">
                <a:tc>
                  <a:txBody>
                    <a:bodyPr/>
                    <a:lstStyle/>
                    <a:p>
                      <a:pPr algn="ctr"/>
                      <a:r>
                        <a:rPr lang="en-US" b="1"/>
                        <a:t>Tier 2</a:t>
                      </a:r>
                    </a:p>
                  </a:txBody>
                  <a:tcPr vert="vert270" anchor="ctr"/>
                </a:tc>
                <a:tc>
                  <a:txBody>
                    <a:bodyPr/>
                    <a:lstStyle/>
                    <a:p>
                      <a:endParaRPr lang="en-US"/>
                    </a:p>
                  </a:txBody>
                  <a:tcPr/>
                </a:tc>
                <a:tc>
                  <a:txBody>
                    <a:bodyPr/>
                    <a:lstStyle/>
                    <a:p>
                      <a:endParaRPr lang="en-US"/>
                    </a:p>
                  </a:txBody>
                  <a:tcPr/>
                </a:tc>
                <a:extLst>
                  <a:ext uri="{0D108BD9-81ED-4DB2-BD59-A6C34878D82A}">
                    <a16:rowId xmlns:a16="http://schemas.microsoft.com/office/drawing/2014/main" val="1033234174"/>
                  </a:ext>
                </a:extLst>
              </a:tr>
              <a:tr h="1727200">
                <a:tc>
                  <a:txBody>
                    <a:bodyPr/>
                    <a:lstStyle/>
                    <a:p>
                      <a:pPr algn="ctr"/>
                      <a:r>
                        <a:rPr lang="en-US" b="1"/>
                        <a:t>Tier 3</a:t>
                      </a:r>
                    </a:p>
                  </a:txBody>
                  <a:tcPr vert="vert270" anchor="ctr"/>
                </a:tc>
                <a:tc>
                  <a:txBody>
                    <a:bodyPr/>
                    <a:lstStyle/>
                    <a:p>
                      <a:endParaRPr lang="en-US"/>
                    </a:p>
                  </a:txBody>
                  <a:tcPr/>
                </a:tc>
                <a:tc>
                  <a:txBody>
                    <a:bodyPr/>
                    <a:lstStyle/>
                    <a:p>
                      <a:endParaRPr lang="en-US"/>
                    </a:p>
                  </a:txBody>
                  <a:tcPr/>
                </a:tc>
                <a:extLst>
                  <a:ext uri="{0D108BD9-81ED-4DB2-BD59-A6C34878D82A}">
                    <a16:rowId xmlns:a16="http://schemas.microsoft.com/office/drawing/2014/main" val="2202888133"/>
                  </a:ext>
                </a:extLst>
              </a:tr>
            </a:tbl>
          </a:graphicData>
        </a:graphic>
      </p:graphicFrame>
      <p:pic>
        <p:nvPicPr>
          <p:cNvPr id="1026" name="Picture 2" descr="QuickBooks Online Review: Great Invoice Software for Small Business ...">
            <a:extLst>
              <a:ext uri="{FF2B5EF4-FFF2-40B4-BE49-F238E27FC236}">
                <a16:creationId xmlns:a16="http://schemas.microsoft.com/office/drawing/2014/main" id="{5443807B-01D6-D6D7-372D-1A0815EB3A5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731" t="7770" r="4478" b="4267"/>
          <a:stretch/>
        </p:blipFill>
        <p:spPr bwMode="auto">
          <a:xfrm>
            <a:off x="1856099" y="5600707"/>
            <a:ext cx="822721" cy="788423"/>
          </a:xfrm>
          <a:prstGeom prst="rect">
            <a:avLst/>
          </a:prstGeom>
          <a:noFill/>
          <a:ln>
            <a:solidFill>
              <a:schemeClr val="tx2">
                <a:lumMod val="50000"/>
              </a:schemeClr>
            </a:solidFill>
          </a:ln>
          <a:extLst>
            <a:ext uri="{909E8E84-426E-40DD-AFC4-6F175D3DCCD1}">
              <a14:hiddenFill xmlns:a14="http://schemas.microsoft.com/office/drawing/2010/main">
                <a:solidFill>
                  <a:srgbClr val="FFFFFF"/>
                </a:solidFill>
              </a14:hiddenFill>
            </a:ext>
          </a:extLst>
        </p:spPr>
      </p:pic>
      <p:pic>
        <p:nvPicPr>
          <p:cNvPr id="1028" name="Picture 4" descr="Xero – Logos Download">
            <a:extLst>
              <a:ext uri="{FF2B5EF4-FFF2-40B4-BE49-F238E27FC236}">
                <a16:creationId xmlns:a16="http://schemas.microsoft.com/office/drawing/2014/main" id="{3CCEEE03-CBA1-921C-E094-C859336D0B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3457" y="5394742"/>
            <a:ext cx="994388" cy="994388"/>
          </a:xfrm>
          <a:prstGeom prst="rect">
            <a:avLst/>
          </a:prstGeom>
          <a:noFill/>
          <a:ln>
            <a:solidFill>
              <a:schemeClr val="tx2">
                <a:lumMod val="50000"/>
              </a:schemeClr>
            </a:solidFill>
          </a:ln>
          <a:extLst>
            <a:ext uri="{909E8E84-426E-40DD-AFC4-6F175D3DCCD1}">
              <a14:hiddenFill xmlns:a14="http://schemas.microsoft.com/office/drawing/2010/main">
                <a:solidFill>
                  <a:srgbClr val="FFFFFF"/>
                </a:solidFill>
              </a14:hiddenFill>
            </a:ext>
          </a:extLst>
        </p:spPr>
      </p:pic>
      <p:pic>
        <p:nvPicPr>
          <p:cNvPr id="1030" name="Picture 6" descr="microsoft-dynamics-365-business-central - TBK Consult">
            <a:extLst>
              <a:ext uri="{FF2B5EF4-FFF2-40B4-BE49-F238E27FC236}">
                <a16:creationId xmlns:a16="http://schemas.microsoft.com/office/drawing/2014/main" id="{E731E105-2961-116A-C38F-E84F6E768A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9441" b="-30871"/>
          <a:stretch/>
        </p:blipFill>
        <p:spPr bwMode="auto">
          <a:xfrm>
            <a:off x="4875266" y="4094837"/>
            <a:ext cx="1007161" cy="1512497"/>
          </a:xfrm>
          <a:prstGeom prst="rect">
            <a:avLst/>
          </a:prstGeom>
          <a:solidFill>
            <a:srgbClr val="1C2256"/>
          </a:solidFill>
          <a:ln>
            <a:solidFill>
              <a:schemeClr val="tx2">
                <a:lumMod val="50000"/>
              </a:schemeClr>
            </a:solidFill>
          </a:ln>
        </p:spPr>
      </p:pic>
      <p:pic>
        <p:nvPicPr>
          <p:cNvPr id="16" name="Picture 15" descr="A red text on a black background&#10;&#10;Description automatically generated">
            <a:extLst>
              <a:ext uri="{FF2B5EF4-FFF2-40B4-BE49-F238E27FC236}">
                <a16:creationId xmlns:a16="http://schemas.microsoft.com/office/drawing/2014/main" id="{193A25CA-04CF-02D0-37D3-E59F7A455CD9}"/>
              </a:ext>
            </a:extLst>
          </p:cNvPr>
          <p:cNvPicPr>
            <a:picLocks noChangeAspect="1"/>
          </p:cNvPicPr>
          <p:nvPr/>
        </p:nvPicPr>
        <p:blipFill rotWithShape="1">
          <a:blip r:embed="rId5"/>
          <a:srcRect t="-66076" b="-95362"/>
          <a:stretch/>
        </p:blipFill>
        <p:spPr>
          <a:xfrm>
            <a:off x="1207478" y="2747702"/>
            <a:ext cx="1111619" cy="2169869"/>
          </a:xfrm>
          <a:prstGeom prst="rect">
            <a:avLst/>
          </a:prstGeom>
          <a:solidFill>
            <a:schemeClr val="bg1"/>
          </a:solidFill>
          <a:ln>
            <a:solidFill>
              <a:schemeClr val="tx2">
                <a:lumMod val="50000"/>
              </a:schemeClr>
            </a:solidFill>
          </a:ln>
        </p:spPr>
      </p:pic>
      <p:pic>
        <p:nvPicPr>
          <p:cNvPr id="1032" name="Picture 8" descr="Dynamics 365 vs. Dynamics 365 Business Central | Microsoft Business ...">
            <a:extLst>
              <a:ext uri="{FF2B5EF4-FFF2-40B4-BE49-F238E27FC236}">
                <a16:creationId xmlns:a16="http://schemas.microsoft.com/office/drawing/2014/main" id="{07086984-5A17-DC7D-6B71-F69791C34C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8786" b="-87895"/>
          <a:stretch/>
        </p:blipFill>
        <p:spPr bwMode="auto">
          <a:xfrm>
            <a:off x="4216700" y="2086900"/>
            <a:ext cx="2340169" cy="1685040"/>
          </a:xfrm>
          <a:prstGeom prst="rect">
            <a:avLst/>
          </a:prstGeom>
          <a:solidFill>
            <a:srgbClr val="002050"/>
          </a:solidFill>
          <a:ln>
            <a:solidFill>
              <a:schemeClr val="tx2">
                <a:lumMod val="50000"/>
              </a:schemeClr>
            </a:solidFill>
          </a:ln>
        </p:spPr>
      </p:pic>
      <p:pic>
        <p:nvPicPr>
          <p:cNvPr id="1034" name="Picture 10" descr="Oracle ERP Cloud – Blank IT">
            <a:extLst>
              <a:ext uri="{FF2B5EF4-FFF2-40B4-BE49-F238E27FC236}">
                <a16:creationId xmlns:a16="http://schemas.microsoft.com/office/drawing/2014/main" id="{30DC5AEF-AF53-7877-1714-3213240262D8}"/>
              </a:ext>
            </a:extLst>
          </p:cNvPr>
          <p:cNvPicPr>
            <a:picLocks noChangeAspect="1" noChangeArrowheads="1"/>
          </p:cNvPicPr>
          <p:nvPr/>
        </p:nvPicPr>
        <p:blipFill rotWithShape="1">
          <a:blip r:embed="rId7">
            <a:alphaModFix/>
            <a:extLst>
              <a:ext uri="{28A0092B-C50C-407E-A947-70E740481C1C}">
                <a14:useLocalDpi xmlns:a14="http://schemas.microsoft.com/office/drawing/2010/main" val="0"/>
              </a:ext>
            </a:extLst>
          </a:blip>
          <a:srcRect t="18081" b="24290"/>
          <a:stretch/>
        </p:blipFill>
        <p:spPr bwMode="auto">
          <a:xfrm>
            <a:off x="1450479" y="1555354"/>
            <a:ext cx="1733354" cy="749184"/>
          </a:xfrm>
          <a:prstGeom prst="rect">
            <a:avLst/>
          </a:prstGeom>
          <a:noFill/>
          <a:ln>
            <a:solidFill>
              <a:schemeClr val="tx2">
                <a:lumMod val="50000"/>
              </a:schemeClr>
            </a:solidFill>
          </a:ln>
          <a:extLst>
            <a:ext uri="{909E8E84-426E-40DD-AFC4-6F175D3DCCD1}">
              <a14:hiddenFill xmlns:a14="http://schemas.microsoft.com/office/drawing/2010/main">
                <a:solidFill>
                  <a:srgbClr val="FFFFFF"/>
                </a:solidFill>
              </a14:hiddenFill>
            </a:ext>
          </a:extLst>
        </p:spPr>
      </p:pic>
      <p:pic>
        <p:nvPicPr>
          <p:cNvPr id="1036" name="Picture 12" descr="Sage Intacct Accounting Software &amp; Cloud ERP | Armanino">
            <a:extLst>
              <a:ext uri="{FF2B5EF4-FFF2-40B4-BE49-F238E27FC236}">
                <a16:creationId xmlns:a16="http://schemas.microsoft.com/office/drawing/2014/main" id="{80780F18-097B-0605-CBA5-6CDDA448D2A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 b="-81242"/>
          <a:stretch/>
        </p:blipFill>
        <p:spPr bwMode="auto">
          <a:xfrm>
            <a:off x="7354522" y="4028269"/>
            <a:ext cx="834517" cy="1512497"/>
          </a:xfrm>
          <a:prstGeom prst="rect">
            <a:avLst/>
          </a:prstGeom>
          <a:solidFill>
            <a:schemeClr val="bg1"/>
          </a:solidFill>
          <a:ln>
            <a:solidFill>
              <a:schemeClr val="tx2">
                <a:lumMod val="50000"/>
              </a:schemeClr>
            </a:solidFill>
          </a:ln>
        </p:spPr>
      </p:pic>
      <p:pic>
        <p:nvPicPr>
          <p:cNvPr id="1038" name="Picture 14" descr="What is SAP S/4HANA – Edafa Group1">
            <a:extLst>
              <a:ext uri="{FF2B5EF4-FFF2-40B4-BE49-F238E27FC236}">
                <a16:creationId xmlns:a16="http://schemas.microsoft.com/office/drawing/2014/main" id="{906063F1-13F5-7315-F3A9-71F7159C4D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37547" y="1435091"/>
            <a:ext cx="1595321" cy="1058211"/>
          </a:xfrm>
          <a:prstGeom prst="rect">
            <a:avLst/>
          </a:prstGeom>
          <a:noFill/>
          <a:ln>
            <a:solidFill>
              <a:schemeClr val="tx2">
                <a:lumMod val="50000"/>
              </a:schemeClr>
            </a:solidFill>
          </a:ln>
          <a:extLst>
            <a:ext uri="{909E8E84-426E-40DD-AFC4-6F175D3DCCD1}">
              <a14:hiddenFill xmlns:a14="http://schemas.microsoft.com/office/drawing/2010/main">
                <a:solidFill>
                  <a:srgbClr val="FFFFFF"/>
                </a:solidFill>
              </a14:hiddenFill>
            </a:ext>
          </a:extLst>
        </p:spPr>
      </p:pic>
      <p:pic>
        <p:nvPicPr>
          <p:cNvPr id="1040" name="Picture 16" descr="Jde Logo - LogoDix">
            <a:extLst>
              <a:ext uri="{FF2B5EF4-FFF2-40B4-BE49-F238E27FC236}">
                <a16:creationId xmlns:a16="http://schemas.microsoft.com/office/drawing/2014/main" id="{CE8BCE35-E10D-DB66-0ACD-313CEF96B13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50023" y="1821554"/>
            <a:ext cx="897429" cy="897429"/>
          </a:xfrm>
          <a:prstGeom prst="rect">
            <a:avLst/>
          </a:prstGeom>
          <a:noFill/>
          <a:ln>
            <a:solidFill>
              <a:schemeClr val="accent2">
                <a:lumMod val="50000"/>
              </a:schemeClr>
            </a:solidFill>
          </a:ln>
          <a:extLst>
            <a:ext uri="{909E8E84-426E-40DD-AFC4-6F175D3DCCD1}">
              <a14:hiddenFill xmlns:a14="http://schemas.microsoft.com/office/drawing/2010/main">
                <a:solidFill>
                  <a:srgbClr val="FFFFFF"/>
                </a:solidFill>
              </a14:hiddenFill>
            </a:ext>
          </a:extLst>
        </p:spPr>
      </p:pic>
      <p:pic>
        <p:nvPicPr>
          <p:cNvPr id="18" name="Picture 17" descr="A green letter on a white background&#10;&#10;Description automatically generated">
            <a:extLst>
              <a:ext uri="{FF2B5EF4-FFF2-40B4-BE49-F238E27FC236}">
                <a16:creationId xmlns:a16="http://schemas.microsoft.com/office/drawing/2014/main" id="{7950B13E-DB02-990F-8FFF-6A507E46A2DC}"/>
              </a:ext>
            </a:extLst>
          </p:cNvPr>
          <p:cNvPicPr>
            <a:picLocks noChangeAspect="1"/>
          </p:cNvPicPr>
          <p:nvPr/>
        </p:nvPicPr>
        <p:blipFill>
          <a:blip r:embed="rId11"/>
          <a:stretch>
            <a:fillRect/>
          </a:stretch>
        </p:blipFill>
        <p:spPr>
          <a:xfrm>
            <a:off x="6637547" y="5994918"/>
            <a:ext cx="1007162" cy="305973"/>
          </a:xfrm>
          <a:prstGeom prst="rect">
            <a:avLst/>
          </a:prstGeom>
          <a:ln>
            <a:solidFill>
              <a:schemeClr val="accent2">
                <a:lumMod val="50000"/>
              </a:schemeClr>
            </a:solidFill>
          </a:ln>
        </p:spPr>
      </p:pic>
      <p:pic>
        <p:nvPicPr>
          <p:cNvPr id="1042" name="Picture 18" descr="Sage X3 Reviews 2021: Pricing &amp; Demo &amp; Software Alternatives — FunGTU">
            <a:extLst>
              <a:ext uri="{FF2B5EF4-FFF2-40B4-BE49-F238E27FC236}">
                <a16:creationId xmlns:a16="http://schemas.microsoft.com/office/drawing/2014/main" id="{B07608D5-8F71-1F82-01EC-84E94360406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4996" b="-24273"/>
          <a:stretch/>
        </p:blipFill>
        <p:spPr bwMode="auto">
          <a:xfrm>
            <a:off x="6769077" y="2747702"/>
            <a:ext cx="1751263" cy="787622"/>
          </a:xfrm>
          <a:prstGeom prst="rect">
            <a:avLst/>
          </a:prstGeom>
          <a:solidFill>
            <a:schemeClr val="bg1"/>
          </a:solidFill>
          <a:ln>
            <a:solidFill>
              <a:schemeClr val="accent2">
                <a:lumMod val="50000"/>
              </a:schemeClr>
            </a:solidFill>
          </a:ln>
        </p:spPr>
      </p:pic>
      <p:pic>
        <p:nvPicPr>
          <p:cNvPr id="1044" name="Picture 20" descr="Image result for acumatica logo">
            <a:extLst>
              <a:ext uri="{FF2B5EF4-FFF2-40B4-BE49-F238E27FC236}">
                <a16:creationId xmlns:a16="http://schemas.microsoft.com/office/drawing/2014/main" id="{F44852D4-18DD-D409-4D4C-FB2F045C2B2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26162" y="4784517"/>
            <a:ext cx="1172538" cy="792364"/>
          </a:xfrm>
          <a:prstGeom prst="rect">
            <a:avLst/>
          </a:prstGeom>
          <a:noFill/>
          <a:ln>
            <a:solidFill>
              <a:schemeClr val="accent2">
                <a:lumMod val="50000"/>
              </a:schemeClr>
            </a:solidFill>
          </a:ln>
          <a:extLst>
            <a:ext uri="{909E8E84-426E-40DD-AFC4-6F175D3DCCD1}">
              <a14:hiddenFill xmlns:a14="http://schemas.microsoft.com/office/drawing/2010/main">
                <a:solidFill>
                  <a:srgbClr val="FFFFFF"/>
                </a:solidFill>
              </a14:hiddenFill>
            </a:ext>
          </a:extLst>
        </p:spPr>
      </p:pic>
      <p:pic>
        <p:nvPicPr>
          <p:cNvPr id="20" name="Picture 19" descr="A blue and black logo&#10;&#10;Description automatically generated">
            <a:extLst>
              <a:ext uri="{FF2B5EF4-FFF2-40B4-BE49-F238E27FC236}">
                <a16:creationId xmlns:a16="http://schemas.microsoft.com/office/drawing/2014/main" id="{2ABD5451-DB9F-8B5E-25CD-504EC4989F1D}"/>
              </a:ext>
            </a:extLst>
          </p:cNvPr>
          <p:cNvPicPr>
            <a:picLocks noChangeAspect="1"/>
          </p:cNvPicPr>
          <p:nvPr/>
        </p:nvPicPr>
        <p:blipFill>
          <a:blip r:embed="rId14"/>
          <a:stretch>
            <a:fillRect/>
          </a:stretch>
        </p:blipFill>
        <p:spPr>
          <a:xfrm>
            <a:off x="3627027" y="3943175"/>
            <a:ext cx="1082964" cy="1082964"/>
          </a:xfrm>
          <a:prstGeom prst="rect">
            <a:avLst/>
          </a:prstGeom>
          <a:solidFill>
            <a:schemeClr val="bg1"/>
          </a:solidFill>
          <a:ln>
            <a:solidFill>
              <a:schemeClr val="accent2">
                <a:lumMod val="50000"/>
              </a:schemeClr>
            </a:solidFill>
          </a:ln>
        </p:spPr>
      </p:pic>
      <p:pic>
        <p:nvPicPr>
          <p:cNvPr id="1046" name="Picture 22" descr="Infor Logos">
            <a:extLst>
              <a:ext uri="{FF2B5EF4-FFF2-40B4-BE49-F238E27FC236}">
                <a16:creationId xmlns:a16="http://schemas.microsoft.com/office/drawing/2014/main" id="{924F667B-B3A4-7723-F7AD-F844B55AE28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78085" y="3207839"/>
            <a:ext cx="1200779" cy="1173018"/>
          </a:xfrm>
          <a:prstGeom prst="rect">
            <a:avLst/>
          </a:prstGeom>
          <a:noFill/>
          <a:ln>
            <a:solidFill>
              <a:schemeClr val="accent2">
                <a:lumMod val="50000"/>
              </a:schemeClr>
            </a:solidFill>
          </a:ln>
          <a:extLst>
            <a:ext uri="{909E8E84-426E-40DD-AFC4-6F175D3DCCD1}">
              <a14:hiddenFill xmlns:a14="http://schemas.microsoft.com/office/drawing/2010/main">
                <a:solidFill>
                  <a:srgbClr val="FFFFFF"/>
                </a:solidFill>
              </a14:hiddenFill>
            </a:ext>
          </a:extLst>
        </p:spPr>
      </p:pic>
      <p:pic>
        <p:nvPicPr>
          <p:cNvPr id="1048" name="Picture 24" descr="Download Pipedrive Logo in SVG Vector or PNG File Format - Logo.wine">
            <a:extLst>
              <a:ext uri="{FF2B5EF4-FFF2-40B4-BE49-F238E27FC236}">
                <a16:creationId xmlns:a16="http://schemas.microsoft.com/office/drawing/2014/main" id="{A3A5CC1D-DAB4-9C5A-E09B-08ACA5D0155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180996" y="5328183"/>
            <a:ext cx="1038415" cy="692277"/>
          </a:xfrm>
          <a:prstGeom prst="rect">
            <a:avLst/>
          </a:prstGeom>
          <a:noFill/>
          <a:ln>
            <a:solidFill>
              <a:schemeClr val="accent2">
                <a:lumMod val="50000"/>
              </a:schemeClr>
            </a:solidFill>
          </a:ln>
          <a:extLst>
            <a:ext uri="{909E8E84-426E-40DD-AFC4-6F175D3DCCD1}">
              <a14:hiddenFill xmlns:a14="http://schemas.microsoft.com/office/drawing/2010/main">
                <a:solidFill>
                  <a:srgbClr val="FFFFFF"/>
                </a:solidFill>
              </a14:hiddenFill>
            </a:ext>
          </a:extLst>
        </p:spPr>
      </p:pic>
      <p:pic>
        <p:nvPicPr>
          <p:cNvPr id="1050" name="Picture 26" descr="Company Logos - Salesforce News">
            <a:extLst>
              <a:ext uri="{FF2B5EF4-FFF2-40B4-BE49-F238E27FC236}">
                <a16:creationId xmlns:a16="http://schemas.microsoft.com/office/drawing/2014/main" id="{EE7B75CC-E84A-D274-70A1-C9CFEC805C6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5068" t="-4554" r="25354" b="-118516"/>
          <a:stretch/>
        </p:blipFill>
        <p:spPr bwMode="auto">
          <a:xfrm>
            <a:off x="9930117" y="1371730"/>
            <a:ext cx="1336243" cy="3373962"/>
          </a:xfrm>
          <a:prstGeom prst="rect">
            <a:avLst/>
          </a:prstGeom>
          <a:solidFill>
            <a:schemeClr val="bg1"/>
          </a:solidFill>
          <a:ln>
            <a:solidFill>
              <a:schemeClr val="accent2">
                <a:lumMod val="50000"/>
              </a:schemeClr>
            </a:solidFill>
          </a:ln>
        </p:spPr>
      </p:pic>
      <p:pic>
        <p:nvPicPr>
          <p:cNvPr id="23" name="Picture 22" descr="A black and grey sign&#10;&#10;Description automatically generated">
            <a:extLst>
              <a:ext uri="{FF2B5EF4-FFF2-40B4-BE49-F238E27FC236}">
                <a16:creationId xmlns:a16="http://schemas.microsoft.com/office/drawing/2014/main" id="{53F22B85-0EA7-208E-C208-95DF33C07498}"/>
              </a:ext>
            </a:extLst>
          </p:cNvPr>
          <p:cNvPicPr>
            <a:picLocks noChangeAspect="1"/>
          </p:cNvPicPr>
          <p:nvPr/>
        </p:nvPicPr>
        <p:blipFill>
          <a:blip r:embed="rId18"/>
          <a:stretch>
            <a:fillRect/>
          </a:stretch>
        </p:blipFill>
        <p:spPr>
          <a:xfrm>
            <a:off x="8858101" y="5876567"/>
            <a:ext cx="1072016" cy="286465"/>
          </a:xfrm>
          <a:prstGeom prst="rect">
            <a:avLst/>
          </a:prstGeom>
          <a:solidFill>
            <a:schemeClr val="bg1"/>
          </a:solidFill>
          <a:ln>
            <a:solidFill>
              <a:schemeClr val="accent2">
                <a:lumMod val="50000"/>
              </a:schemeClr>
            </a:solidFill>
          </a:ln>
        </p:spPr>
      </p:pic>
      <p:pic>
        <p:nvPicPr>
          <p:cNvPr id="25" name="Picture 24" descr="A close-up of a logo&#10;&#10;Description automatically generated">
            <a:extLst>
              <a:ext uri="{FF2B5EF4-FFF2-40B4-BE49-F238E27FC236}">
                <a16:creationId xmlns:a16="http://schemas.microsoft.com/office/drawing/2014/main" id="{D61BFA23-1C61-0959-214E-365968E2D199}"/>
              </a:ext>
            </a:extLst>
          </p:cNvPr>
          <p:cNvPicPr>
            <a:picLocks noChangeAspect="1"/>
          </p:cNvPicPr>
          <p:nvPr/>
        </p:nvPicPr>
        <p:blipFill rotWithShape="1">
          <a:blip r:embed="rId19"/>
          <a:srcRect t="-76184" b="-86338"/>
          <a:stretch/>
        </p:blipFill>
        <p:spPr>
          <a:xfrm>
            <a:off x="8845472" y="2486375"/>
            <a:ext cx="1231951" cy="1173585"/>
          </a:xfrm>
          <a:prstGeom prst="rect">
            <a:avLst/>
          </a:prstGeom>
          <a:solidFill>
            <a:schemeClr val="bg1"/>
          </a:solidFill>
          <a:ln>
            <a:solidFill>
              <a:schemeClr val="accent2">
                <a:lumMod val="50000"/>
              </a:schemeClr>
            </a:solidFill>
          </a:ln>
        </p:spPr>
      </p:pic>
      <p:pic>
        <p:nvPicPr>
          <p:cNvPr id="1054" name="Picture 30" descr="HubSpot Adds Tokyo, Japan to Growing List of Global Offices">
            <a:extLst>
              <a:ext uri="{FF2B5EF4-FFF2-40B4-BE49-F238E27FC236}">
                <a16:creationId xmlns:a16="http://schemas.microsoft.com/office/drawing/2014/main" id="{75F52FDD-36F1-624A-CA18-43D481713C00}"/>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226858" b="-240904"/>
          <a:stretch/>
        </p:blipFill>
        <p:spPr bwMode="auto">
          <a:xfrm>
            <a:off x="8797792" y="3933225"/>
            <a:ext cx="959599" cy="1596692"/>
          </a:xfrm>
          <a:prstGeom prst="rect">
            <a:avLst/>
          </a:prstGeom>
          <a:solidFill>
            <a:schemeClr val="bg1"/>
          </a:solidFill>
          <a:ln>
            <a:solidFill>
              <a:schemeClr val="accent2">
                <a:lumMod val="50000"/>
              </a:schemeClr>
            </a:solidFill>
          </a:ln>
        </p:spPr>
      </p:pic>
    </p:spTree>
    <p:extLst>
      <p:ext uri="{BB962C8B-B14F-4D97-AF65-F5344CB8AC3E}">
        <p14:creationId xmlns:p14="http://schemas.microsoft.com/office/powerpoint/2010/main" val="7767039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5978C-DD55-415E-9DF9-D56D0748BDC1}"/>
              </a:ext>
            </a:extLst>
          </p:cNvPr>
          <p:cNvSpPr>
            <a:spLocks noGrp="1"/>
          </p:cNvSpPr>
          <p:nvPr>
            <p:ph type="title" idx="4294967295"/>
          </p:nvPr>
        </p:nvSpPr>
        <p:spPr>
          <a:xfrm>
            <a:off x="254000" y="304005"/>
            <a:ext cx="10741025" cy="496888"/>
          </a:xfrm>
        </p:spPr>
        <p:txBody>
          <a:bodyPr/>
          <a:lstStyle/>
          <a:p>
            <a:r>
              <a:rPr lang="en-US"/>
              <a:t>RSM’s collaboration for ASCEND</a:t>
            </a:r>
          </a:p>
        </p:txBody>
      </p:sp>
      <p:sp>
        <p:nvSpPr>
          <p:cNvPr id="3" name="Content Placeholder 2">
            <a:extLst>
              <a:ext uri="{FF2B5EF4-FFF2-40B4-BE49-F238E27FC236}">
                <a16:creationId xmlns:a16="http://schemas.microsoft.com/office/drawing/2014/main" id="{BDC08710-4F2D-40CA-A5EC-44E654D10EC7}"/>
              </a:ext>
            </a:extLst>
          </p:cNvPr>
          <p:cNvSpPr>
            <a:spLocks noGrp="1"/>
          </p:cNvSpPr>
          <p:nvPr>
            <p:ph idx="4294967295"/>
          </p:nvPr>
        </p:nvSpPr>
        <p:spPr>
          <a:xfrm>
            <a:off x="254000" y="1283493"/>
            <a:ext cx="9093200" cy="1462088"/>
          </a:xfrm>
        </p:spPr>
        <p:txBody>
          <a:bodyPr>
            <a:normAutofit/>
          </a:bodyPr>
          <a:lstStyle/>
          <a:p>
            <a:r>
              <a:rPr lang="en-US" sz="2400"/>
              <a:t>Professionals from RSM will help Ascend businesses understand the challenges and pathways to success in moving from a small to a middle-market business</a:t>
            </a:r>
          </a:p>
        </p:txBody>
      </p:sp>
      <p:pic>
        <p:nvPicPr>
          <p:cNvPr id="2050" name="Picture 2">
            <a:extLst>
              <a:ext uri="{FF2B5EF4-FFF2-40B4-BE49-F238E27FC236}">
                <a16:creationId xmlns:a16="http://schemas.microsoft.com/office/drawing/2014/main" id="{B8CABB4B-9DED-4AA4-BEF7-C51340BA74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5252" y="1358379"/>
            <a:ext cx="2052748" cy="259652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6A9EB79-76D1-4594-85E0-48F073BD4BAA}"/>
              </a:ext>
            </a:extLst>
          </p:cNvPr>
          <p:cNvSpPr txBox="1"/>
          <p:nvPr/>
        </p:nvSpPr>
        <p:spPr>
          <a:xfrm>
            <a:off x="9885251" y="4037777"/>
            <a:ext cx="2052749" cy="594375"/>
          </a:xfrm>
          <a:prstGeom prst="rect">
            <a:avLst/>
          </a:prstGeom>
        </p:spPr>
        <p:txBody>
          <a:bodyPr vert="horz" lIns="91440" tIns="45720" rIns="91440" bIns="45720" rtlCol="0">
            <a:noAutofit/>
          </a:bodyPr>
          <a:lstStyle>
            <a:lvl1pPr indent="0">
              <a:lnSpc>
                <a:spcPct val="100000"/>
              </a:lnSpc>
              <a:spcBef>
                <a:spcPts val="1000"/>
              </a:spcBef>
              <a:buFont typeface="Arial" panose="020B0604020202020204" pitchFamily="34" charset="0"/>
              <a:buNone/>
              <a:defRPr sz="1400" b="1" baseline="0">
                <a:solidFill>
                  <a:schemeClr val="accent2"/>
                </a:solidFill>
                <a:latin typeface="Arial" panose="020B0604020202020204" pitchFamily="34" charset="0"/>
                <a:cs typeface="Arial" panose="020B0604020202020204" pitchFamily="34" charset="0"/>
              </a:defRPr>
            </a:lvl1pPr>
            <a:lvl2pPr marL="685800" indent="-228600">
              <a:lnSpc>
                <a:spcPct val="100000"/>
              </a:lnSpc>
              <a:spcBef>
                <a:spcPts val="500"/>
              </a:spcBef>
              <a:buFont typeface="Calibri" panose="020F0502020204030204" pitchFamily="34" charset="0"/>
              <a:buChar char="⁻"/>
              <a:defRPr sz="1600">
                <a:latin typeface="Arial" panose="020B0604020202020204" pitchFamily="34" charset="0"/>
                <a:cs typeface="Arial" panose="020B0604020202020204" pitchFamily="34" charset="0"/>
              </a:defRPr>
            </a:lvl2pPr>
            <a:lvl3pPr marL="1143000" indent="-228600">
              <a:lnSpc>
                <a:spcPct val="1000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3pPr>
            <a:lvl4pPr marL="1600200" indent="-228600">
              <a:lnSpc>
                <a:spcPct val="100000"/>
              </a:lnSpc>
              <a:spcBef>
                <a:spcPts val="500"/>
              </a:spcBef>
              <a:buFont typeface="Calibri" panose="020F0502020204030204" pitchFamily="34" charset="0"/>
              <a:buChar char="⁻"/>
              <a:defRPr sz="1200">
                <a:latin typeface="Arial" panose="020B0604020202020204" pitchFamily="34" charset="0"/>
                <a:cs typeface="Arial" panose="020B0604020202020204" pitchFamily="34" charset="0"/>
              </a:defRPr>
            </a:lvl4pPr>
            <a:lvl5pPr marL="2057400" indent="-228600">
              <a:lnSpc>
                <a:spcPct val="100000"/>
              </a:lnSpc>
              <a:spcBef>
                <a:spcPts val="500"/>
              </a:spcBef>
              <a:buFont typeface="Arial" panose="020B0604020202020204" pitchFamily="34" charset="0"/>
              <a:buChar char="•"/>
              <a:defRPr sz="12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600"/>
              <a:t>Wendy Sancewich, Partner</a:t>
            </a:r>
          </a:p>
        </p:txBody>
      </p:sp>
      <p:sp>
        <p:nvSpPr>
          <p:cNvPr id="11" name="Text Placeholder 7">
            <a:extLst>
              <a:ext uri="{FF2B5EF4-FFF2-40B4-BE49-F238E27FC236}">
                <a16:creationId xmlns:a16="http://schemas.microsoft.com/office/drawing/2014/main" id="{89926BF4-FFE9-44E9-84CC-01834B5D17F0}"/>
              </a:ext>
            </a:extLst>
          </p:cNvPr>
          <p:cNvSpPr txBox="1">
            <a:spLocks/>
          </p:cNvSpPr>
          <p:nvPr/>
        </p:nvSpPr>
        <p:spPr>
          <a:xfrm>
            <a:off x="9885252" y="4715026"/>
            <a:ext cx="2052749" cy="318469"/>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a:solidFill>
                  <a:srgbClr val="000000"/>
                </a:solidFill>
                <a:ea typeface="Calibri" panose="020F0502020204030204" pitchFamily="34" charset="0"/>
              </a:rPr>
              <a:t>Assurance Services</a:t>
            </a:r>
          </a:p>
        </p:txBody>
      </p:sp>
      <p:sp>
        <p:nvSpPr>
          <p:cNvPr id="12" name="Content Placeholder 2">
            <a:extLst>
              <a:ext uri="{FF2B5EF4-FFF2-40B4-BE49-F238E27FC236}">
                <a16:creationId xmlns:a16="http://schemas.microsoft.com/office/drawing/2014/main" id="{91D7DC7A-5DF9-4AE4-B033-FA09BE5CC4D0}"/>
              </a:ext>
            </a:extLst>
          </p:cNvPr>
          <p:cNvSpPr txBox="1">
            <a:spLocks/>
          </p:cNvSpPr>
          <p:nvPr/>
        </p:nvSpPr>
        <p:spPr>
          <a:xfrm>
            <a:off x="254000" y="2745581"/>
            <a:ext cx="9258300" cy="3459957"/>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Work will focus on accounting issues, risk mitigating threats, technology constraints and financial systems roadmaps</a:t>
            </a:r>
          </a:p>
          <a:p>
            <a:r>
              <a:rPr lang="en-US" sz="2000"/>
              <a:t>RSM will help pre-middle market firms by:</a:t>
            </a:r>
          </a:p>
          <a:p>
            <a:pPr lvl="1"/>
            <a:r>
              <a:rPr lang="en-US" sz="1800"/>
              <a:t>Providing education on financial systems transformation</a:t>
            </a:r>
          </a:p>
          <a:p>
            <a:pPr lvl="1"/>
            <a:r>
              <a:rPr lang="en-US" sz="1800"/>
              <a:t>Creating and deploying a financial systems assessment tool that will identify areas in which Ascend businesses will need to improve to be successful mid-market firms</a:t>
            </a:r>
          </a:p>
          <a:p>
            <a:pPr lvl="1"/>
            <a:r>
              <a:rPr lang="en-US" sz="1800"/>
              <a:t>Providing customized recommendations to each Ascend business through individual coaching</a:t>
            </a:r>
          </a:p>
          <a:p>
            <a:endParaRPr lang="en-US" sz="2400"/>
          </a:p>
        </p:txBody>
      </p:sp>
    </p:spTree>
    <p:extLst>
      <p:ext uri="{BB962C8B-B14F-4D97-AF65-F5344CB8AC3E}">
        <p14:creationId xmlns:p14="http://schemas.microsoft.com/office/powerpoint/2010/main" val="1777719787"/>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B38631-E00F-4BA3-B173-4C97370BAC6F}"/>
              </a:ext>
            </a:extLst>
          </p:cNvPr>
          <p:cNvSpPr>
            <a:spLocks noGrp="1"/>
          </p:cNvSpPr>
          <p:nvPr>
            <p:ph type="body" sz="quarter" idx="13"/>
          </p:nvPr>
        </p:nvSpPr>
        <p:spPr>
          <a:xfrm>
            <a:off x="2540000" y="2501901"/>
            <a:ext cx="9385300" cy="3822700"/>
          </a:xfrm>
        </p:spPr>
        <p:txBody>
          <a:bodyPr>
            <a:normAutofit lnSpcReduction="10000"/>
          </a:bodyPr>
          <a:lstStyle/>
          <a:p>
            <a:pPr marL="342900" indent="-342900">
              <a:buFont typeface="Arial" panose="020B0604020202020204" pitchFamily="34" charset="0"/>
              <a:buChar char="•"/>
            </a:pPr>
            <a:r>
              <a:rPr lang="en-US" sz="2400"/>
              <a:t>You will be placed in your virtual breakout rooms for open discussion</a:t>
            </a:r>
          </a:p>
          <a:p>
            <a:pPr marL="342900" indent="-342900">
              <a:buFont typeface="Arial" panose="020B0604020202020204" pitchFamily="34" charset="0"/>
              <a:buChar char="•"/>
            </a:pPr>
            <a:endParaRPr lang="en-US" sz="2400"/>
          </a:p>
          <a:p>
            <a:pPr marL="342900" indent="-342900">
              <a:spcBef>
                <a:spcPts val="0"/>
              </a:spcBef>
              <a:buFont typeface="Arial" panose="020B0604020202020204" pitchFamily="34" charset="0"/>
              <a:buChar char="•"/>
            </a:pPr>
            <a:r>
              <a:rPr lang="en-US" sz="2400"/>
              <a:t>Discussion questions:</a:t>
            </a:r>
          </a:p>
          <a:p>
            <a:pPr lvl="2">
              <a:spcBef>
                <a:spcPts val="0"/>
              </a:spcBef>
              <a:buClr>
                <a:schemeClr val="bg1"/>
              </a:buClr>
            </a:pPr>
            <a:r>
              <a:rPr lang="en-US" sz="2000"/>
              <a:t>Are you experiencing challenges with your financial systems?</a:t>
            </a:r>
          </a:p>
          <a:p>
            <a:pPr lvl="3">
              <a:spcBef>
                <a:spcPts val="0"/>
              </a:spcBef>
              <a:buClr>
                <a:schemeClr val="bg1"/>
              </a:buClr>
            </a:pPr>
            <a:r>
              <a:rPr lang="en-US" sz="1700"/>
              <a:t>Have you thought about technology alignment?</a:t>
            </a:r>
          </a:p>
          <a:p>
            <a:pPr lvl="3">
              <a:spcBef>
                <a:spcPts val="0"/>
              </a:spcBef>
              <a:buClr>
                <a:schemeClr val="bg1"/>
              </a:buClr>
            </a:pPr>
            <a:r>
              <a:rPr lang="en-US" sz="1700"/>
              <a:t>Are you considering additional tools and systems to increase the value of your financial systems?</a:t>
            </a:r>
          </a:p>
          <a:p>
            <a:pPr lvl="3">
              <a:spcBef>
                <a:spcPts val="0"/>
              </a:spcBef>
              <a:buClr>
                <a:schemeClr val="bg1"/>
              </a:buClr>
            </a:pPr>
            <a:r>
              <a:rPr lang="en-US" sz="1700"/>
              <a:t>Are there specialty concerns/considerations for your company (i.e. compliance, industry specific tools, </a:t>
            </a:r>
            <a:r>
              <a:rPr lang="en-US" sz="1700" err="1"/>
              <a:t>etc</a:t>
            </a:r>
            <a:r>
              <a:rPr lang="en-US" sz="1700"/>
              <a:t>)?</a:t>
            </a:r>
          </a:p>
          <a:p>
            <a:pPr lvl="3">
              <a:spcBef>
                <a:spcPts val="0"/>
              </a:spcBef>
              <a:buClr>
                <a:schemeClr val="bg1"/>
              </a:buClr>
            </a:pPr>
            <a:endParaRPr lang="en-US" sz="1600"/>
          </a:p>
          <a:p>
            <a:pPr marL="342900" indent="-342900">
              <a:buFont typeface="Arial" panose="020B0604020202020204" pitchFamily="34" charset="0"/>
              <a:buChar char="•"/>
            </a:pPr>
            <a:r>
              <a:rPr lang="en-US" sz="2400"/>
              <a:t>Pick someone to recap your group’s discussion when we all return to the general room</a:t>
            </a:r>
          </a:p>
        </p:txBody>
      </p:sp>
      <p:sp>
        <p:nvSpPr>
          <p:cNvPr id="2" name="Title 1">
            <a:extLst>
              <a:ext uri="{FF2B5EF4-FFF2-40B4-BE49-F238E27FC236}">
                <a16:creationId xmlns:a16="http://schemas.microsoft.com/office/drawing/2014/main" id="{ECC47A2D-06FB-4BC3-8302-266302A9ED66}"/>
              </a:ext>
            </a:extLst>
          </p:cNvPr>
          <p:cNvSpPr>
            <a:spLocks noGrp="1"/>
          </p:cNvSpPr>
          <p:nvPr>
            <p:ph type="title"/>
          </p:nvPr>
        </p:nvSpPr>
        <p:spPr>
          <a:xfrm>
            <a:off x="2717658" y="1664610"/>
            <a:ext cx="5588142" cy="553998"/>
          </a:xfrm>
        </p:spPr>
        <p:txBody>
          <a:bodyPr/>
          <a:lstStyle/>
          <a:p>
            <a:r>
              <a:rPr lang="en-US" sz="3600"/>
              <a:t>Breakout Session</a:t>
            </a:r>
          </a:p>
        </p:txBody>
      </p:sp>
    </p:spTree>
    <p:extLst>
      <p:ext uri="{BB962C8B-B14F-4D97-AF65-F5344CB8AC3E}">
        <p14:creationId xmlns:p14="http://schemas.microsoft.com/office/powerpoint/2010/main" val="454974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47A2D-06FB-4BC3-8302-266302A9ED66}"/>
              </a:ext>
            </a:extLst>
          </p:cNvPr>
          <p:cNvSpPr>
            <a:spLocks noGrp="1"/>
          </p:cNvSpPr>
          <p:nvPr>
            <p:ph type="title"/>
          </p:nvPr>
        </p:nvSpPr>
        <p:spPr/>
        <p:txBody>
          <a:bodyPr/>
          <a:lstStyle/>
          <a:p>
            <a:r>
              <a:rPr lang="en-US"/>
              <a:t>Breakout Session</a:t>
            </a:r>
          </a:p>
        </p:txBody>
      </p:sp>
      <p:sp>
        <p:nvSpPr>
          <p:cNvPr id="3" name="Content Placeholder 2">
            <a:extLst>
              <a:ext uri="{FF2B5EF4-FFF2-40B4-BE49-F238E27FC236}">
                <a16:creationId xmlns:a16="http://schemas.microsoft.com/office/drawing/2014/main" id="{9FB38631-E00F-4BA3-B173-4C97370BAC6F}"/>
              </a:ext>
            </a:extLst>
          </p:cNvPr>
          <p:cNvSpPr>
            <a:spLocks noGrp="1"/>
          </p:cNvSpPr>
          <p:nvPr>
            <p:ph idx="4294967295"/>
          </p:nvPr>
        </p:nvSpPr>
        <p:spPr>
          <a:xfrm>
            <a:off x="635000" y="1617663"/>
            <a:ext cx="7900988" cy="4638675"/>
          </a:xfrm>
        </p:spPr>
        <p:txBody>
          <a:bodyPr anchor="ctr">
            <a:normAutofit/>
          </a:bodyPr>
          <a:lstStyle/>
          <a:p>
            <a:pPr marL="0" indent="0" algn="ctr">
              <a:buNone/>
            </a:pPr>
            <a:r>
              <a:rPr lang="en-US" sz="4400">
                <a:solidFill>
                  <a:schemeClr val="bg1"/>
                </a:solidFill>
              </a:rPr>
              <a:t>RECAP</a:t>
            </a:r>
          </a:p>
        </p:txBody>
      </p:sp>
    </p:spTree>
    <p:extLst>
      <p:ext uri="{BB962C8B-B14F-4D97-AF65-F5344CB8AC3E}">
        <p14:creationId xmlns:p14="http://schemas.microsoft.com/office/powerpoint/2010/main" val="1348510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D28EAFB-4D38-C603-F9B4-E2A97D71CF74}"/>
              </a:ext>
            </a:extLst>
          </p:cNvPr>
          <p:cNvSpPr>
            <a:spLocks noGrp="1"/>
          </p:cNvSpPr>
          <p:nvPr>
            <p:ph type="title"/>
          </p:nvPr>
        </p:nvSpPr>
        <p:spPr>
          <a:xfrm>
            <a:off x="4198938" y="2481263"/>
            <a:ext cx="5973762" cy="2090737"/>
          </a:xfrm>
        </p:spPr>
        <p:txBody>
          <a:bodyPr/>
          <a:lstStyle/>
          <a:p>
            <a:r>
              <a:rPr lang="en-US"/>
              <a:t>Financial systems assessment tool overview</a:t>
            </a:r>
            <a:br>
              <a:rPr lang="en-US"/>
            </a:br>
            <a:endParaRPr lang="en-US"/>
          </a:p>
        </p:txBody>
      </p:sp>
      <p:pic>
        <p:nvPicPr>
          <p:cNvPr id="2" name="Picture 2" descr="Ascend ">
            <a:extLst>
              <a:ext uri="{FF2B5EF4-FFF2-40B4-BE49-F238E27FC236}">
                <a16:creationId xmlns:a16="http://schemas.microsoft.com/office/drawing/2014/main" id="{F4C86233-B474-8CBC-B188-D9CBD2006948}"/>
              </a:ext>
            </a:extLst>
          </p:cNvPr>
          <p:cNvPicPr>
            <a:picLocks noChangeAspect="1" noChangeArrowheads="1"/>
          </p:cNvPicPr>
          <p:nvPr/>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sharpenSoften amount="1000"/>
                    </a14:imgEffect>
                  </a14:imgLayer>
                </a14:imgProps>
              </a:ext>
              <a:ext uri="{28A0092B-C50C-407E-A947-70E740481C1C}">
                <a14:useLocalDpi xmlns:a14="http://schemas.microsoft.com/office/drawing/2010/main" val="0"/>
              </a:ext>
            </a:extLst>
          </a:blip>
          <a:srcRect/>
          <a:stretch>
            <a:fillRect/>
          </a:stretch>
        </p:blipFill>
        <p:spPr bwMode="auto">
          <a:xfrm>
            <a:off x="224287" y="5935919"/>
            <a:ext cx="2182483" cy="637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5701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12F25-2A0D-4B34-8C57-DBD053ECF0FF}"/>
              </a:ext>
            </a:extLst>
          </p:cNvPr>
          <p:cNvSpPr>
            <a:spLocks noGrp="1"/>
          </p:cNvSpPr>
          <p:nvPr>
            <p:ph type="title" idx="4294967295"/>
          </p:nvPr>
        </p:nvSpPr>
        <p:spPr>
          <a:xfrm>
            <a:off x="581025" y="238125"/>
            <a:ext cx="10741025" cy="496888"/>
          </a:xfrm>
        </p:spPr>
        <p:txBody>
          <a:bodyPr/>
          <a:lstStyle/>
          <a:p>
            <a:r>
              <a:rPr lang="en-US"/>
              <a:t>Purpose of assessment tool</a:t>
            </a:r>
          </a:p>
        </p:txBody>
      </p:sp>
      <p:sp>
        <p:nvSpPr>
          <p:cNvPr id="3" name="Content Placeholder 2">
            <a:extLst>
              <a:ext uri="{FF2B5EF4-FFF2-40B4-BE49-F238E27FC236}">
                <a16:creationId xmlns:a16="http://schemas.microsoft.com/office/drawing/2014/main" id="{1A3E338B-073B-447E-BAD7-30C0C14BD9E4}"/>
              </a:ext>
            </a:extLst>
          </p:cNvPr>
          <p:cNvSpPr>
            <a:spLocks noGrp="1"/>
          </p:cNvSpPr>
          <p:nvPr>
            <p:ph idx="4294967295"/>
          </p:nvPr>
        </p:nvSpPr>
        <p:spPr>
          <a:xfrm>
            <a:off x="581025" y="1551768"/>
            <a:ext cx="11001376" cy="4079875"/>
          </a:xfrm>
        </p:spPr>
        <p:txBody>
          <a:bodyPr>
            <a:normAutofit/>
          </a:bodyPr>
          <a:lstStyle/>
          <a:p>
            <a:r>
              <a:rPr lang="en-US" sz="2400"/>
              <a:t>The purpose of this tool is to gather financial management systems and key processing information about each Ascend business</a:t>
            </a:r>
          </a:p>
          <a:p>
            <a:r>
              <a:rPr lang="en-US" sz="2400"/>
              <a:t>RSM will use the responses to identify areas in which Ascend businesses will need to improve to be successful mid-market firms.</a:t>
            </a:r>
          </a:p>
          <a:p>
            <a:r>
              <a:rPr lang="en-US" sz="2400"/>
              <a:t>Mentors from RSM will meet with each Ascend business to review and discuss our customized recommendations</a:t>
            </a:r>
          </a:p>
          <a:p>
            <a:r>
              <a:rPr lang="en-US" sz="2400"/>
              <a:t>We look forward to working with you to apply the learnings from this program to your businesses</a:t>
            </a:r>
          </a:p>
        </p:txBody>
      </p:sp>
      <p:sp>
        <p:nvSpPr>
          <p:cNvPr id="7" name="Rectangle 6">
            <a:extLst>
              <a:ext uri="{FF2B5EF4-FFF2-40B4-BE49-F238E27FC236}">
                <a16:creationId xmlns:a16="http://schemas.microsoft.com/office/drawing/2014/main" id="{DC97F951-CFC7-4958-A831-30A3C3373BE3}"/>
              </a:ext>
            </a:extLst>
          </p:cNvPr>
          <p:cNvSpPr/>
          <p:nvPr/>
        </p:nvSpPr>
        <p:spPr>
          <a:xfrm>
            <a:off x="1591187" y="5168052"/>
            <a:ext cx="9009625" cy="1280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f you have any questions, please contact your RSM Mentors </a:t>
            </a:r>
          </a:p>
          <a:p>
            <a:pPr algn="ctr"/>
            <a:r>
              <a:rPr lang="en-US"/>
              <a:t>or </a:t>
            </a:r>
          </a:p>
          <a:p>
            <a:pPr algn="ctr"/>
            <a:r>
              <a:rPr lang="en-US"/>
              <a:t>Traci Broyles (traci.broyles@rsmus.com).</a:t>
            </a:r>
          </a:p>
        </p:txBody>
      </p:sp>
    </p:spTree>
    <p:extLst>
      <p:ext uri="{BB962C8B-B14F-4D97-AF65-F5344CB8AC3E}">
        <p14:creationId xmlns:p14="http://schemas.microsoft.com/office/powerpoint/2010/main" val="17252172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12F25-2A0D-4B34-8C57-DBD053ECF0FF}"/>
              </a:ext>
            </a:extLst>
          </p:cNvPr>
          <p:cNvSpPr>
            <a:spLocks noGrp="1"/>
          </p:cNvSpPr>
          <p:nvPr>
            <p:ph type="title" idx="4294967295"/>
          </p:nvPr>
        </p:nvSpPr>
        <p:spPr>
          <a:xfrm>
            <a:off x="431800" y="341312"/>
            <a:ext cx="10741025" cy="496888"/>
          </a:xfrm>
        </p:spPr>
        <p:txBody>
          <a:bodyPr/>
          <a:lstStyle/>
          <a:p>
            <a:r>
              <a:rPr lang="en-US"/>
              <a:t>Why is this important?</a:t>
            </a:r>
          </a:p>
        </p:txBody>
      </p:sp>
      <p:sp>
        <p:nvSpPr>
          <p:cNvPr id="3" name="Content Placeholder 2">
            <a:extLst>
              <a:ext uri="{FF2B5EF4-FFF2-40B4-BE49-F238E27FC236}">
                <a16:creationId xmlns:a16="http://schemas.microsoft.com/office/drawing/2014/main" id="{1A3E338B-073B-447E-BAD7-30C0C14BD9E4}"/>
              </a:ext>
            </a:extLst>
          </p:cNvPr>
          <p:cNvSpPr>
            <a:spLocks noGrp="1"/>
          </p:cNvSpPr>
          <p:nvPr>
            <p:ph idx="4294967295"/>
          </p:nvPr>
        </p:nvSpPr>
        <p:spPr>
          <a:xfrm>
            <a:off x="277701" y="1371489"/>
            <a:ext cx="5778500" cy="5173662"/>
          </a:xfrm>
        </p:spPr>
        <p:txBody>
          <a:bodyPr>
            <a:normAutofit/>
          </a:bodyPr>
          <a:lstStyle/>
          <a:p>
            <a:pPr marL="342900" indent="-342900">
              <a:buFont typeface="Arial" panose="020B0604020202020204" pitchFamily="34" charset="0"/>
              <a:buChar char="•"/>
            </a:pPr>
            <a:r>
              <a:rPr lang="en-US" sz="2400"/>
              <a:t>Develops an understanding of your financial systems and supported processes</a:t>
            </a:r>
          </a:p>
          <a:p>
            <a:pPr marL="342900" indent="-342900">
              <a:buFont typeface="Arial" panose="020B0604020202020204" pitchFamily="34" charset="0"/>
              <a:buChar char="•"/>
            </a:pPr>
            <a:r>
              <a:rPr lang="en-US" sz="2400"/>
              <a:t>Expose pain points, risks, and gaps inhibiting your business</a:t>
            </a:r>
          </a:p>
          <a:p>
            <a:pPr marL="342900" indent="-342900">
              <a:buFont typeface="Arial" panose="020B0604020202020204" pitchFamily="34" charset="0"/>
              <a:buChar char="•"/>
            </a:pPr>
            <a:r>
              <a:rPr lang="en-US" sz="2400"/>
              <a:t>Identify focus areas and specific business requirements based on examples of successful mid-sized businesses</a:t>
            </a:r>
          </a:p>
          <a:p>
            <a:pPr marL="342900" indent="-342900">
              <a:buFont typeface="Arial" panose="020B0604020202020204" pitchFamily="34" charset="0"/>
              <a:buChar char="•"/>
            </a:pPr>
            <a:r>
              <a:rPr lang="en-US" sz="2400"/>
              <a:t>Generates a dialogue towards building a roadmap for improved financial systems in alignment with standard considerations</a:t>
            </a:r>
          </a:p>
        </p:txBody>
      </p:sp>
      <p:pic>
        <p:nvPicPr>
          <p:cNvPr id="6" name="Picture 5">
            <a:extLst>
              <a:ext uri="{FF2B5EF4-FFF2-40B4-BE49-F238E27FC236}">
                <a16:creationId xmlns:a16="http://schemas.microsoft.com/office/drawing/2014/main" id="{1B29F14D-1434-40F7-B621-91E6CC7B3F39}"/>
              </a:ext>
            </a:extLst>
          </p:cNvPr>
          <p:cNvPicPr>
            <a:picLocks noChangeAspect="1"/>
          </p:cNvPicPr>
          <p:nvPr/>
        </p:nvPicPr>
        <p:blipFill>
          <a:blip r:embed="rId2"/>
          <a:stretch>
            <a:fillRect/>
          </a:stretch>
        </p:blipFill>
        <p:spPr>
          <a:xfrm>
            <a:off x="6540500" y="1896841"/>
            <a:ext cx="5373799" cy="4122959"/>
          </a:xfrm>
          <a:prstGeom prst="rect">
            <a:avLst/>
          </a:prstGeom>
          <a:ln>
            <a:solidFill>
              <a:schemeClr val="tx1"/>
            </a:solidFill>
          </a:ln>
        </p:spPr>
      </p:pic>
    </p:spTree>
    <p:extLst>
      <p:ext uri="{BB962C8B-B14F-4D97-AF65-F5344CB8AC3E}">
        <p14:creationId xmlns:p14="http://schemas.microsoft.com/office/powerpoint/2010/main" val="17624030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AFB74-269D-44E8-9EF4-BE836B92A1D8}"/>
              </a:ext>
            </a:extLst>
          </p:cNvPr>
          <p:cNvSpPr>
            <a:spLocks noGrp="1"/>
          </p:cNvSpPr>
          <p:nvPr>
            <p:ph type="title" idx="4294967295"/>
          </p:nvPr>
        </p:nvSpPr>
        <p:spPr>
          <a:xfrm>
            <a:off x="444500" y="254000"/>
            <a:ext cx="10741025" cy="496888"/>
          </a:xfrm>
        </p:spPr>
        <p:txBody>
          <a:bodyPr/>
          <a:lstStyle/>
          <a:p>
            <a:r>
              <a:rPr lang="en-US"/>
              <a:t>Financial management systems</a:t>
            </a:r>
          </a:p>
        </p:txBody>
      </p:sp>
      <p:sp>
        <p:nvSpPr>
          <p:cNvPr id="3" name="Content Placeholder 2">
            <a:extLst>
              <a:ext uri="{FF2B5EF4-FFF2-40B4-BE49-F238E27FC236}">
                <a16:creationId xmlns:a16="http://schemas.microsoft.com/office/drawing/2014/main" id="{F572E90A-25DD-4E60-96D7-97CEF3A51CBE}"/>
              </a:ext>
            </a:extLst>
          </p:cNvPr>
          <p:cNvSpPr>
            <a:spLocks noGrp="1"/>
          </p:cNvSpPr>
          <p:nvPr>
            <p:ph idx="4294967295"/>
          </p:nvPr>
        </p:nvSpPr>
        <p:spPr>
          <a:xfrm>
            <a:off x="543034" y="1430338"/>
            <a:ext cx="6016625" cy="5173662"/>
          </a:xfrm>
        </p:spPr>
        <p:txBody>
          <a:bodyPr>
            <a:normAutofit/>
          </a:bodyPr>
          <a:lstStyle/>
          <a:p>
            <a:pPr marL="0" indent="0">
              <a:buNone/>
            </a:pPr>
            <a:r>
              <a:rPr lang="en-US" sz="2400"/>
              <a:t>Key business processes:</a:t>
            </a:r>
          </a:p>
          <a:p>
            <a:pPr marL="342900" indent="-342900">
              <a:buFont typeface="Arial" panose="020B0604020202020204" pitchFamily="34" charset="0"/>
              <a:buChar char="•"/>
            </a:pPr>
            <a:r>
              <a:rPr lang="en-US" sz="2400"/>
              <a:t>General Ledger	</a:t>
            </a:r>
          </a:p>
          <a:p>
            <a:pPr marL="342900" indent="-342900">
              <a:buFont typeface="Arial" panose="020B0604020202020204" pitchFamily="34" charset="0"/>
              <a:buChar char="•"/>
            </a:pPr>
            <a:r>
              <a:rPr lang="en-US" sz="2400"/>
              <a:t>Sales/Accounts Receivable</a:t>
            </a:r>
          </a:p>
          <a:p>
            <a:pPr marL="342900" indent="-342900">
              <a:buFont typeface="Arial" panose="020B0604020202020204" pitchFamily="34" charset="0"/>
              <a:buChar char="•"/>
            </a:pPr>
            <a:r>
              <a:rPr lang="en-US" sz="2400"/>
              <a:t>Purchases/Accounts Payable</a:t>
            </a:r>
          </a:p>
          <a:p>
            <a:pPr marL="342900" indent="-342900">
              <a:buFont typeface="Arial" panose="020B0604020202020204" pitchFamily="34" charset="0"/>
              <a:buChar char="•"/>
            </a:pPr>
            <a:r>
              <a:rPr lang="en-US" sz="2400"/>
              <a:t>Inventory	</a:t>
            </a:r>
          </a:p>
          <a:p>
            <a:pPr marL="342900" indent="-342900">
              <a:buFont typeface="Arial" panose="020B0604020202020204" pitchFamily="34" charset="0"/>
              <a:buChar char="•"/>
            </a:pPr>
            <a:r>
              <a:rPr lang="en-US" sz="2400"/>
              <a:t>Payroll	</a:t>
            </a:r>
          </a:p>
          <a:p>
            <a:pPr marL="342900" indent="-342900">
              <a:buFont typeface="Arial" panose="020B0604020202020204" pitchFamily="34" charset="0"/>
              <a:buChar char="•"/>
            </a:pPr>
            <a:r>
              <a:rPr lang="en-US" sz="2400"/>
              <a:t>Fixed Assets	</a:t>
            </a:r>
          </a:p>
          <a:p>
            <a:pPr marL="342900" indent="-342900">
              <a:buFont typeface="Arial" panose="020B0604020202020204" pitchFamily="34" charset="0"/>
              <a:buChar char="•"/>
            </a:pPr>
            <a:r>
              <a:rPr lang="en-US" sz="2400"/>
              <a:t>Treasury Management	</a:t>
            </a:r>
          </a:p>
          <a:p>
            <a:pPr marL="342900" indent="-342900">
              <a:buFont typeface="Arial" panose="020B0604020202020204" pitchFamily="34" charset="0"/>
              <a:buChar char="•"/>
            </a:pPr>
            <a:r>
              <a:rPr lang="en-US" sz="2400"/>
              <a:t>On-line applications (banking, purchasing, sales, etc.)	</a:t>
            </a:r>
          </a:p>
          <a:p>
            <a:pPr marL="342900" indent="-342900">
              <a:buFont typeface="Arial" panose="020B0604020202020204" pitchFamily="34" charset="0"/>
              <a:buChar char="•"/>
            </a:pPr>
            <a:r>
              <a:rPr lang="en-US" sz="2400"/>
              <a:t>Other	</a:t>
            </a:r>
          </a:p>
          <a:p>
            <a:endParaRPr lang="en-US" sz="2400"/>
          </a:p>
        </p:txBody>
      </p:sp>
      <p:sp>
        <p:nvSpPr>
          <p:cNvPr id="5" name="Content Placeholder 2">
            <a:extLst>
              <a:ext uri="{FF2B5EF4-FFF2-40B4-BE49-F238E27FC236}">
                <a16:creationId xmlns:a16="http://schemas.microsoft.com/office/drawing/2014/main" id="{0743647D-CB08-4B98-A899-60A5912AC8A4}"/>
              </a:ext>
            </a:extLst>
          </p:cNvPr>
          <p:cNvSpPr txBox="1">
            <a:spLocks/>
          </p:cNvSpPr>
          <p:nvPr/>
        </p:nvSpPr>
        <p:spPr>
          <a:xfrm>
            <a:off x="7102693" y="1816100"/>
            <a:ext cx="4419599" cy="4203263"/>
          </a:xfrm>
          <a:prstGeom prst="rect">
            <a:avLst/>
          </a:prstGeom>
          <a:solidFill>
            <a:schemeClr val="accent1">
              <a:lumMod val="20000"/>
              <a:lumOff val="80000"/>
            </a:schemeClr>
          </a:solidFill>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a:t>Information to provide:</a:t>
            </a:r>
          </a:p>
          <a:p>
            <a:r>
              <a:rPr lang="en-US" sz="2000"/>
              <a:t>Application name(s)</a:t>
            </a:r>
          </a:p>
          <a:p>
            <a:r>
              <a:rPr lang="en-US" sz="2000"/>
              <a:t>Age or version of the software</a:t>
            </a:r>
          </a:p>
          <a:p>
            <a:r>
              <a:rPr lang="en-US" sz="2000"/>
              <a:t>Source</a:t>
            </a:r>
          </a:p>
          <a:p>
            <a:pPr lvl="1"/>
            <a:r>
              <a:rPr lang="en-US" sz="1600"/>
              <a:t>Purchased</a:t>
            </a:r>
          </a:p>
          <a:p>
            <a:pPr lvl="1"/>
            <a:r>
              <a:rPr lang="en-US" sz="1600"/>
              <a:t>Developed</a:t>
            </a:r>
          </a:p>
          <a:p>
            <a:pPr lvl="1"/>
            <a:r>
              <a:rPr lang="en-US" sz="1600"/>
              <a:t>Purchased then customized</a:t>
            </a:r>
          </a:p>
          <a:p>
            <a:pPr lvl="1"/>
            <a:r>
              <a:rPr lang="en-US" sz="1600"/>
              <a:t>Third party provider</a:t>
            </a:r>
          </a:p>
          <a:p>
            <a:r>
              <a:rPr lang="en-US" sz="2000"/>
              <a:t>Integrated with other applications?</a:t>
            </a:r>
          </a:p>
          <a:p>
            <a:endParaRPr lang="en-US" sz="2000"/>
          </a:p>
        </p:txBody>
      </p:sp>
    </p:spTree>
    <p:extLst>
      <p:ext uri="{BB962C8B-B14F-4D97-AF65-F5344CB8AC3E}">
        <p14:creationId xmlns:p14="http://schemas.microsoft.com/office/powerpoint/2010/main" val="16990196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6F34C-1FF3-4AF5-A1B2-6B5C0022F7CC}"/>
              </a:ext>
            </a:extLst>
          </p:cNvPr>
          <p:cNvSpPr>
            <a:spLocks noGrp="1"/>
          </p:cNvSpPr>
          <p:nvPr>
            <p:ph type="title" idx="4294967295"/>
          </p:nvPr>
        </p:nvSpPr>
        <p:spPr>
          <a:xfrm>
            <a:off x="457200" y="238125"/>
            <a:ext cx="10741025" cy="496888"/>
          </a:xfrm>
        </p:spPr>
        <p:txBody>
          <a:bodyPr/>
          <a:lstStyle/>
          <a:p>
            <a:r>
              <a:rPr lang="en-US"/>
              <a:t>Additional information</a:t>
            </a:r>
          </a:p>
        </p:txBody>
      </p:sp>
      <p:sp>
        <p:nvSpPr>
          <p:cNvPr id="3" name="Content Placeholder 2">
            <a:extLst>
              <a:ext uri="{FF2B5EF4-FFF2-40B4-BE49-F238E27FC236}">
                <a16:creationId xmlns:a16="http://schemas.microsoft.com/office/drawing/2014/main" id="{EE60F13D-1B83-495A-B973-D8860C5FEA16}"/>
              </a:ext>
            </a:extLst>
          </p:cNvPr>
          <p:cNvSpPr>
            <a:spLocks noGrp="1"/>
          </p:cNvSpPr>
          <p:nvPr>
            <p:ph idx="4294967295"/>
          </p:nvPr>
        </p:nvSpPr>
        <p:spPr>
          <a:xfrm>
            <a:off x="457200" y="1446213"/>
            <a:ext cx="10845800" cy="5173662"/>
          </a:xfrm>
        </p:spPr>
        <p:txBody>
          <a:bodyPr>
            <a:normAutofit/>
          </a:bodyPr>
          <a:lstStyle/>
          <a:p>
            <a:pPr marL="342900" indent="-342900">
              <a:buFont typeface="Arial" panose="020B0604020202020204" pitchFamily="34" charset="0"/>
              <a:buChar char="•"/>
            </a:pPr>
            <a:r>
              <a:rPr lang="en-US" sz="2400"/>
              <a:t>Is your accounting and finance function currently outsourced?  (e.g., an external bookkeeper)</a:t>
            </a:r>
          </a:p>
          <a:p>
            <a:pPr marL="342900" indent="-342900">
              <a:buFont typeface="Arial" panose="020B0604020202020204" pitchFamily="34" charset="0"/>
              <a:buChar char="•"/>
            </a:pPr>
            <a:r>
              <a:rPr lang="en-US" sz="2400"/>
              <a:t>Are all versions of the listed applications still supported by the vendor?</a:t>
            </a:r>
          </a:p>
          <a:p>
            <a:pPr marL="0" indent="0">
              <a:buNone/>
            </a:pPr>
            <a:endParaRPr lang="en-US" sz="2400"/>
          </a:p>
          <a:p>
            <a:pPr marL="0" indent="0">
              <a:buNone/>
            </a:pPr>
            <a:r>
              <a:rPr lang="en-US" sz="2400"/>
              <a:t>Technology infrastructure information:</a:t>
            </a:r>
          </a:p>
          <a:p>
            <a:pPr lvl="2">
              <a:buFont typeface="Arial" panose="020B0604020202020204" pitchFamily="34" charset="0"/>
              <a:buChar char="−"/>
            </a:pPr>
            <a:r>
              <a:rPr lang="en-US" sz="2000"/>
              <a:t>Major Hardware Platforms</a:t>
            </a:r>
          </a:p>
          <a:p>
            <a:pPr lvl="2">
              <a:buFont typeface="Arial" panose="020B0604020202020204" pitchFamily="34" charset="0"/>
              <a:buChar char="−"/>
            </a:pPr>
            <a:r>
              <a:rPr lang="en-US" sz="2000"/>
              <a:t>Networking (LAN/WAN)</a:t>
            </a:r>
          </a:p>
          <a:p>
            <a:pPr lvl="2">
              <a:buFont typeface="Arial" panose="020B0604020202020204" pitchFamily="34" charset="0"/>
              <a:buChar char="−"/>
            </a:pPr>
            <a:r>
              <a:rPr lang="en-US" sz="2000"/>
              <a:t>Data Backup/Retrieval</a:t>
            </a:r>
          </a:p>
          <a:p>
            <a:pPr lvl="2">
              <a:buFont typeface="Arial" panose="020B0604020202020204" pitchFamily="34" charset="0"/>
              <a:buChar char="−"/>
            </a:pPr>
            <a:r>
              <a:rPr lang="en-US" sz="2000"/>
              <a:t>Firewall &amp; Anti-virus</a:t>
            </a:r>
          </a:p>
          <a:p>
            <a:pPr lvl="2">
              <a:buFont typeface="Arial" panose="020B0604020202020204" pitchFamily="34" charset="0"/>
              <a:buChar char="−"/>
            </a:pPr>
            <a:r>
              <a:rPr lang="en-US" sz="2000"/>
              <a:t>Document Imaging</a:t>
            </a:r>
          </a:p>
          <a:p>
            <a:pPr lvl="2">
              <a:buFont typeface="Arial" panose="020B0604020202020204" pitchFamily="34" charset="0"/>
              <a:buChar char="−"/>
            </a:pPr>
            <a:r>
              <a:rPr lang="en-US" sz="2000"/>
              <a:t>Other Systems</a:t>
            </a:r>
          </a:p>
          <a:p>
            <a:endParaRPr lang="en-US" sz="2400"/>
          </a:p>
        </p:txBody>
      </p:sp>
    </p:spTree>
    <p:extLst>
      <p:ext uri="{BB962C8B-B14F-4D97-AF65-F5344CB8AC3E}">
        <p14:creationId xmlns:p14="http://schemas.microsoft.com/office/powerpoint/2010/main" val="13498177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B38631-E00F-4BA3-B173-4C97370BAC6F}"/>
              </a:ext>
            </a:extLst>
          </p:cNvPr>
          <p:cNvSpPr>
            <a:spLocks noGrp="1"/>
          </p:cNvSpPr>
          <p:nvPr>
            <p:ph type="body" sz="quarter" idx="13"/>
          </p:nvPr>
        </p:nvSpPr>
        <p:spPr>
          <a:xfrm>
            <a:off x="2717729" y="3014793"/>
            <a:ext cx="7442271" cy="2484307"/>
          </a:xfrm>
        </p:spPr>
        <p:txBody>
          <a:bodyPr>
            <a:normAutofit lnSpcReduction="10000"/>
          </a:bodyPr>
          <a:lstStyle/>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Working session:</a:t>
            </a:r>
          </a:p>
          <a:p>
            <a:pPr lvl="2">
              <a:buClr>
                <a:schemeClr val="bg1"/>
              </a:buClr>
              <a:buFont typeface="Arial" panose="020B0604020202020204" pitchFamily="34" charset="0"/>
              <a:buChar char="−"/>
            </a:pPr>
            <a:r>
              <a:rPr lang="en-US" sz="2000"/>
              <a:t>Save assessment tool to your hard drive</a:t>
            </a:r>
          </a:p>
          <a:p>
            <a:pPr lvl="2">
              <a:buClr>
                <a:schemeClr val="bg1"/>
              </a:buClr>
              <a:buFont typeface="Arial" panose="020B0604020202020204" pitchFamily="34" charset="0"/>
              <a:buChar char="−"/>
            </a:pPr>
            <a:r>
              <a:rPr lang="en-US" sz="2000"/>
              <a:t>Update contact information</a:t>
            </a:r>
          </a:p>
          <a:p>
            <a:pPr lvl="2">
              <a:buClr>
                <a:schemeClr val="bg1"/>
              </a:buClr>
              <a:buFont typeface="Arial" panose="020B0604020202020204" pitchFamily="34" charset="0"/>
              <a:buChar char="−"/>
            </a:pPr>
            <a:r>
              <a:rPr lang="en-US" sz="2000"/>
              <a:t>Walk through assessment questions with RSM Mentors</a:t>
            </a:r>
          </a:p>
          <a:p>
            <a:pPr lvl="2">
              <a:buClr>
                <a:schemeClr val="bg1"/>
              </a:buClr>
              <a:buFont typeface="Arial" panose="020B0604020202020204" pitchFamily="34" charset="0"/>
              <a:buChar char="−"/>
            </a:pPr>
            <a:r>
              <a:rPr lang="en-US" sz="2000"/>
              <a:t>Q&amp;A</a:t>
            </a:r>
          </a:p>
          <a:p>
            <a:pPr lvl="2">
              <a:buClr>
                <a:schemeClr val="bg1"/>
              </a:buClr>
              <a:buFont typeface="Arial" panose="020B0604020202020204" pitchFamily="34" charset="0"/>
              <a:buChar char="−"/>
            </a:pPr>
            <a:r>
              <a:rPr lang="en-US" sz="2000"/>
              <a:t>Begin providing your responses</a:t>
            </a:r>
            <a:endParaRPr lang="en-US" sz="1600"/>
          </a:p>
          <a:p>
            <a:pPr marL="800100" lvl="1" indent="-342900"/>
            <a:endParaRPr lang="en-US" sz="2000"/>
          </a:p>
        </p:txBody>
      </p:sp>
      <p:sp>
        <p:nvSpPr>
          <p:cNvPr id="2" name="Title 1">
            <a:extLst>
              <a:ext uri="{FF2B5EF4-FFF2-40B4-BE49-F238E27FC236}">
                <a16:creationId xmlns:a16="http://schemas.microsoft.com/office/drawing/2014/main" id="{ECC47A2D-06FB-4BC3-8302-266302A9ED66}"/>
              </a:ext>
            </a:extLst>
          </p:cNvPr>
          <p:cNvSpPr>
            <a:spLocks noGrp="1"/>
          </p:cNvSpPr>
          <p:nvPr>
            <p:ph type="title"/>
          </p:nvPr>
        </p:nvSpPr>
        <p:spPr>
          <a:xfrm>
            <a:off x="2717729" y="2050387"/>
            <a:ext cx="4319587" cy="1231106"/>
          </a:xfrm>
        </p:spPr>
        <p:txBody>
          <a:bodyPr/>
          <a:lstStyle/>
          <a:p>
            <a:r>
              <a:rPr lang="en-US"/>
              <a:t>Group session</a:t>
            </a:r>
          </a:p>
        </p:txBody>
      </p:sp>
    </p:spTree>
    <p:extLst>
      <p:ext uri="{BB962C8B-B14F-4D97-AF65-F5344CB8AC3E}">
        <p14:creationId xmlns:p14="http://schemas.microsoft.com/office/powerpoint/2010/main" val="3024338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877D4-23E4-2E77-34B1-121030C54DDA}"/>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07307F-DB86-8C6F-7A00-81AC82425DD3}"/>
              </a:ext>
            </a:extLst>
          </p:cNvPr>
          <p:cNvSpPr>
            <a:spLocks noGrp="1"/>
          </p:cNvSpPr>
          <p:nvPr>
            <p:ph idx="4294967295"/>
          </p:nvPr>
        </p:nvSpPr>
        <p:spPr>
          <a:xfrm>
            <a:off x="635000" y="1617663"/>
            <a:ext cx="7900988" cy="4638675"/>
          </a:xfrm>
        </p:spPr>
        <p:txBody>
          <a:bodyPr anchor="ctr">
            <a:normAutofit/>
          </a:bodyPr>
          <a:lstStyle/>
          <a:p>
            <a:pPr marL="0" indent="0" algn="ctr">
              <a:buNone/>
            </a:pPr>
            <a:r>
              <a:rPr lang="en-US" sz="4400">
                <a:solidFill>
                  <a:schemeClr val="bg1"/>
                </a:solidFill>
              </a:rPr>
              <a:t>RECAP</a:t>
            </a:r>
          </a:p>
        </p:txBody>
      </p:sp>
      <p:sp>
        <p:nvSpPr>
          <p:cNvPr id="5" name="Title 4">
            <a:extLst>
              <a:ext uri="{FF2B5EF4-FFF2-40B4-BE49-F238E27FC236}">
                <a16:creationId xmlns:a16="http://schemas.microsoft.com/office/drawing/2014/main" id="{387F440E-507F-4095-F9B9-71927A604F5C}"/>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3291211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A4FF23-DDF1-4A73-93E5-10CB9C5469EC}"/>
              </a:ext>
            </a:extLst>
          </p:cNvPr>
          <p:cNvSpPr>
            <a:spLocks noGrp="1"/>
          </p:cNvSpPr>
          <p:nvPr>
            <p:ph type="title"/>
          </p:nvPr>
        </p:nvSpPr>
        <p:spPr>
          <a:xfrm>
            <a:off x="3955098" y="2875002"/>
            <a:ext cx="6119811" cy="553998"/>
          </a:xfrm>
        </p:spPr>
        <p:txBody>
          <a:bodyPr>
            <a:noAutofit/>
          </a:bodyPr>
          <a:lstStyle/>
          <a:p>
            <a:r>
              <a:rPr lang="en-US" sz="4400"/>
              <a:t>OTHER TECHNOLOGY TOPICS</a:t>
            </a:r>
          </a:p>
        </p:txBody>
      </p:sp>
      <p:pic>
        <p:nvPicPr>
          <p:cNvPr id="2" name="Picture 2" descr="Ascend ">
            <a:extLst>
              <a:ext uri="{FF2B5EF4-FFF2-40B4-BE49-F238E27FC236}">
                <a16:creationId xmlns:a16="http://schemas.microsoft.com/office/drawing/2014/main" id="{664208FE-09B7-63A5-BF23-14FC25DD5332}"/>
              </a:ext>
            </a:extLst>
          </p:cNvPr>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a14:imgLayer r:embed="rId4">
                    <a14:imgEffect>
                      <a14:sharpenSoften amount="1000"/>
                    </a14:imgEffect>
                  </a14:imgLayer>
                </a14:imgProps>
              </a:ext>
              <a:ext uri="{28A0092B-C50C-407E-A947-70E740481C1C}">
                <a14:useLocalDpi xmlns:a14="http://schemas.microsoft.com/office/drawing/2010/main" val="0"/>
              </a:ext>
            </a:extLst>
          </a:blip>
          <a:srcRect/>
          <a:stretch>
            <a:fillRect/>
          </a:stretch>
        </p:blipFill>
        <p:spPr bwMode="auto">
          <a:xfrm>
            <a:off x="224287" y="5935919"/>
            <a:ext cx="2182483" cy="637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2393530"/>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46A4C42-FA1C-9064-EDA4-E2FB26C4777B}"/>
              </a:ext>
            </a:extLst>
          </p:cNvPr>
          <p:cNvSpPr txBox="1">
            <a:spLocks/>
          </p:cNvSpPr>
          <p:nvPr>
            <p:custDataLst>
              <p:tags r:id="rId1"/>
            </p:custDataLst>
          </p:nvPr>
        </p:nvSpPr>
        <p:spPr>
          <a:xfrm>
            <a:off x="335406" y="400812"/>
            <a:ext cx="8985876"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r>
              <a:rPr kumimoji="0" lang="en-US" sz="2400" b="1" i="0" u="none" strike="noStrike" kern="1200" cap="all" spc="0" normalizeH="0" baseline="0" noProof="0">
                <a:ln>
                  <a:noFill/>
                </a:ln>
                <a:solidFill>
                  <a:srgbClr val="FFFFFF"/>
                </a:solidFill>
                <a:effectLst/>
                <a:uLnTx/>
                <a:uFillTx/>
                <a:latin typeface="Arial"/>
                <a:ea typeface="+mj-ea"/>
                <a:cs typeface="+mj-cs"/>
              </a:rPr>
              <a:t>RSM Overview</a:t>
            </a:r>
            <a:endParaRPr kumimoji="0" lang="en-US" sz="2400" b="0" i="0" u="none" strike="noStrike" kern="1200" cap="none" spc="0" normalizeH="0" baseline="0" noProof="0">
              <a:ln>
                <a:noFill/>
              </a:ln>
              <a:solidFill>
                <a:srgbClr val="63666A"/>
              </a:solidFill>
              <a:effectLst/>
              <a:uLnTx/>
              <a:uFillTx/>
              <a:latin typeface="Arial"/>
              <a:ea typeface="+mj-ea"/>
              <a:cs typeface="+mj-cs"/>
            </a:endParaRPr>
          </a:p>
        </p:txBody>
      </p:sp>
      <p:sp>
        <p:nvSpPr>
          <p:cNvPr id="45" name="TextBox 44">
            <a:extLst>
              <a:ext uri="{FF2B5EF4-FFF2-40B4-BE49-F238E27FC236}">
                <a16:creationId xmlns:a16="http://schemas.microsoft.com/office/drawing/2014/main" id="{9E1CAD40-461F-F0C9-0160-B632AF3F7E88}"/>
              </a:ext>
            </a:extLst>
          </p:cNvPr>
          <p:cNvSpPr txBox="1">
            <a:spLocks/>
          </p:cNvSpPr>
          <p:nvPr/>
        </p:nvSpPr>
        <p:spPr>
          <a:xfrm>
            <a:off x="11371085" y="6536507"/>
            <a:ext cx="600428" cy="153888"/>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49435FB2-2907-4A1B-9AF4-7FDB3101C2DF}"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888B8D"/>
              </a:solidFill>
              <a:effectLst/>
              <a:uLnTx/>
              <a:uFillTx/>
              <a:latin typeface="Arial"/>
              <a:ea typeface="+mn-ea"/>
              <a:cs typeface="+mn-cs"/>
            </a:endParaRPr>
          </a:p>
        </p:txBody>
      </p:sp>
      <p:sp>
        <p:nvSpPr>
          <p:cNvPr id="3" name="Text Placeholder 1">
            <a:extLst>
              <a:ext uri="{FF2B5EF4-FFF2-40B4-BE49-F238E27FC236}">
                <a16:creationId xmlns:a16="http://schemas.microsoft.com/office/drawing/2014/main" id="{511ED5A3-B5EB-D2D6-8762-426852E3F351}"/>
              </a:ext>
            </a:extLst>
          </p:cNvPr>
          <p:cNvSpPr txBox="1">
            <a:spLocks/>
          </p:cNvSpPr>
          <p:nvPr/>
        </p:nvSpPr>
        <p:spPr>
          <a:xfrm>
            <a:off x="257176" y="1285874"/>
            <a:ext cx="11383962" cy="1970073"/>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1"/>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tx1"/>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pPr>
              <a:lnSpc>
                <a:spcPts val="1400"/>
              </a:lnSpc>
              <a:spcBef>
                <a:spcPts val="0"/>
              </a:spcBef>
              <a:spcAft>
                <a:spcPts val="600"/>
              </a:spcAft>
            </a:pPr>
            <a:r>
              <a:rPr lang="en-US" sz="1600" b="1">
                <a:solidFill>
                  <a:srgbClr val="3F9C35"/>
                </a:solidFill>
                <a:ea typeface="Batang" panose="02030600000101010101" pitchFamily="18" charset="-127"/>
              </a:rPr>
              <a:t>About RSM</a:t>
            </a:r>
          </a:p>
          <a:p>
            <a:pPr>
              <a:spcBef>
                <a:spcPts val="0"/>
              </a:spcBef>
              <a:spcAft>
                <a:spcPts val="1000"/>
              </a:spcAft>
            </a:pPr>
            <a:r>
              <a:rPr lang="en-US" sz="1400">
                <a:solidFill>
                  <a:schemeClr val="bg2">
                    <a:lumMod val="50000"/>
                  </a:schemeClr>
                </a:solidFill>
                <a:ea typeface="Batang" panose="02030600000101010101" pitchFamily="18" charset="-127"/>
              </a:rPr>
              <a:t>RSM’s purpose is to deliver the power of being understood to our clients, colleagues and communities through world-class assurance, tax and consulting services focused on middle market businesses. The clients we serve are the engine of global commerce and economic growth, and we are focused on developing leading professionals and services to meet their evolving needs in today’s ever-changing business environment.</a:t>
            </a:r>
          </a:p>
          <a:p>
            <a:pPr>
              <a:spcBef>
                <a:spcPts val="0"/>
              </a:spcBef>
              <a:spcAft>
                <a:spcPts val="1000"/>
              </a:spcAft>
            </a:pPr>
            <a:r>
              <a:rPr lang="en-US" sz="1400">
                <a:solidFill>
                  <a:schemeClr val="bg2">
                    <a:lumMod val="50000"/>
                  </a:schemeClr>
                </a:solidFill>
                <a:ea typeface="Batang" panose="02030600000101010101" pitchFamily="18" charset="-127"/>
              </a:rPr>
              <a:t>RSM is the leading provider of assurance, tax and consulting services focused on the middle market, with more than 16,600 professionals in 81 U.S. cities, six locations in Canada, one in El Salvador and four in India. It is a licensed CPA firm and the U.S. member of RSM International, a global network of independent assurance, tax and consulting firms with 64,000 people in 120 countries. RSM uses its deep understanding of the needs and aspirations of clients to help them succeed</a:t>
            </a:r>
            <a:r>
              <a:rPr lang="en-US" sz="1400">
                <a:solidFill>
                  <a:schemeClr val="bg2">
                    <a:lumMod val="50000"/>
                  </a:schemeClr>
                </a:solidFill>
                <a:latin typeface="Arial" panose="020B0604020202020204" pitchFamily="34" charset="0"/>
                <a:ea typeface="Batang" panose="02030600000101010101" pitchFamily="18" charset="-127"/>
              </a:rPr>
              <a:t>.</a:t>
            </a:r>
          </a:p>
          <a:p>
            <a:pPr>
              <a:lnSpc>
                <a:spcPts val="1400"/>
              </a:lnSpc>
              <a:spcBef>
                <a:spcPts val="0"/>
              </a:spcBef>
              <a:spcAft>
                <a:spcPts val="1000"/>
              </a:spcAft>
            </a:pPr>
            <a:endParaRPr lang="en-US">
              <a:solidFill>
                <a:srgbClr val="000000"/>
              </a:solidFill>
              <a:latin typeface="Arial" panose="020B0604020202020204" pitchFamily="34" charset="0"/>
              <a:ea typeface="Batang" panose="02030600000101010101" pitchFamily="18" charset="-127"/>
            </a:endParaRPr>
          </a:p>
          <a:p>
            <a:pPr>
              <a:lnSpc>
                <a:spcPts val="1400"/>
              </a:lnSpc>
              <a:spcBef>
                <a:spcPts val="0"/>
              </a:spcBef>
              <a:spcAft>
                <a:spcPts val="1000"/>
              </a:spcAft>
            </a:pPr>
            <a:endParaRPr lang="en-US">
              <a:solidFill>
                <a:srgbClr val="000000"/>
              </a:solidFill>
              <a:latin typeface="Arial" panose="020B0604020202020204" pitchFamily="34" charset="0"/>
              <a:ea typeface="Batang" panose="02030600000101010101" pitchFamily="18" charset="-127"/>
            </a:endParaRPr>
          </a:p>
          <a:p>
            <a:endParaRPr lang="en-US"/>
          </a:p>
        </p:txBody>
      </p:sp>
      <p:grpSp>
        <p:nvGrpSpPr>
          <p:cNvPr id="4" name="Group 3">
            <a:extLst>
              <a:ext uri="{FF2B5EF4-FFF2-40B4-BE49-F238E27FC236}">
                <a16:creationId xmlns:a16="http://schemas.microsoft.com/office/drawing/2014/main" id="{1FE36D0A-3365-FC13-C8C6-56B04F9BFFC6}"/>
              </a:ext>
            </a:extLst>
          </p:cNvPr>
          <p:cNvGrpSpPr/>
          <p:nvPr>
            <p:custDataLst>
              <p:tags r:id="rId2"/>
            </p:custDataLst>
          </p:nvPr>
        </p:nvGrpSpPr>
        <p:grpSpPr>
          <a:xfrm>
            <a:off x="6414155" y="4177477"/>
            <a:ext cx="775613" cy="415066"/>
            <a:chOff x="2844419" y="4866698"/>
            <a:chExt cx="742549" cy="397372"/>
          </a:xfrm>
        </p:grpSpPr>
        <p:sp>
          <p:nvSpPr>
            <p:cNvPr id="5" name="TextBox 4">
              <a:extLst>
                <a:ext uri="{FF2B5EF4-FFF2-40B4-BE49-F238E27FC236}">
                  <a16:creationId xmlns:a16="http://schemas.microsoft.com/office/drawing/2014/main" id="{2E03770D-1ECF-8B33-B3E7-CA8AE2BFB9F1}"/>
                </a:ext>
              </a:extLst>
            </p:cNvPr>
            <p:cNvSpPr txBox="1"/>
            <p:nvPr/>
          </p:nvSpPr>
          <p:spPr>
            <a:xfrm>
              <a:off x="2855293" y="5057731"/>
              <a:ext cx="699715" cy="206339"/>
            </a:xfrm>
            <a:prstGeom prst="rect">
              <a:avLst/>
            </a:prstGeom>
            <a:noFill/>
          </p:spPr>
          <p:txBody>
            <a:bodyPr wrap="square" rtlCol="0">
              <a:spAutoFit/>
            </a:bodyPr>
            <a:lstStyle/>
            <a:p>
              <a:pPr algn="ctr">
                <a:lnSpc>
                  <a:spcPts val="700"/>
                </a:lnSpc>
              </a:pPr>
              <a:r>
                <a:rPr lang="en-US" sz="1600" b="1">
                  <a:solidFill>
                    <a:schemeClr val="bg1"/>
                  </a:solidFill>
                </a:rPr>
                <a:t>1926</a:t>
              </a:r>
            </a:p>
          </p:txBody>
        </p:sp>
        <p:sp>
          <p:nvSpPr>
            <p:cNvPr id="6" name="TextBox 5">
              <a:extLst>
                <a:ext uri="{FF2B5EF4-FFF2-40B4-BE49-F238E27FC236}">
                  <a16:creationId xmlns:a16="http://schemas.microsoft.com/office/drawing/2014/main" id="{E99FB555-8C94-72B3-89B0-027E1B289772}"/>
                </a:ext>
              </a:extLst>
            </p:cNvPr>
            <p:cNvSpPr txBox="1"/>
            <p:nvPr/>
          </p:nvSpPr>
          <p:spPr>
            <a:xfrm>
              <a:off x="2844419" y="4866698"/>
              <a:ext cx="742549" cy="182101"/>
            </a:xfrm>
            <a:prstGeom prst="rect">
              <a:avLst/>
            </a:prstGeom>
            <a:noFill/>
          </p:spPr>
          <p:txBody>
            <a:bodyPr wrap="square" rtlCol="0">
              <a:spAutoFit/>
            </a:bodyPr>
            <a:lstStyle/>
            <a:p>
              <a:pPr algn="ctr">
                <a:lnSpc>
                  <a:spcPts val="700"/>
                </a:lnSpc>
              </a:pPr>
              <a:r>
                <a:rPr lang="en-US" sz="700">
                  <a:solidFill>
                    <a:schemeClr val="bg1"/>
                  </a:solidFill>
                </a:rPr>
                <a:t>FOUNDED</a:t>
              </a:r>
            </a:p>
          </p:txBody>
        </p:sp>
      </p:grpSp>
      <p:grpSp>
        <p:nvGrpSpPr>
          <p:cNvPr id="7" name="Group 6">
            <a:extLst>
              <a:ext uri="{FF2B5EF4-FFF2-40B4-BE49-F238E27FC236}">
                <a16:creationId xmlns:a16="http://schemas.microsoft.com/office/drawing/2014/main" id="{FDF281B4-7297-C2BA-B681-5B8159E6B86C}"/>
              </a:ext>
            </a:extLst>
          </p:cNvPr>
          <p:cNvGrpSpPr/>
          <p:nvPr>
            <p:custDataLst>
              <p:tags r:id="rId3"/>
            </p:custDataLst>
          </p:nvPr>
        </p:nvGrpSpPr>
        <p:grpSpPr>
          <a:xfrm>
            <a:off x="9391947" y="4744286"/>
            <a:ext cx="880775" cy="373052"/>
            <a:chOff x="5674425" y="5399184"/>
            <a:chExt cx="843228" cy="357149"/>
          </a:xfrm>
        </p:grpSpPr>
        <p:sp>
          <p:nvSpPr>
            <p:cNvPr id="8" name="TextBox 7">
              <a:extLst>
                <a:ext uri="{FF2B5EF4-FFF2-40B4-BE49-F238E27FC236}">
                  <a16:creationId xmlns:a16="http://schemas.microsoft.com/office/drawing/2014/main" id="{4CCDB2F5-E70B-C124-7C1B-8C7A66E06DE2}"/>
                </a:ext>
              </a:extLst>
            </p:cNvPr>
            <p:cNvSpPr txBox="1"/>
            <p:nvPr/>
          </p:nvSpPr>
          <p:spPr>
            <a:xfrm>
              <a:off x="5674425" y="5399184"/>
              <a:ext cx="843228" cy="197555"/>
            </a:xfrm>
            <a:prstGeom prst="rect">
              <a:avLst/>
            </a:prstGeom>
            <a:noFill/>
          </p:spPr>
          <p:txBody>
            <a:bodyPr wrap="square" rtlCol="0">
              <a:spAutoFit/>
            </a:bodyPr>
            <a:lstStyle/>
            <a:p>
              <a:pPr algn="ctr">
                <a:lnSpc>
                  <a:spcPts val="700"/>
                </a:lnSpc>
              </a:pPr>
              <a:r>
                <a:rPr lang="en-US" sz="1300" b="1">
                  <a:solidFill>
                    <a:schemeClr val="bg1"/>
                  </a:solidFill>
                </a:rPr>
                <a:t>$8B</a:t>
              </a:r>
            </a:p>
          </p:txBody>
        </p:sp>
        <p:sp>
          <p:nvSpPr>
            <p:cNvPr id="9" name="TextBox 8">
              <a:extLst>
                <a:ext uri="{FF2B5EF4-FFF2-40B4-BE49-F238E27FC236}">
                  <a16:creationId xmlns:a16="http://schemas.microsoft.com/office/drawing/2014/main" id="{B47BE83C-7297-91CA-CC6C-AD5462D184DA}"/>
                </a:ext>
              </a:extLst>
            </p:cNvPr>
            <p:cNvSpPr txBox="1"/>
            <p:nvPr/>
          </p:nvSpPr>
          <p:spPr>
            <a:xfrm>
              <a:off x="5724765" y="5510112"/>
              <a:ext cx="742549" cy="246221"/>
            </a:xfrm>
            <a:prstGeom prst="rect">
              <a:avLst/>
            </a:prstGeom>
            <a:noFill/>
          </p:spPr>
          <p:txBody>
            <a:bodyPr wrap="square" rtlCol="0">
              <a:spAutoFit/>
            </a:bodyPr>
            <a:lstStyle/>
            <a:p>
              <a:pPr algn="ctr">
                <a:lnSpc>
                  <a:spcPts val="600"/>
                </a:lnSpc>
              </a:pPr>
              <a:r>
                <a:rPr lang="en-US" sz="600">
                  <a:solidFill>
                    <a:schemeClr val="bg1"/>
                  </a:solidFill>
                </a:rPr>
                <a:t>WORLDWIDE</a:t>
              </a:r>
            </a:p>
            <a:p>
              <a:pPr algn="ctr">
                <a:lnSpc>
                  <a:spcPts val="600"/>
                </a:lnSpc>
              </a:pPr>
              <a:r>
                <a:rPr lang="en-US" sz="600">
                  <a:solidFill>
                    <a:schemeClr val="bg1"/>
                  </a:solidFill>
                </a:rPr>
                <a:t>REVENUES</a:t>
              </a:r>
            </a:p>
          </p:txBody>
        </p:sp>
      </p:grpSp>
      <p:grpSp>
        <p:nvGrpSpPr>
          <p:cNvPr id="10" name="Group 9">
            <a:extLst>
              <a:ext uri="{FF2B5EF4-FFF2-40B4-BE49-F238E27FC236}">
                <a16:creationId xmlns:a16="http://schemas.microsoft.com/office/drawing/2014/main" id="{DB46EE07-995E-E879-BB58-A5DC2BD5F8BC}"/>
              </a:ext>
            </a:extLst>
          </p:cNvPr>
          <p:cNvGrpSpPr/>
          <p:nvPr>
            <p:custDataLst>
              <p:tags r:id="rId4"/>
            </p:custDataLst>
          </p:nvPr>
        </p:nvGrpSpPr>
        <p:grpSpPr>
          <a:xfrm>
            <a:off x="10873388" y="3343433"/>
            <a:ext cx="803591" cy="484378"/>
            <a:chOff x="7098316" y="4073289"/>
            <a:chExt cx="769334" cy="463729"/>
          </a:xfrm>
        </p:grpSpPr>
        <p:sp>
          <p:nvSpPr>
            <p:cNvPr id="18" name="TextBox 17">
              <a:extLst>
                <a:ext uri="{FF2B5EF4-FFF2-40B4-BE49-F238E27FC236}">
                  <a16:creationId xmlns:a16="http://schemas.microsoft.com/office/drawing/2014/main" id="{ADD068DA-90A7-1C28-73B9-00CC180AFEA7}"/>
                </a:ext>
              </a:extLst>
            </p:cNvPr>
            <p:cNvSpPr txBox="1"/>
            <p:nvPr/>
          </p:nvSpPr>
          <p:spPr>
            <a:xfrm>
              <a:off x="7111709" y="4362740"/>
              <a:ext cx="742549" cy="174278"/>
            </a:xfrm>
            <a:prstGeom prst="rect">
              <a:avLst/>
            </a:prstGeom>
            <a:noFill/>
          </p:spPr>
          <p:txBody>
            <a:bodyPr wrap="square" rtlCol="0">
              <a:spAutoFit/>
            </a:bodyPr>
            <a:lstStyle/>
            <a:p>
              <a:pPr algn="ctr">
                <a:lnSpc>
                  <a:spcPts val="700"/>
                </a:lnSpc>
              </a:pPr>
              <a:r>
                <a:rPr lang="en-US" sz="500">
                  <a:solidFill>
                    <a:schemeClr val="bg1"/>
                  </a:solidFill>
                </a:rPr>
                <a:t>PROFESSIONALS</a:t>
              </a:r>
            </a:p>
          </p:txBody>
        </p:sp>
        <p:sp>
          <p:nvSpPr>
            <p:cNvPr id="19" name="TextBox 18">
              <a:extLst>
                <a:ext uri="{FF2B5EF4-FFF2-40B4-BE49-F238E27FC236}">
                  <a16:creationId xmlns:a16="http://schemas.microsoft.com/office/drawing/2014/main" id="{74F6A07C-9179-A4DF-ED8E-F649A70D1979}"/>
                </a:ext>
              </a:extLst>
            </p:cNvPr>
            <p:cNvSpPr txBox="1"/>
            <p:nvPr/>
          </p:nvSpPr>
          <p:spPr>
            <a:xfrm>
              <a:off x="7111709" y="4073289"/>
              <a:ext cx="742549" cy="182101"/>
            </a:xfrm>
            <a:prstGeom prst="rect">
              <a:avLst/>
            </a:prstGeom>
            <a:noFill/>
          </p:spPr>
          <p:txBody>
            <a:bodyPr wrap="square" rtlCol="0">
              <a:spAutoFit/>
            </a:bodyPr>
            <a:lstStyle/>
            <a:p>
              <a:pPr algn="ctr">
                <a:lnSpc>
                  <a:spcPts val="700"/>
                </a:lnSpc>
              </a:pPr>
              <a:r>
                <a:rPr lang="en-US" sz="600">
                  <a:solidFill>
                    <a:schemeClr val="bg1"/>
                  </a:solidFill>
                </a:rPr>
                <a:t>MORE THAN</a:t>
              </a:r>
            </a:p>
          </p:txBody>
        </p:sp>
        <p:sp>
          <p:nvSpPr>
            <p:cNvPr id="20" name="TextBox 19">
              <a:extLst>
                <a:ext uri="{FF2B5EF4-FFF2-40B4-BE49-F238E27FC236}">
                  <a16:creationId xmlns:a16="http://schemas.microsoft.com/office/drawing/2014/main" id="{10B59422-2CED-D5B8-A805-17BE6CEA91F9}"/>
                </a:ext>
              </a:extLst>
            </p:cNvPr>
            <p:cNvSpPr txBox="1"/>
            <p:nvPr/>
          </p:nvSpPr>
          <p:spPr>
            <a:xfrm>
              <a:off x="7098316" y="4261305"/>
              <a:ext cx="769334" cy="191957"/>
            </a:xfrm>
            <a:prstGeom prst="rect">
              <a:avLst/>
            </a:prstGeom>
            <a:noFill/>
          </p:spPr>
          <p:txBody>
            <a:bodyPr wrap="square" rtlCol="0">
              <a:spAutoFit/>
            </a:bodyPr>
            <a:lstStyle/>
            <a:p>
              <a:pPr algn="ctr">
                <a:lnSpc>
                  <a:spcPts val="700"/>
                </a:lnSpc>
              </a:pPr>
              <a:r>
                <a:rPr lang="en-US" sz="1400" b="1">
                  <a:solidFill>
                    <a:schemeClr val="bg1"/>
                  </a:solidFill>
                </a:rPr>
                <a:t>64,000</a:t>
              </a:r>
            </a:p>
          </p:txBody>
        </p:sp>
      </p:grpSp>
      <p:pic>
        <p:nvPicPr>
          <p:cNvPr id="22" name="Picture 21">
            <a:extLst>
              <a:ext uri="{FF2B5EF4-FFF2-40B4-BE49-F238E27FC236}">
                <a16:creationId xmlns:a16="http://schemas.microsoft.com/office/drawing/2014/main" id="{C6DD941E-2C6D-8D70-EB1F-6CFDCF4F5AD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9743" y="3289182"/>
            <a:ext cx="3893050" cy="3222262"/>
          </a:xfrm>
          <a:prstGeom prst="rect">
            <a:avLst/>
          </a:prstGeom>
          <a:noFill/>
          <a:ln>
            <a:noFill/>
          </a:ln>
        </p:spPr>
      </p:pic>
      <p:pic>
        <p:nvPicPr>
          <p:cNvPr id="23" name="Picture 22">
            <a:extLst>
              <a:ext uri="{FF2B5EF4-FFF2-40B4-BE49-F238E27FC236}">
                <a16:creationId xmlns:a16="http://schemas.microsoft.com/office/drawing/2014/main" id="{C569045F-87B2-35B9-79F0-A8553C1FC25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4967771" y="3254060"/>
            <a:ext cx="6680361" cy="3643986"/>
          </a:xfrm>
          <a:prstGeom prst="rect">
            <a:avLst/>
          </a:prstGeom>
          <a:noFill/>
          <a:ln>
            <a:noFill/>
          </a:ln>
        </p:spPr>
      </p:pic>
    </p:spTree>
    <p:extLst>
      <p:ext uri="{BB962C8B-B14F-4D97-AF65-F5344CB8AC3E}">
        <p14:creationId xmlns:p14="http://schemas.microsoft.com/office/powerpoint/2010/main" val="27979997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A63E06-9C04-6AA9-E354-D8A64B85B5AD}"/>
              </a:ext>
            </a:extLst>
          </p:cNvPr>
          <p:cNvSpPr>
            <a:spLocks noGrp="1"/>
          </p:cNvSpPr>
          <p:nvPr>
            <p:ph type="title"/>
          </p:nvPr>
        </p:nvSpPr>
        <p:spPr>
          <a:xfrm>
            <a:off x="3365428" y="3429000"/>
            <a:ext cx="7607371" cy="1231106"/>
          </a:xfrm>
        </p:spPr>
        <p:txBody>
          <a:bodyPr/>
          <a:lstStyle/>
          <a:p>
            <a:r>
              <a:rPr lang="en-US"/>
              <a:t>CLOUD, INFRASTRUCTURE, and SECURITY</a:t>
            </a:r>
          </a:p>
        </p:txBody>
      </p:sp>
    </p:spTree>
    <p:extLst>
      <p:ext uri="{BB962C8B-B14F-4D97-AF65-F5344CB8AC3E}">
        <p14:creationId xmlns:p14="http://schemas.microsoft.com/office/powerpoint/2010/main" val="2494374575"/>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41D07-755B-FA1F-99B4-D536A703CB1D}"/>
            </a:ext>
          </a:extLst>
        </p:cNvPr>
        <p:cNvGrpSpPr/>
        <p:nvPr/>
      </p:nvGrpSpPr>
      <p:grpSpPr>
        <a:xfrm>
          <a:off x="0" y="0"/>
          <a:ext cx="0" cy="0"/>
          <a:chOff x="0" y="0"/>
          <a:chExt cx="0" cy="0"/>
        </a:xfrm>
      </p:grpSpPr>
      <p:sp>
        <p:nvSpPr>
          <p:cNvPr id="40" name="TextBox 39">
            <a:extLst>
              <a:ext uri="{FF2B5EF4-FFF2-40B4-BE49-F238E27FC236}">
                <a16:creationId xmlns:a16="http://schemas.microsoft.com/office/drawing/2014/main" id="{E6B54260-6E90-35FF-D5E2-0B32F8E79A93}"/>
              </a:ext>
            </a:extLst>
          </p:cNvPr>
          <p:cNvSpPr txBox="1"/>
          <p:nvPr/>
        </p:nvSpPr>
        <p:spPr>
          <a:xfrm>
            <a:off x="5672612" y="2454743"/>
            <a:ext cx="1698929" cy="1601567"/>
          </a:xfrm>
          <a:prstGeom prst="rect">
            <a:avLst/>
          </a:prstGeom>
          <a:noFill/>
          <a:ln>
            <a:noFill/>
          </a:ln>
        </p:spPr>
        <p:txBody>
          <a:bodyPr wrap="square" rtlCol="0">
            <a:prstTxWarp prst="textArchDown">
              <a:avLst>
                <a:gd name="adj" fmla="val 351521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41439"/>
                </a:solidFill>
                <a:effectLst/>
                <a:uLnTx/>
                <a:uFillTx/>
                <a:latin typeface="Arial"/>
                <a:ea typeface="+mn-ea"/>
                <a:cs typeface="+mn-cs"/>
              </a:rPr>
              <a:t>Enables</a:t>
            </a:r>
          </a:p>
        </p:txBody>
      </p:sp>
      <p:sp>
        <p:nvSpPr>
          <p:cNvPr id="2" name="Title 1">
            <a:extLst>
              <a:ext uri="{FF2B5EF4-FFF2-40B4-BE49-F238E27FC236}">
                <a16:creationId xmlns:a16="http://schemas.microsoft.com/office/drawing/2014/main" id="{4808D06E-5920-0DD0-682F-08009416DDD0}"/>
              </a:ext>
            </a:extLst>
          </p:cNvPr>
          <p:cNvSpPr>
            <a:spLocks noGrp="1"/>
          </p:cNvSpPr>
          <p:nvPr>
            <p:ph type="title"/>
          </p:nvPr>
        </p:nvSpPr>
        <p:spPr>
          <a:xfrm>
            <a:off x="826331" y="343064"/>
            <a:ext cx="10007498" cy="492443"/>
          </a:xfrm>
        </p:spPr>
        <p:txBody>
          <a:bodyPr/>
          <a:lstStyle/>
          <a:p>
            <a:r>
              <a:rPr lang="en-US"/>
              <a:t>Digital </a:t>
            </a:r>
            <a:r>
              <a:rPr lang="en-US" err="1"/>
              <a:t>vs.Technology</a:t>
            </a:r>
            <a:endParaRPr lang="en-US"/>
          </a:p>
        </p:txBody>
      </p:sp>
      <p:sp>
        <p:nvSpPr>
          <p:cNvPr id="3" name="Slide Number Placeholder 4">
            <a:extLst>
              <a:ext uri="{FF2B5EF4-FFF2-40B4-BE49-F238E27FC236}">
                <a16:creationId xmlns:a16="http://schemas.microsoft.com/office/drawing/2014/main" id="{68C881E3-B5DC-AB0E-38B1-2E5E63DC587B}"/>
              </a:ext>
            </a:extLst>
          </p:cNvPr>
          <p:cNvSpPr>
            <a:spLocks noGrp="1"/>
          </p:cNvSpPr>
          <p:nvPr>
            <p:ph type="sldNum" sz="quarter" idx="4"/>
          </p:nvPr>
        </p:nvSpPr>
        <p:spPr>
          <a:xfrm>
            <a:off x="11451612" y="6646962"/>
            <a:ext cx="600428"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rgbClr val="888B8D"/>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D8CB2784-AE58-9F98-6A31-BCA57D4EEA8D}"/>
              </a:ext>
            </a:extLst>
          </p:cNvPr>
          <p:cNvGrpSpPr/>
          <p:nvPr/>
        </p:nvGrpSpPr>
        <p:grpSpPr>
          <a:xfrm>
            <a:off x="4668799" y="1452007"/>
            <a:ext cx="2884878" cy="2983517"/>
            <a:chOff x="822936" y="2528535"/>
            <a:chExt cx="2884878" cy="2983517"/>
          </a:xfrm>
          <a:solidFill>
            <a:schemeClr val="tx2"/>
          </a:solidFill>
        </p:grpSpPr>
        <p:sp>
          <p:nvSpPr>
            <p:cNvPr id="30" name="Block Arc 29">
              <a:extLst>
                <a:ext uri="{FF2B5EF4-FFF2-40B4-BE49-F238E27FC236}">
                  <a16:creationId xmlns:a16="http://schemas.microsoft.com/office/drawing/2014/main" id="{1B367E43-18D2-3660-F105-EAFF5C018CD7}"/>
                </a:ext>
              </a:extLst>
            </p:cNvPr>
            <p:cNvSpPr/>
            <p:nvPr/>
          </p:nvSpPr>
          <p:spPr>
            <a:xfrm rot="2803283">
              <a:off x="840221" y="2528536"/>
              <a:ext cx="2103120" cy="2103120"/>
            </a:xfrm>
            <a:prstGeom prst="blockArc">
              <a:avLst>
                <a:gd name="adj1" fmla="val 552632"/>
                <a:gd name="adj2" fmla="val 18892545"/>
                <a:gd name="adj3" fmla="val 9843"/>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Block Arc 28">
              <a:extLst>
                <a:ext uri="{FF2B5EF4-FFF2-40B4-BE49-F238E27FC236}">
                  <a16:creationId xmlns:a16="http://schemas.microsoft.com/office/drawing/2014/main" id="{E844A2D8-3FE7-9540-3F99-0EC6EF3BC7FF}"/>
                </a:ext>
              </a:extLst>
            </p:cNvPr>
            <p:cNvSpPr/>
            <p:nvPr/>
          </p:nvSpPr>
          <p:spPr>
            <a:xfrm rot="12821557">
              <a:off x="1604694" y="3408932"/>
              <a:ext cx="2103120" cy="2103120"/>
            </a:xfrm>
            <a:prstGeom prst="blockArc">
              <a:avLst>
                <a:gd name="adj1" fmla="val 1046135"/>
                <a:gd name="adj2" fmla="val 19228269"/>
                <a:gd name="adj3" fmla="val 9407"/>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Block Arc 35">
              <a:extLst>
                <a:ext uri="{FF2B5EF4-FFF2-40B4-BE49-F238E27FC236}">
                  <a16:creationId xmlns:a16="http://schemas.microsoft.com/office/drawing/2014/main" id="{082446A6-6FA6-8AEF-C618-1CBC3D03FD41}"/>
                </a:ext>
              </a:extLst>
            </p:cNvPr>
            <p:cNvSpPr/>
            <p:nvPr/>
          </p:nvSpPr>
          <p:spPr>
            <a:xfrm rot="9025928">
              <a:off x="822936" y="2528535"/>
              <a:ext cx="2103120" cy="2103120"/>
            </a:xfrm>
            <a:prstGeom prst="blockArc">
              <a:avLst>
                <a:gd name="adj1" fmla="val 18095275"/>
                <a:gd name="adj2" fmla="val 18892545"/>
                <a:gd name="adj3" fmla="val 9843"/>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Isosceles Triangle 30">
              <a:extLst>
                <a:ext uri="{FF2B5EF4-FFF2-40B4-BE49-F238E27FC236}">
                  <a16:creationId xmlns:a16="http://schemas.microsoft.com/office/drawing/2014/main" id="{275EC79D-AE7E-8343-F40C-23EE99F6A36C}"/>
                </a:ext>
              </a:extLst>
            </p:cNvPr>
            <p:cNvSpPr/>
            <p:nvPr/>
          </p:nvSpPr>
          <p:spPr>
            <a:xfrm rot="13748506">
              <a:off x="1720628" y="3622133"/>
              <a:ext cx="527179" cy="32579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Isosceles Triangle 32">
              <a:extLst>
                <a:ext uri="{FF2B5EF4-FFF2-40B4-BE49-F238E27FC236}">
                  <a16:creationId xmlns:a16="http://schemas.microsoft.com/office/drawing/2014/main" id="{210FCAFB-61DF-B58D-7E0F-4687B9206A3C}"/>
                </a:ext>
              </a:extLst>
            </p:cNvPr>
            <p:cNvSpPr/>
            <p:nvPr/>
          </p:nvSpPr>
          <p:spPr>
            <a:xfrm rot="3287628">
              <a:off x="2213419" y="4144453"/>
              <a:ext cx="527179" cy="32579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9" name="TextBox 38">
            <a:extLst>
              <a:ext uri="{FF2B5EF4-FFF2-40B4-BE49-F238E27FC236}">
                <a16:creationId xmlns:a16="http://schemas.microsoft.com/office/drawing/2014/main" id="{6B54C44F-CA18-7275-84CE-C2190528A18C}"/>
              </a:ext>
            </a:extLst>
          </p:cNvPr>
          <p:cNvSpPr txBox="1"/>
          <p:nvPr/>
        </p:nvSpPr>
        <p:spPr>
          <a:xfrm rot="990130">
            <a:off x="5074218" y="1842879"/>
            <a:ext cx="1347864" cy="1378035"/>
          </a:xfrm>
          <a:prstGeom prst="rect">
            <a:avLst/>
          </a:prstGeom>
          <a:noFill/>
        </p:spPr>
        <p:txBody>
          <a:bodyPr wrap="square" rtlCol="0">
            <a:prstTxWarp prst="textArchUp">
              <a:avLst>
                <a:gd name="adj" fmla="val 12823177"/>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41439"/>
                </a:solidFill>
                <a:effectLst/>
                <a:uLnTx/>
                <a:uFillTx/>
                <a:latin typeface="Arial"/>
                <a:ea typeface="+mn-ea"/>
                <a:cs typeface="+mn-cs"/>
              </a:rPr>
              <a:t>Requires</a:t>
            </a:r>
          </a:p>
        </p:txBody>
      </p:sp>
      <p:sp>
        <p:nvSpPr>
          <p:cNvPr id="42" name="Chevron 155">
            <a:extLst>
              <a:ext uri="{FF2B5EF4-FFF2-40B4-BE49-F238E27FC236}">
                <a16:creationId xmlns:a16="http://schemas.microsoft.com/office/drawing/2014/main" id="{29C1A046-1FDB-ADF0-5CCD-F3C6B4EC8B3B}"/>
              </a:ext>
            </a:extLst>
          </p:cNvPr>
          <p:cNvSpPr/>
          <p:nvPr/>
        </p:nvSpPr>
        <p:spPr>
          <a:xfrm>
            <a:off x="904240" y="2110740"/>
            <a:ext cx="3907309" cy="688006"/>
          </a:xfrm>
          <a:prstGeom prst="roundRect">
            <a:avLst>
              <a:gd name="adj" fmla="val 10135"/>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Digital</a:t>
            </a:r>
          </a:p>
        </p:txBody>
      </p:sp>
      <p:sp>
        <p:nvSpPr>
          <p:cNvPr id="44" name="Chevron 155">
            <a:extLst>
              <a:ext uri="{FF2B5EF4-FFF2-40B4-BE49-F238E27FC236}">
                <a16:creationId xmlns:a16="http://schemas.microsoft.com/office/drawing/2014/main" id="{4547890A-A506-9B73-2298-FC08BFDBB9D1}"/>
              </a:ext>
            </a:extLst>
          </p:cNvPr>
          <p:cNvSpPr/>
          <p:nvPr/>
        </p:nvSpPr>
        <p:spPr>
          <a:xfrm>
            <a:off x="7382168" y="3059730"/>
            <a:ext cx="3907309" cy="688006"/>
          </a:xfrm>
          <a:prstGeom prst="roundRect">
            <a:avLst>
              <a:gd name="adj" fmla="val 1013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Technology (IT)</a:t>
            </a:r>
          </a:p>
        </p:txBody>
      </p:sp>
      <p:sp>
        <p:nvSpPr>
          <p:cNvPr id="45" name="TextBox 44">
            <a:extLst>
              <a:ext uri="{FF2B5EF4-FFF2-40B4-BE49-F238E27FC236}">
                <a16:creationId xmlns:a16="http://schemas.microsoft.com/office/drawing/2014/main" id="{9619C4D7-029E-BCCB-5722-2B90AA67DB1F}"/>
              </a:ext>
            </a:extLst>
          </p:cNvPr>
          <p:cNvSpPr txBox="1"/>
          <p:nvPr/>
        </p:nvSpPr>
        <p:spPr>
          <a:xfrm>
            <a:off x="967575" y="2834175"/>
            <a:ext cx="3879450"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9CDE"/>
                </a:solidFill>
                <a:effectLst/>
                <a:uLnTx/>
                <a:uFillTx/>
                <a:latin typeface="Arial"/>
                <a:ea typeface="+mn-ea"/>
                <a:cs typeface="+mn-cs"/>
              </a:rPr>
              <a:t>Focuses on the business </a:t>
            </a:r>
            <a:r>
              <a:rPr kumimoji="0" lang="en-US" sz="1600" b="0" i="0" u="none" strike="noStrike" kern="1200" cap="none" spc="0" normalizeH="0" baseline="0" noProof="0">
                <a:ln>
                  <a:noFill/>
                </a:ln>
                <a:solidFill>
                  <a:srgbClr val="63666A"/>
                </a:solidFill>
                <a:effectLst/>
                <a:uLnTx/>
                <a:uFillTx/>
                <a:latin typeface="Arial"/>
                <a:ea typeface="+mn-ea"/>
                <a:cs typeface="+mn-cs"/>
              </a:rPr>
              <a:t>and how they use technology to operate or achieve their go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How do we increase brand awareness in our existing mark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How can we process expense reports fas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How can we identify and respond to new trends in sales?</a:t>
            </a:r>
          </a:p>
        </p:txBody>
      </p:sp>
      <p:sp>
        <p:nvSpPr>
          <p:cNvPr id="47" name="TextBox 46">
            <a:extLst>
              <a:ext uri="{FF2B5EF4-FFF2-40B4-BE49-F238E27FC236}">
                <a16:creationId xmlns:a16="http://schemas.microsoft.com/office/drawing/2014/main" id="{B9FA8B96-4C31-3E50-91D7-26D4F43D39AA}"/>
              </a:ext>
            </a:extLst>
          </p:cNvPr>
          <p:cNvSpPr txBox="1"/>
          <p:nvPr/>
        </p:nvSpPr>
        <p:spPr>
          <a:xfrm>
            <a:off x="7492314" y="3747736"/>
            <a:ext cx="3803291"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Is the </a:t>
            </a:r>
            <a:r>
              <a:rPr kumimoji="0" lang="en-US" sz="1600" b="1" i="0" u="none" strike="noStrike" kern="1200" cap="none" spc="0" normalizeH="0" baseline="0" noProof="0">
                <a:ln>
                  <a:noFill/>
                </a:ln>
                <a:solidFill>
                  <a:srgbClr val="3F9C35"/>
                </a:solidFill>
                <a:effectLst/>
                <a:uLnTx/>
                <a:uFillTx/>
                <a:latin typeface="Arial"/>
                <a:ea typeface="+mn-ea"/>
                <a:cs typeface="+mn-cs"/>
              </a:rPr>
              <a:t>underlying people, process and systems</a:t>
            </a:r>
            <a:r>
              <a:rPr kumimoji="0" lang="en-US" sz="1600" b="1" i="0" u="none" strike="noStrike" kern="1200" cap="none" spc="0" normalizeH="0" baseline="0" noProof="0">
                <a:ln>
                  <a:noFill/>
                </a:ln>
                <a:solidFill>
                  <a:srgbClr val="63666A"/>
                </a:solidFill>
                <a:effectLst/>
                <a:uLnTx/>
                <a:uFillTx/>
                <a:latin typeface="Arial"/>
                <a:ea typeface="+mn-ea"/>
                <a:cs typeface="+mn-cs"/>
              </a:rPr>
              <a:t> </a:t>
            </a:r>
            <a:r>
              <a:rPr kumimoji="0" lang="en-US" sz="1600" b="0" i="0" u="none" strike="noStrike" kern="1200" cap="none" spc="0" normalizeH="0" baseline="0" noProof="0">
                <a:ln>
                  <a:noFill/>
                </a:ln>
                <a:solidFill>
                  <a:srgbClr val="63666A"/>
                </a:solidFill>
                <a:effectLst/>
                <a:uLnTx/>
                <a:uFillTx/>
                <a:latin typeface="Arial"/>
                <a:ea typeface="+mn-ea"/>
                <a:cs typeface="+mn-cs"/>
              </a:rPr>
              <a:t>to support and maintain business technolog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3666A"/>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Network and infrastruc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Software/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Help des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63666A"/>
                </a:solidFill>
                <a:effectLst/>
                <a:uLnTx/>
                <a:uFillTx/>
                <a:latin typeface="Arial"/>
                <a:ea typeface="+mn-ea"/>
                <a:cs typeface="+mn-cs"/>
              </a:rPr>
              <a:t>Phones</a:t>
            </a:r>
          </a:p>
        </p:txBody>
      </p:sp>
      <p:pic>
        <p:nvPicPr>
          <p:cNvPr id="5" name="Picture 4">
            <a:extLst>
              <a:ext uri="{FF2B5EF4-FFF2-40B4-BE49-F238E27FC236}">
                <a16:creationId xmlns:a16="http://schemas.microsoft.com/office/drawing/2014/main" id="{8F18093C-B5B1-68E1-FE17-BDDF50C3B216}"/>
              </a:ext>
            </a:extLst>
          </p:cNvPr>
          <p:cNvPicPr>
            <a:picLocks noChangeAspect="1"/>
          </p:cNvPicPr>
          <p:nvPr/>
        </p:nvPicPr>
        <p:blipFill>
          <a:blip r:embed="rId3">
            <a:biLevel thresh="25000"/>
          </a:blip>
          <a:stretch>
            <a:fillRect/>
          </a:stretch>
        </p:blipFill>
        <p:spPr>
          <a:xfrm>
            <a:off x="8616748" y="1355914"/>
            <a:ext cx="658769" cy="658769"/>
          </a:xfrm>
          <a:prstGeom prst="rect">
            <a:avLst/>
          </a:prstGeom>
          <a:solidFill>
            <a:schemeClr val="tx2"/>
          </a:solidFill>
        </p:spPr>
      </p:pic>
      <p:pic>
        <p:nvPicPr>
          <p:cNvPr id="20" name="Graphic 86" descr="Close">
            <a:extLst>
              <a:ext uri="{FF2B5EF4-FFF2-40B4-BE49-F238E27FC236}">
                <a16:creationId xmlns:a16="http://schemas.microsoft.com/office/drawing/2014/main" id="{59A38775-A899-6D31-967A-95D2F8B41E46}"/>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478303" y="1355914"/>
            <a:ext cx="569785" cy="569785"/>
          </a:xfrm>
          <a:prstGeom prst="rect">
            <a:avLst/>
          </a:prstGeom>
          <a:solidFill>
            <a:schemeClr val="accent2"/>
          </a:solidFill>
          <a:ln>
            <a:solidFill>
              <a:schemeClr val="accent1"/>
            </a:solidFill>
          </a:ln>
        </p:spPr>
      </p:pic>
      <p:pic>
        <p:nvPicPr>
          <p:cNvPr id="7" name="Picture 6">
            <a:extLst>
              <a:ext uri="{FF2B5EF4-FFF2-40B4-BE49-F238E27FC236}">
                <a16:creationId xmlns:a16="http://schemas.microsoft.com/office/drawing/2014/main" id="{5BA6D8D0-D4C3-68AD-C15A-A18789269987}"/>
              </a:ext>
            </a:extLst>
          </p:cNvPr>
          <p:cNvPicPr>
            <a:picLocks noChangeAspect="1"/>
          </p:cNvPicPr>
          <p:nvPr/>
        </p:nvPicPr>
        <p:blipFill>
          <a:blip r:embed="rId5">
            <a:biLevel thresh="25000"/>
          </a:blip>
          <a:stretch>
            <a:fillRect/>
          </a:stretch>
        </p:blipFill>
        <p:spPr>
          <a:xfrm>
            <a:off x="10273416" y="1374767"/>
            <a:ext cx="548640" cy="548640"/>
          </a:xfrm>
          <a:prstGeom prst="rect">
            <a:avLst/>
          </a:prstGeom>
          <a:solidFill>
            <a:schemeClr val="tx2"/>
          </a:solidFill>
        </p:spPr>
      </p:pic>
    </p:spTree>
    <p:extLst>
      <p:ext uri="{BB962C8B-B14F-4D97-AF65-F5344CB8AC3E}">
        <p14:creationId xmlns:p14="http://schemas.microsoft.com/office/powerpoint/2010/main" val="16579400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itle 1">
            <a:extLst>
              <a:ext uri="{FF2B5EF4-FFF2-40B4-BE49-F238E27FC236}">
                <a16:creationId xmlns:a16="http://schemas.microsoft.com/office/drawing/2014/main" id="{0A6F91E4-DE7A-4C5E-BB8F-117F9F94EF1D}"/>
              </a:ext>
            </a:extLst>
          </p:cNvPr>
          <p:cNvSpPr>
            <a:spLocks noGrp="1"/>
          </p:cNvSpPr>
          <p:nvPr>
            <p:ph type="title"/>
          </p:nvPr>
        </p:nvSpPr>
        <p:spPr>
          <a:xfrm>
            <a:off x="355657" y="490067"/>
            <a:ext cx="10621792" cy="1107996"/>
          </a:xfrm>
        </p:spPr>
        <p:txBody>
          <a:bodyPr/>
          <a:lstStyle/>
          <a:p>
            <a:r>
              <a:rPr lang="en-US"/>
              <a:t>Key Triggers &amp; Drivers</a:t>
            </a:r>
            <a:br>
              <a:rPr lang="en-US"/>
            </a:br>
            <a:endParaRPr lang="en-US"/>
          </a:p>
        </p:txBody>
      </p:sp>
      <p:grpSp>
        <p:nvGrpSpPr>
          <p:cNvPr id="464" name="Group 463">
            <a:extLst>
              <a:ext uri="{FF2B5EF4-FFF2-40B4-BE49-F238E27FC236}">
                <a16:creationId xmlns:a16="http://schemas.microsoft.com/office/drawing/2014/main" id="{8FBBBCA7-C754-0C61-D1E6-F07154D00909}"/>
              </a:ext>
            </a:extLst>
          </p:cNvPr>
          <p:cNvGrpSpPr/>
          <p:nvPr/>
        </p:nvGrpSpPr>
        <p:grpSpPr>
          <a:xfrm rot="5400000">
            <a:off x="5347523" y="2810683"/>
            <a:ext cx="1430892" cy="670952"/>
            <a:chOff x="2251123" y="3755619"/>
            <a:chExt cx="1595297" cy="748042"/>
          </a:xfrm>
        </p:grpSpPr>
        <p:cxnSp>
          <p:nvCxnSpPr>
            <p:cNvPr id="465" name="Straight Connector 464">
              <a:extLst>
                <a:ext uri="{FF2B5EF4-FFF2-40B4-BE49-F238E27FC236}">
                  <a16:creationId xmlns:a16="http://schemas.microsoft.com/office/drawing/2014/main" id="{7A1A9C80-D02F-42EC-4980-0EFE3DDC07D8}"/>
                </a:ext>
              </a:extLst>
            </p:cNvPr>
            <p:cNvCxnSpPr/>
            <p:nvPr/>
          </p:nvCxnSpPr>
          <p:spPr>
            <a:xfrm flipV="1">
              <a:off x="2999232" y="4129640"/>
              <a:ext cx="740448" cy="0"/>
            </a:xfrm>
            <a:prstGeom prst="line">
              <a:avLst/>
            </a:prstGeom>
            <a:ln>
              <a:solidFill>
                <a:srgbClr val="888B8D"/>
              </a:solidFill>
              <a:prstDash val="dash"/>
            </a:ln>
          </p:spPr>
          <p:style>
            <a:lnRef idx="1">
              <a:schemeClr val="accent1"/>
            </a:lnRef>
            <a:fillRef idx="0">
              <a:schemeClr val="accent1"/>
            </a:fillRef>
            <a:effectRef idx="0">
              <a:schemeClr val="accent1"/>
            </a:effectRef>
            <a:fontRef idx="minor">
              <a:schemeClr val="tx1"/>
            </a:fontRef>
          </p:style>
        </p:cxnSp>
        <p:sp>
          <p:nvSpPr>
            <p:cNvPr id="466" name="Oval 465">
              <a:extLst>
                <a:ext uri="{FF2B5EF4-FFF2-40B4-BE49-F238E27FC236}">
                  <a16:creationId xmlns:a16="http://schemas.microsoft.com/office/drawing/2014/main" id="{2627EB5F-3A57-35C7-B00B-1351F3E1979C}"/>
                </a:ext>
              </a:extLst>
            </p:cNvPr>
            <p:cNvSpPr/>
            <p:nvPr/>
          </p:nvSpPr>
          <p:spPr>
            <a:xfrm>
              <a:off x="2251123" y="3755619"/>
              <a:ext cx="749808" cy="7480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7" name="Oval 466">
              <a:extLst>
                <a:ext uri="{FF2B5EF4-FFF2-40B4-BE49-F238E27FC236}">
                  <a16:creationId xmlns:a16="http://schemas.microsoft.com/office/drawing/2014/main" id="{FA78BC3C-3EB8-D8E8-48E8-E7282425D305}"/>
                </a:ext>
              </a:extLst>
            </p:cNvPr>
            <p:cNvSpPr/>
            <p:nvPr/>
          </p:nvSpPr>
          <p:spPr>
            <a:xfrm>
              <a:off x="3572100" y="3992480"/>
              <a:ext cx="274320" cy="274320"/>
            </a:xfrm>
            <a:prstGeom prst="ellipse">
              <a:avLst/>
            </a:prstGeom>
            <a:solidFill>
              <a:schemeClr val="bg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8" name="Oval 467">
              <a:extLst>
                <a:ext uri="{FF2B5EF4-FFF2-40B4-BE49-F238E27FC236}">
                  <a16:creationId xmlns:a16="http://schemas.microsoft.com/office/drawing/2014/main" id="{B0BFE41E-46A0-5DB1-26D8-99EC1743C70B}"/>
                </a:ext>
              </a:extLst>
            </p:cNvPr>
            <p:cNvSpPr/>
            <p:nvPr/>
          </p:nvSpPr>
          <p:spPr>
            <a:xfrm>
              <a:off x="3617820" y="4038200"/>
              <a:ext cx="182880" cy="182880"/>
            </a:xfrm>
            <a:prstGeom prst="ellipse">
              <a:avLst/>
            </a:prstGeom>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cxnSp>
        <p:nvCxnSpPr>
          <p:cNvPr id="469" name="Straight Connector 468">
            <a:extLst>
              <a:ext uri="{FF2B5EF4-FFF2-40B4-BE49-F238E27FC236}">
                <a16:creationId xmlns:a16="http://schemas.microsoft.com/office/drawing/2014/main" id="{4F8E9F8A-251C-4983-3541-5D0E0E1A5BD4}"/>
              </a:ext>
            </a:extLst>
          </p:cNvPr>
          <p:cNvCxnSpPr/>
          <p:nvPr/>
        </p:nvCxnSpPr>
        <p:spPr>
          <a:xfrm flipV="1">
            <a:off x="7596625" y="5323423"/>
            <a:ext cx="3383280" cy="0"/>
          </a:xfrm>
          <a:prstGeom prst="line">
            <a:avLst/>
          </a:prstGeom>
          <a:ln>
            <a:solidFill>
              <a:srgbClr val="888B8D"/>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70" name="Group 469">
            <a:extLst>
              <a:ext uri="{FF2B5EF4-FFF2-40B4-BE49-F238E27FC236}">
                <a16:creationId xmlns:a16="http://schemas.microsoft.com/office/drawing/2014/main" id="{445D310A-1AA2-A6D2-06EC-9F3FB795D4DC}"/>
              </a:ext>
            </a:extLst>
          </p:cNvPr>
          <p:cNvGrpSpPr/>
          <p:nvPr/>
        </p:nvGrpSpPr>
        <p:grpSpPr>
          <a:xfrm>
            <a:off x="3230982" y="4543351"/>
            <a:ext cx="1430892" cy="670952"/>
            <a:chOff x="2251123" y="3755619"/>
            <a:chExt cx="1595297" cy="748042"/>
          </a:xfrm>
        </p:grpSpPr>
        <p:cxnSp>
          <p:nvCxnSpPr>
            <p:cNvPr id="471" name="Straight Connector 470">
              <a:extLst>
                <a:ext uri="{FF2B5EF4-FFF2-40B4-BE49-F238E27FC236}">
                  <a16:creationId xmlns:a16="http://schemas.microsoft.com/office/drawing/2014/main" id="{EFD93EED-393C-1E37-50D6-38FCC125577B}"/>
                </a:ext>
              </a:extLst>
            </p:cNvPr>
            <p:cNvCxnSpPr/>
            <p:nvPr/>
          </p:nvCxnSpPr>
          <p:spPr>
            <a:xfrm flipV="1">
              <a:off x="2999125" y="4120689"/>
              <a:ext cx="740448" cy="0"/>
            </a:xfrm>
            <a:prstGeom prst="line">
              <a:avLst/>
            </a:prstGeom>
            <a:ln>
              <a:solidFill>
                <a:srgbClr val="888B8D"/>
              </a:solidFill>
              <a:prstDash val="dash"/>
            </a:ln>
          </p:spPr>
          <p:style>
            <a:lnRef idx="1">
              <a:schemeClr val="accent1"/>
            </a:lnRef>
            <a:fillRef idx="0">
              <a:schemeClr val="accent1"/>
            </a:fillRef>
            <a:effectRef idx="0">
              <a:schemeClr val="accent1"/>
            </a:effectRef>
            <a:fontRef idx="minor">
              <a:schemeClr val="tx1"/>
            </a:fontRef>
          </p:style>
        </p:cxnSp>
        <p:sp>
          <p:nvSpPr>
            <p:cNvPr id="472" name="Oval 471">
              <a:extLst>
                <a:ext uri="{FF2B5EF4-FFF2-40B4-BE49-F238E27FC236}">
                  <a16:creationId xmlns:a16="http://schemas.microsoft.com/office/drawing/2014/main" id="{269AD63B-FD76-C753-05BF-A8C09AB323CF}"/>
                </a:ext>
              </a:extLst>
            </p:cNvPr>
            <p:cNvSpPr/>
            <p:nvPr/>
          </p:nvSpPr>
          <p:spPr>
            <a:xfrm>
              <a:off x="2251123" y="3755619"/>
              <a:ext cx="749808" cy="7480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3" name="Oval 472">
              <a:extLst>
                <a:ext uri="{FF2B5EF4-FFF2-40B4-BE49-F238E27FC236}">
                  <a16:creationId xmlns:a16="http://schemas.microsoft.com/office/drawing/2014/main" id="{E1FD8C2E-E6B3-267A-BD7F-53DF84905524}"/>
                </a:ext>
              </a:extLst>
            </p:cNvPr>
            <p:cNvSpPr/>
            <p:nvPr/>
          </p:nvSpPr>
          <p:spPr>
            <a:xfrm>
              <a:off x="3572100" y="3992480"/>
              <a:ext cx="274320" cy="274320"/>
            </a:xfrm>
            <a:prstGeom prst="ellipse">
              <a:avLst/>
            </a:prstGeom>
            <a:solidFill>
              <a:schemeClr val="bg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4" name="Oval 473">
              <a:extLst>
                <a:ext uri="{FF2B5EF4-FFF2-40B4-BE49-F238E27FC236}">
                  <a16:creationId xmlns:a16="http://schemas.microsoft.com/office/drawing/2014/main" id="{A34D091A-4D01-A038-4089-C57FDC0845AA}"/>
                </a:ext>
              </a:extLst>
            </p:cNvPr>
            <p:cNvSpPr/>
            <p:nvPr/>
          </p:nvSpPr>
          <p:spPr>
            <a:xfrm>
              <a:off x="3617820" y="4038200"/>
              <a:ext cx="182880" cy="182880"/>
            </a:xfrm>
            <a:prstGeom prst="ellipse">
              <a:avLst/>
            </a:prstGeom>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475" name="Group 474">
            <a:extLst>
              <a:ext uri="{FF2B5EF4-FFF2-40B4-BE49-F238E27FC236}">
                <a16:creationId xmlns:a16="http://schemas.microsoft.com/office/drawing/2014/main" id="{44D86E8A-AF0B-3B4F-A24E-B7E6FB0D5308}"/>
              </a:ext>
            </a:extLst>
          </p:cNvPr>
          <p:cNvGrpSpPr/>
          <p:nvPr/>
        </p:nvGrpSpPr>
        <p:grpSpPr>
          <a:xfrm rot="2373872">
            <a:off x="3547831" y="3676751"/>
            <a:ext cx="1478753" cy="670952"/>
            <a:chOff x="2197763" y="3922917"/>
            <a:chExt cx="1648657" cy="748042"/>
          </a:xfrm>
        </p:grpSpPr>
        <p:cxnSp>
          <p:nvCxnSpPr>
            <p:cNvPr id="476" name="Straight Connector 475">
              <a:extLst>
                <a:ext uri="{FF2B5EF4-FFF2-40B4-BE49-F238E27FC236}">
                  <a16:creationId xmlns:a16="http://schemas.microsoft.com/office/drawing/2014/main" id="{DD624E50-612F-1AEC-32E5-BDA93E6BF2AD}"/>
                </a:ext>
              </a:extLst>
            </p:cNvPr>
            <p:cNvCxnSpPr>
              <a:cxnSpLocks/>
              <a:stCxn id="477" idx="6"/>
            </p:cNvCxnSpPr>
            <p:nvPr/>
          </p:nvCxnSpPr>
          <p:spPr>
            <a:xfrm rot="19226128">
              <a:off x="2985024" y="4025509"/>
              <a:ext cx="717202" cy="375560"/>
            </a:xfrm>
            <a:prstGeom prst="line">
              <a:avLst/>
            </a:prstGeom>
            <a:ln>
              <a:solidFill>
                <a:srgbClr val="888B8D"/>
              </a:solidFill>
              <a:prstDash val="dash"/>
            </a:ln>
          </p:spPr>
          <p:style>
            <a:lnRef idx="1">
              <a:schemeClr val="accent1"/>
            </a:lnRef>
            <a:fillRef idx="0">
              <a:schemeClr val="accent1"/>
            </a:fillRef>
            <a:effectRef idx="0">
              <a:schemeClr val="accent1"/>
            </a:effectRef>
            <a:fontRef idx="minor">
              <a:schemeClr val="tx1"/>
            </a:fontRef>
          </p:style>
        </p:cxnSp>
        <p:sp>
          <p:nvSpPr>
            <p:cNvPr id="477" name="Oval 476">
              <a:extLst>
                <a:ext uri="{FF2B5EF4-FFF2-40B4-BE49-F238E27FC236}">
                  <a16:creationId xmlns:a16="http://schemas.microsoft.com/office/drawing/2014/main" id="{625AAB2C-4A3C-59F3-39C5-55E02E511190}"/>
                </a:ext>
              </a:extLst>
            </p:cNvPr>
            <p:cNvSpPr/>
            <p:nvPr/>
          </p:nvSpPr>
          <p:spPr>
            <a:xfrm>
              <a:off x="2197763" y="3922917"/>
              <a:ext cx="749808" cy="7480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8" name="Oval 477">
              <a:extLst>
                <a:ext uri="{FF2B5EF4-FFF2-40B4-BE49-F238E27FC236}">
                  <a16:creationId xmlns:a16="http://schemas.microsoft.com/office/drawing/2014/main" id="{D9FD4435-F892-B2B7-81BE-79F6009BF9F8}"/>
                </a:ext>
              </a:extLst>
            </p:cNvPr>
            <p:cNvSpPr/>
            <p:nvPr/>
          </p:nvSpPr>
          <p:spPr>
            <a:xfrm>
              <a:off x="3572100" y="3992480"/>
              <a:ext cx="274320" cy="274320"/>
            </a:xfrm>
            <a:prstGeom prst="ellipse">
              <a:avLst/>
            </a:prstGeom>
            <a:solidFill>
              <a:schemeClr val="bg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9" name="Oval 478">
              <a:extLst>
                <a:ext uri="{FF2B5EF4-FFF2-40B4-BE49-F238E27FC236}">
                  <a16:creationId xmlns:a16="http://schemas.microsoft.com/office/drawing/2014/main" id="{93CE08B6-CF7D-6DFB-D675-8BE01AAAD2A3}"/>
                </a:ext>
              </a:extLst>
            </p:cNvPr>
            <p:cNvSpPr/>
            <p:nvPr/>
          </p:nvSpPr>
          <p:spPr>
            <a:xfrm>
              <a:off x="3617820" y="4038200"/>
              <a:ext cx="182880" cy="182880"/>
            </a:xfrm>
            <a:prstGeom prst="ellipse">
              <a:avLst/>
            </a:prstGeom>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486" name="TextBox 485">
            <a:extLst>
              <a:ext uri="{FF2B5EF4-FFF2-40B4-BE49-F238E27FC236}">
                <a16:creationId xmlns:a16="http://schemas.microsoft.com/office/drawing/2014/main" id="{8FADBE90-29FC-6C20-C183-5B39E7A254D2}"/>
              </a:ext>
            </a:extLst>
          </p:cNvPr>
          <p:cNvSpPr txBox="1"/>
          <p:nvPr/>
        </p:nvSpPr>
        <p:spPr>
          <a:xfrm>
            <a:off x="0" y="3400943"/>
            <a:ext cx="3925602"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cap="small">
                <a:solidFill>
                  <a:srgbClr val="009CDE"/>
                </a:solidFill>
                <a:latin typeface="Arial" panose="020B0604020202020204"/>
              </a:rPr>
              <a:t>Budget Constraints &amp; Cost Volatility</a:t>
            </a:r>
            <a:endParaRPr lang="en-US" sz="1600">
              <a:solidFill>
                <a:srgbClr val="595959"/>
              </a:solidFill>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Need for predictable </a:t>
            </a:r>
            <a:r>
              <a:rPr lang="en-US" sz="1000" err="1"/>
              <a:t>OpEx</a:t>
            </a:r>
            <a:r>
              <a:rPr lang="en-US" sz="1000"/>
              <a:t> models instead of large </a:t>
            </a:r>
            <a:r>
              <a:rPr lang="en-US" sz="1000" err="1"/>
              <a:t>CapEx</a:t>
            </a:r>
            <a:r>
              <a:rPr lang="en-US" sz="1000"/>
              <a:t> outlays.</a:t>
            </a:r>
          </a:p>
          <a:p>
            <a:pPr marL="171450" lvl="0" indent="-171450">
              <a:buFont typeface="Arial" panose="020B0604020202020204" pitchFamily="34" charset="0"/>
              <a:buChar char="•"/>
              <a:defRPr/>
            </a:pPr>
            <a:r>
              <a:rPr lang="en-US" sz="1000"/>
              <a:t>Budget constraints are constant</a:t>
            </a:r>
          </a:p>
        </p:txBody>
      </p:sp>
      <p:grpSp>
        <p:nvGrpSpPr>
          <p:cNvPr id="490" name="Group 489">
            <a:extLst>
              <a:ext uri="{FF2B5EF4-FFF2-40B4-BE49-F238E27FC236}">
                <a16:creationId xmlns:a16="http://schemas.microsoft.com/office/drawing/2014/main" id="{C9708BA4-F287-C21D-09A4-A964BBA26D82}"/>
              </a:ext>
            </a:extLst>
          </p:cNvPr>
          <p:cNvGrpSpPr/>
          <p:nvPr/>
        </p:nvGrpSpPr>
        <p:grpSpPr>
          <a:xfrm rot="19865961" flipH="1">
            <a:off x="7072492" y="3729024"/>
            <a:ext cx="1430892" cy="670952"/>
            <a:chOff x="2251123" y="3755619"/>
            <a:chExt cx="1595297" cy="748042"/>
          </a:xfrm>
        </p:grpSpPr>
        <p:cxnSp>
          <p:nvCxnSpPr>
            <p:cNvPr id="491" name="Straight Connector 490">
              <a:extLst>
                <a:ext uri="{FF2B5EF4-FFF2-40B4-BE49-F238E27FC236}">
                  <a16:creationId xmlns:a16="http://schemas.microsoft.com/office/drawing/2014/main" id="{51BB1994-74DC-91D4-2665-EA49AE9DB828}"/>
                </a:ext>
              </a:extLst>
            </p:cNvPr>
            <p:cNvCxnSpPr/>
            <p:nvPr/>
          </p:nvCxnSpPr>
          <p:spPr>
            <a:xfrm flipV="1">
              <a:off x="2999125" y="4120689"/>
              <a:ext cx="740448" cy="0"/>
            </a:xfrm>
            <a:prstGeom prst="line">
              <a:avLst/>
            </a:prstGeom>
            <a:ln>
              <a:solidFill>
                <a:srgbClr val="888B8D"/>
              </a:solidFill>
              <a:prstDash val="dash"/>
            </a:ln>
          </p:spPr>
          <p:style>
            <a:lnRef idx="1">
              <a:schemeClr val="accent1"/>
            </a:lnRef>
            <a:fillRef idx="0">
              <a:schemeClr val="accent1"/>
            </a:fillRef>
            <a:effectRef idx="0">
              <a:schemeClr val="accent1"/>
            </a:effectRef>
            <a:fontRef idx="minor">
              <a:schemeClr val="tx1"/>
            </a:fontRef>
          </p:style>
        </p:cxnSp>
        <p:sp>
          <p:nvSpPr>
            <p:cNvPr id="492" name="Oval 491">
              <a:extLst>
                <a:ext uri="{FF2B5EF4-FFF2-40B4-BE49-F238E27FC236}">
                  <a16:creationId xmlns:a16="http://schemas.microsoft.com/office/drawing/2014/main" id="{A6350B78-83D9-7272-CFCC-5F3104BBE2B3}"/>
                </a:ext>
              </a:extLst>
            </p:cNvPr>
            <p:cNvSpPr/>
            <p:nvPr/>
          </p:nvSpPr>
          <p:spPr>
            <a:xfrm>
              <a:off x="2251123" y="3755619"/>
              <a:ext cx="749808" cy="7480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3" name="Oval 492">
              <a:extLst>
                <a:ext uri="{FF2B5EF4-FFF2-40B4-BE49-F238E27FC236}">
                  <a16:creationId xmlns:a16="http://schemas.microsoft.com/office/drawing/2014/main" id="{AEBB03F9-3FD6-2844-87DB-1FC87F2F7CF2}"/>
                </a:ext>
              </a:extLst>
            </p:cNvPr>
            <p:cNvSpPr/>
            <p:nvPr/>
          </p:nvSpPr>
          <p:spPr>
            <a:xfrm>
              <a:off x="3572100" y="3992480"/>
              <a:ext cx="274320" cy="274320"/>
            </a:xfrm>
            <a:prstGeom prst="ellipse">
              <a:avLst/>
            </a:prstGeom>
            <a:solidFill>
              <a:schemeClr val="bg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4" name="Oval 493">
              <a:extLst>
                <a:ext uri="{FF2B5EF4-FFF2-40B4-BE49-F238E27FC236}">
                  <a16:creationId xmlns:a16="http://schemas.microsoft.com/office/drawing/2014/main" id="{BB0F2615-E6C0-21F9-3E80-1330DF370880}"/>
                </a:ext>
              </a:extLst>
            </p:cNvPr>
            <p:cNvSpPr/>
            <p:nvPr/>
          </p:nvSpPr>
          <p:spPr>
            <a:xfrm>
              <a:off x="3617820" y="4038200"/>
              <a:ext cx="182880" cy="182880"/>
            </a:xfrm>
            <a:prstGeom prst="ellipse">
              <a:avLst/>
            </a:prstGeom>
            <a:solidFill>
              <a:schemeClr val="accent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495" name="Group 494">
            <a:extLst>
              <a:ext uri="{FF2B5EF4-FFF2-40B4-BE49-F238E27FC236}">
                <a16:creationId xmlns:a16="http://schemas.microsoft.com/office/drawing/2014/main" id="{408C7F2E-591F-F005-2D25-B04DF31369C1}"/>
              </a:ext>
            </a:extLst>
          </p:cNvPr>
          <p:cNvGrpSpPr>
            <a:grpSpLocks noChangeAspect="1"/>
          </p:cNvGrpSpPr>
          <p:nvPr/>
        </p:nvGrpSpPr>
        <p:grpSpPr>
          <a:xfrm>
            <a:off x="3343551" y="4748930"/>
            <a:ext cx="457200" cy="330168"/>
            <a:chOff x="3485173" y="3947820"/>
            <a:chExt cx="629130" cy="454327"/>
          </a:xfrm>
        </p:grpSpPr>
        <p:sp>
          <p:nvSpPr>
            <p:cNvPr id="496" name="object 386">
              <a:extLst>
                <a:ext uri="{FF2B5EF4-FFF2-40B4-BE49-F238E27FC236}">
                  <a16:creationId xmlns:a16="http://schemas.microsoft.com/office/drawing/2014/main" id="{B01C4140-531F-A294-A885-403A2F79A790}"/>
                </a:ext>
              </a:extLst>
            </p:cNvPr>
            <p:cNvSpPr/>
            <p:nvPr/>
          </p:nvSpPr>
          <p:spPr>
            <a:xfrm>
              <a:off x="3498142"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497" name="object 387">
              <a:extLst>
                <a:ext uri="{FF2B5EF4-FFF2-40B4-BE49-F238E27FC236}">
                  <a16:creationId xmlns:a16="http://schemas.microsoft.com/office/drawing/2014/main" id="{D624E497-69AC-96B0-51E0-0DF03DD39231}"/>
                </a:ext>
              </a:extLst>
            </p:cNvPr>
            <p:cNvSpPr/>
            <p:nvPr/>
          </p:nvSpPr>
          <p:spPr>
            <a:xfrm>
              <a:off x="3526885"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498" name="object 388">
              <a:extLst>
                <a:ext uri="{FF2B5EF4-FFF2-40B4-BE49-F238E27FC236}">
                  <a16:creationId xmlns:a16="http://schemas.microsoft.com/office/drawing/2014/main" id="{725749D2-B83B-E800-B944-7178EA8AB8BD}"/>
                </a:ext>
              </a:extLst>
            </p:cNvPr>
            <p:cNvSpPr/>
            <p:nvPr/>
          </p:nvSpPr>
          <p:spPr>
            <a:xfrm>
              <a:off x="3584394"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499" name="object 389">
              <a:extLst>
                <a:ext uri="{FF2B5EF4-FFF2-40B4-BE49-F238E27FC236}">
                  <a16:creationId xmlns:a16="http://schemas.microsoft.com/office/drawing/2014/main" id="{65496C02-E40E-0041-7B62-58CFAC5A784B}"/>
                </a:ext>
              </a:extLst>
            </p:cNvPr>
            <p:cNvSpPr/>
            <p:nvPr/>
          </p:nvSpPr>
          <p:spPr>
            <a:xfrm>
              <a:off x="3613143"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0" name="object 390">
              <a:extLst>
                <a:ext uri="{FF2B5EF4-FFF2-40B4-BE49-F238E27FC236}">
                  <a16:creationId xmlns:a16="http://schemas.microsoft.com/office/drawing/2014/main" id="{9FA44CE2-6ADD-E5D3-3770-F18EFA4B7EED}"/>
                </a:ext>
              </a:extLst>
            </p:cNvPr>
            <p:cNvSpPr/>
            <p:nvPr/>
          </p:nvSpPr>
          <p:spPr>
            <a:xfrm>
              <a:off x="3641910"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1" name="object 391">
              <a:extLst>
                <a:ext uri="{FF2B5EF4-FFF2-40B4-BE49-F238E27FC236}">
                  <a16:creationId xmlns:a16="http://schemas.microsoft.com/office/drawing/2014/main" id="{B8ADC83F-05EE-6F76-70AA-BF195E061766}"/>
                </a:ext>
              </a:extLst>
            </p:cNvPr>
            <p:cNvSpPr/>
            <p:nvPr/>
          </p:nvSpPr>
          <p:spPr>
            <a:xfrm>
              <a:off x="3699414"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2" name="object 392">
              <a:extLst>
                <a:ext uri="{FF2B5EF4-FFF2-40B4-BE49-F238E27FC236}">
                  <a16:creationId xmlns:a16="http://schemas.microsoft.com/office/drawing/2014/main" id="{CD388891-A209-78D6-BBBE-6AE9679E7465}"/>
                </a:ext>
              </a:extLst>
            </p:cNvPr>
            <p:cNvSpPr/>
            <p:nvPr/>
          </p:nvSpPr>
          <p:spPr>
            <a:xfrm>
              <a:off x="3728163"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3" name="object 393">
              <a:extLst>
                <a:ext uri="{FF2B5EF4-FFF2-40B4-BE49-F238E27FC236}">
                  <a16:creationId xmlns:a16="http://schemas.microsoft.com/office/drawing/2014/main" id="{8885487C-3A8D-2C11-DE34-4CFF7F0D7D1B}"/>
                </a:ext>
              </a:extLst>
            </p:cNvPr>
            <p:cNvSpPr/>
            <p:nvPr/>
          </p:nvSpPr>
          <p:spPr>
            <a:xfrm>
              <a:off x="3756930"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4" name="object 394">
              <a:extLst>
                <a:ext uri="{FF2B5EF4-FFF2-40B4-BE49-F238E27FC236}">
                  <a16:creationId xmlns:a16="http://schemas.microsoft.com/office/drawing/2014/main" id="{4BD8A5D9-EB49-7DDB-65C7-7C9B2BB8B55E}"/>
                </a:ext>
              </a:extLst>
            </p:cNvPr>
            <p:cNvSpPr/>
            <p:nvPr/>
          </p:nvSpPr>
          <p:spPr>
            <a:xfrm>
              <a:off x="3785666"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5" name="object 395">
              <a:extLst>
                <a:ext uri="{FF2B5EF4-FFF2-40B4-BE49-F238E27FC236}">
                  <a16:creationId xmlns:a16="http://schemas.microsoft.com/office/drawing/2014/main" id="{9C2D5BC9-4E04-E578-F8F6-C80B2EA8636F}"/>
                </a:ext>
              </a:extLst>
            </p:cNvPr>
            <p:cNvSpPr/>
            <p:nvPr/>
          </p:nvSpPr>
          <p:spPr>
            <a:xfrm>
              <a:off x="3814427"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6" name="object 396">
              <a:extLst>
                <a:ext uri="{FF2B5EF4-FFF2-40B4-BE49-F238E27FC236}">
                  <a16:creationId xmlns:a16="http://schemas.microsoft.com/office/drawing/2014/main" id="{F7F7EE9A-714E-0F61-EFC2-F07EC9FCBDE7}"/>
                </a:ext>
              </a:extLst>
            </p:cNvPr>
            <p:cNvSpPr/>
            <p:nvPr/>
          </p:nvSpPr>
          <p:spPr>
            <a:xfrm>
              <a:off x="3871931"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7" name="object 397">
              <a:extLst>
                <a:ext uri="{FF2B5EF4-FFF2-40B4-BE49-F238E27FC236}">
                  <a16:creationId xmlns:a16="http://schemas.microsoft.com/office/drawing/2014/main" id="{C7ADB2B7-BB75-4713-FC0E-A7BEC62869D4}"/>
                </a:ext>
              </a:extLst>
            </p:cNvPr>
            <p:cNvSpPr/>
            <p:nvPr/>
          </p:nvSpPr>
          <p:spPr>
            <a:xfrm>
              <a:off x="3929434"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8" name="object 398">
              <a:extLst>
                <a:ext uri="{FF2B5EF4-FFF2-40B4-BE49-F238E27FC236}">
                  <a16:creationId xmlns:a16="http://schemas.microsoft.com/office/drawing/2014/main" id="{D7AF70E1-F3BB-AA36-D226-4B021B359D38}"/>
                </a:ext>
              </a:extLst>
            </p:cNvPr>
            <p:cNvSpPr/>
            <p:nvPr/>
          </p:nvSpPr>
          <p:spPr>
            <a:xfrm>
              <a:off x="3958195"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09" name="object 399">
              <a:extLst>
                <a:ext uri="{FF2B5EF4-FFF2-40B4-BE49-F238E27FC236}">
                  <a16:creationId xmlns:a16="http://schemas.microsoft.com/office/drawing/2014/main" id="{3FAD3344-6CAA-9881-BB84-DF5EA605FD42}"/>
                </a:ext>
              </a:extLst>
            </p:cNvPr>
            <p:cNvSpPr/>
            <p:nvPr/>
          </p:nvSpPr>
          <p:spPr>
            <a:xfrm>
              <a:off x="4015699"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0" name="object 400">
              <a:extLst>
                <a:ext uri="{FF2B5EF4-FFF2-40B4-BE49-F238E27FC236}">
                  <a16:creationId xmlns:a16="http://schemas.microsoft.com/office/drawing/2014/main" id="{3EF801F3-073C-6636-1C95-1B0C4057C2AD}"/>
                </a:ext>
              </a:extLst>
            </p:cNvPr>
            <p:cNvSpPr/>
            <p:nvPr/>
          </p:nvSpPr>
          <p:spPr>
            <a:xfrm>
              <a:off x="4044466"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1" name="object 401">
              <a:extLst>
                <a:ext uri="{FF2B5EF4-FFF2-40B4-BE49-F238E27FC236}">
                  <a16:creationId xmlns:a16="http://schemas.microsoft.com/office/drawing/2014/main" id="{794EAECD-06C1-E0A8-5512-2DABA6DE7AD6}"/>
                </a:ext>
              </a:extLst>
            </p:cNvPr>
            <p:cNvSpPr/>
            <p:nvPr/>
          </p:nvSpPr>
          <p:spPr>
            <a:xfrm>
              <a:off x="4073195"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2" name="object 402">
              <a:extLst>
                <a:ext uri="{FF2B5EF4-FFF2-40B4-BE49-F238E27FC236}">
                  <a16:creationId xmlns:a16="http://schemas.microsoft.com/office/drawing/2014/main" id="{894D9FE4-00BD-1B3F-E906-9A2303F56AB9}"/>
                </a:ext>
              </a:extLst>
            </p:cNvPr>
            <p:cNvSpPr/>
            <p:nvPr/>
          </p:nvSpPr>
          <p:spPr>
            <a:xfrm>
              <a:off x="4101963" y="3947820"/>
              <a:ext cx="0" cy="351790"/>
            </a:xfrm>
            <a:custGeom>
              <a:avLst/>
              <a:gdLst/>
              <a:ahLst/>
              <a:cxnLst/>
              <a:rect l="l" t="t" r="r" b="b"/>
              <a:pathLst>
                <a:path h="351789">
                  <a:moveTo>
                    <a:pt x="0" y="0"/>
                  </a:moveTo>
                  <a:lnTo>
                    <a:pt x="0" y="35179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3" name="object 403">
              <a:extLst>
                <a:ext uri="{FF2B5EF4-FFF2-40B4-BE49-F238E27FC236}">
                  <a16:creationId xmlns:a16="http://schemas.microsoft.com/office/drawing/2014/main" id="{7B8D7AA1-1E6B-B0B6-5D63-EF8163B0F5A6}"/>
                </a:ext>
              </a:extLst>
            </p:cNvPr>
            <p:cNvSpPr/>
            <p:nvPr/>
          </p:nvSpPr>
          <p:spPr>
            <a:xfrm>
              <a:off x="3485173" y="4321502"/>
              <a:ext cx="57150" cy="80645"/>
            </a:xfrm>
            <a:custGeom>
              <a:avLst/>
              <a:gdLst/>
              <a:ahLst/>
              <a:cxnLst/>
              <a:rect l="l" t="t" r="r" b="b"/>
              <a:pathLst>
                <a:path w="57150" h="80645">
                  <a:moveTo>
                    <a:pt x="28282" y="0"/>
                  </a:moveTo>
                  <a:lnTo>
                    <a:pt x="14257" y="3111"/>
                  </a:lnTo>
                  <a:lnTo>
                    <a:pt x="5602" y="11603"/>
                  </a:lnTo>
                  <a:lnTo>
                    <a:pt x="1217" y="24211"/>
                  </a:lnTo>
                  <a:lnTo>
                    <a:pt x="0" y="39674"/>
                  </a:lnTo>
                  <a:lnTo>
                    <a:pt x="1217" y="55412"/>
                  </a:lnTo>
                  <a:lnTo>
                    <a:pt x="5602" y="68403"/>
                  </a:lnTo>
                  <a:lnTo>
                    <a:pt x="14257" y="77234"/>
                  </a:lnTo>
                  <a:lnTo>
                    <a:pt x="28282" y="80492"/>
                  </a:lnTo>
                  <a:lnTo>
                    <a:pt x="42310" y="77234"/>
                  </a:lnTo>
                  <a:lnTo>
                    <a:pt x="49377" y="70027"/>
                  </a:lnTo>
                  <a:lnTo>
                    <a:pt x="28282" y="70027"/>
                  </a:lnTo>
                  <a:lnTo>
                    <a:pt x="20905" y="67547"/>
                  </a:lnTo>
                  <a:lnTo>
                    <a:pt x="16327" y="60885"/>
                  </a:lnTo>
                  <a:lnTo>
                    <a:pt x="13990" y="51205"/>
                  </a:lnTo>
                  <a:lnTo>
                    <a:pt x="13335" y="39674"/>
                  </a:lnTo>
                  <a:lnTo>
                    <a:pt x="13990" y="28311"/>
                  </a:lnTo>
                  <a:lnTo>
                    <a:pt x="16327" y="19026"/>
                  </a:lnTo>
                  <a:lnTo>
                    <a:pt x="20905" y="12762"/>
                  </a:lnTo>
                  <a:lnTo>
                    <a:pt x="28282" y="10464"/>
                  </a:lnTo>
                  <a:lnTo>
                    <a:pt x="49809" y="10464"/>
                  </a:lnTo>
                  <a:lnTo>
                    <a:pt x="42310" y="3111"/>
                  </a:lnTo>
                  <a:lnTo>
                    <a:pt x="28282" y="0"/>
                  </a:lnTo>
                  <a:close/>
                </a:path>
                <a:path w="57150" h="80645">
                  <a:moveTo>
                    <a:pt x="49809" y="10464"/>
                  </a:moveTo>
                  <a:lnTo>
                    <a:pt x="28282" y="10464"/>
                  </a:lnTo>
                  <a:lnTo>
                    <a:pt x="35665" y="12762"/>
                  </a:lnTo>
                  <a:lnTo>
                    <a:pt x="40243" y="19026"/>
                  </a:lnTo>
                  <a:lnTo>
                    <a:pt x="42577" y="28311"/>
                  </a:lnTo>
                  <a:lnTo>
                    <a:pt x="43230" y="39674"/>
                  </a:lnTo>
                  <a:lnTo>
                    <a:pt x="42577" y="51205"/>
                  </a:lnTo>
                  <a:lnTo>
                    <a:pt x="40243" y="60885"/>
                  </a:lnTo>
                  <a:lnTo>
                    <a:pt x="35665" y="67547"/>
                  </a:lnTo>
                  <a:lnTo>
                    <a:pt x="28282" y="70027"/>
                  </a:lnTo>
                  <a:lnTo>
                    <a:pt x="49377" y="70027"/>
                  </a:lnTo>
                  <a:lnTo>
                    <a:pt x="50969" y="68403"/>
                  </a:lnTo>
                  <a:lnTo>
                    <a:pt x="55359" y="55412"/>
                  </a:lnTo>
                  <a:lnTo>
                    <a:pt x="56578" y="39674"/>
                  </a:lnTo>
                  <a:lnTo>
                    <a:pt x="55359" y="24211"/>
                  </a:lnTo>
                  <a:lnTo>
                    <a:pt x="50969" y="11603"/>
                  </a:lnTo>
                  <a:lnTo>
                    <a:pt x="49809" y="10464"/>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4" name="object 404">
              <a:extLst>
                <a:ext uri="{FF2B5EF4-FFF2-40B4-BE49-F238E27FC236}">
                  <a16:creationId xmlns:a16="http://schemas.microsoft.com/office/drawing/2014/main" id="{C378CA55-7B79-CFD8-9005-A3FEB6BF57D8}"/>
                </a:ext>
              </a:extLst>
            </p:cNvPr>
            <p:cNvSpPr/>
            <p:nvPr/>
          </p:nvSpPr>
          <p:spPr>
            <a:xfrm>
              <a:off x="3549820" y="4322076"/>
              <a:ext cx="34290" cy="79375"/>
            </a:xfrm>
            <a:custGeom>
              <a:avLst/>
              <a:gdLst/>
              <a:ahLst/>
              <a:cxnLst/>
              <a:rect l="l" t="t" r="r" b="b"/>
              <a:pathLst>
                <a:path w="34289" h="79375">
                  <a:moveTo>
                    <a:pt x="33693" y="15062"/>
                  </a:moveTo>
                  <a:lnTo>
                    <a:pt x="21043" y="15062"/>
                  </a:lnTo>
                  <a:lnTo>
                    <a:pt x="21043" y="78765"/>
                  </a:lnTo>
                  <a:lnTo>
                    <a:pt x="33693" y="78765"/>
                  </a:lnTo>
                  <a:lnTo>
                    <a:pt x="33693" y="15062"/>
                  </a:lnTo>
                  <a:close/>
                </a:path>
                <a:path w="34289" h="79375">
                  <a:moveTo>
                    <a:pt x="33693" y="0"/>
                  </a:moveTo>
                  <a:lnTo>
                    <a:pt x="24485" y="0"/>
                  </a:lnTo>
                  <a:lnTo>
                    <a:pt x="19466" y="3537"/>
                  </a:lnTo>
                  <a:lnTo>
                    <a:pt x="13452" y="7002"/>
                  </a:lnTo>
                  <a:lnTo>
                    <a:pt x="6833" y="10274"/>
                  </a:lnTo>
                  <a:lnTo>
                    <a:pt x="0" y="13233"/>
                  </a:lnTo>
                  <a:lnTo>
                    <a:pt x="3327" y="23685"/>
                  </a:lnTo>
                  <a:lnTo>
                    <a:pt x="21043" y="15062"/>
                  </a:lnTo>
                  <a:lnTo>
                    <a:pt x="33693" y="15062"/>
                  </a:lnTo>
                  <a:lnTo>
                    <a:pt x="33693" y="0"/>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5" name="object 405">
              <a:extLst>
                <a:ext uri="{FF2B5EF4-FFF2-40B4-BE49-F238E27FC236}">
                  <a16:creationId xmlns:a16="http://schemas.microsoft.com/office/drawing/2014/main" id="{08D77F9C-4842-8CEA-FD05-E77FA43CA2AC}"/>
                </a:ext>
              </a:extLst>
            </p:cNvPr>
            <p:cNvSpPr/>
            <p:nvPr/>
          </p:nvSpPr>
          <p:spPr>
            <a:xfrm>
              <a:off x="3592936" y="4322076"/>
              <a:ext cx="34290" cy="79375"/>
            </a:xfrm>
            <a:custGeom>
              <a:avLst/>
              <a:gdLst/>
              <a:ahLst/>
              <a:cxnLst/>
              <a:rect l="l" t="t" r="r" b="b"/>
              <a:pathLst>
                <a:path w="34289" h="79375">
                  <a:moveTo>
                    <a:pt x="33680" y="15062"/>
                  </a:moveTo>
                  <a:lnTo>
                    <a:pt x="21043" y="15062"/>
                  </a:lnTo>
                  <a:lnTo>
                    <a:pt x="21043" y="78765"/>
                  </a:lnTo>
                  <a:lnTo>
                    <a:pt x="33680" y="78765"/>
                  </a:lnTo>
                  <a:lnTo>
                    <a:pt x="33680" y="15062"/>
                  </a:lnTo>
                  <a:close/>
                </a:path>
                <a:path w="34289" h="79375">
                  <a:moveTo>
                    <a:pt x="33680" y="0"/>
                  </a:moveTo>
                  <a:lnTo>
                    <a:pt x="24485" y="0"/>
                  </a:lnTo>
                  <a:lnTo>
                    <a:pt x="19459" y="3537"/>
                  </a:lnTo>
                  <a:lnTo>
                    <a:pt x="13442" y="7002"/>
                  </a:lnTo>
                  <a:lnTo>
                    <a:pt x="6826" y="10274"/>
                  </a:lnTo>
                  <a:lnTo>
                    <a:pt x="0" y="13233"/>
                  </a:lnTo>
                  <a:lnTo>
                    <a:pt x="3327" y="23685"/>
                  </a:lnTo>
                  <a:lnTo>
                    <a:pt x="21043" y="15062"/>
                  </a:lnTo>
                  <a:lnTo>
                    <a:pt x="33680" y="15062"/>
                  </a:lnTo>
                  <a:lnTo>
                    <a:pt x="33680" y="0"/>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6" name="object 406">
              <a:extLst>
                <a:ext uri="{FF2B5EF4-FFF2-40B4-BE49-F238E27FC236}">
                  <a16:creationId xmlns:a16="http://schemas.microsoft.com/office/drawing/2014/main" id="{8E1529F4-2DB7-B2CE-A9C3-26A7E1E86965}"/>
                </a:ext>
              </a:extLst>
            </p:cNvPr>
            <p:cNvSpPr/>
            <p:nvPr/>
          </p:nvSpPr>
          <p:spPr>
            <a:xfrm>
              <a:off x="3636072" y="4322076"/>
              <a:ext cx="34290" cy="79375"/>
            </a:xfrm>
            <a:custGeom>
              <a:avLst/>
              <a:gdLst/>
              <a:ahLst/>
              <a:cxnLst/>
              <a:rect l="l" t="t" r="r" b="b"/>
              <a:pathLst>
                <a:path w="34289" h="79375">
                  <a:moveTo>
                    <a:pt x="33680" y="15062"/>
                  </a:moveTo>
                  <a:lnTo>
                    <a:pt x="21043" y="15062"/>
                  </a:lnTo>
                  <a:lnTo>
                    <a:pt x="21043" y="78765"/>
                  </a:lnTo>
                  <a:lnTo>
                    <a:pt x="33680" y="78765"/>
                  </a:lnTo>
                  <a:lnTo>
                    <a:pt x="33680" y="15062"/>
                  </a:lnTo>
                  <a:close/>
                </a:path>
                <a:path w="34289" h="79375">
                  <a:moveTo>
                    <a:pt x="33680" y="0"/>
                  </a:moveTo>
                  <a:lnTo>
                    <a:pt x="24485" y="0"/>
                  </a:lnTo>
                  <a:lnTo>
                    <a:pt x="19459" y="3537"/>
                  </a:lnTo>
                  <a:lnTo>
                    <a:pt x="13442" y="7002"/>
                  </a:lnTo>
                  <a:lnTo>
                    <a:pt x="6826" y="10274"/>
                  </a:lnTo>
                  <a:lnTo>
                    <a:pt x="0" y="13233"/>
                  </a:lnTo>
                  <a:lnTo>
                    <a:pt x="3327" y="23685"/>
                  </a:lnTo>
                  <a:lnTo>
                    <a:pt x="21043" y="15062"/>
                  </a:lnTo>
                  <a:lnTo>
                    <a:pt x="33680" y="15062"/>
                  </a:lnTo>
                  <a:lnTo>
                    <a:pt x="33680" y="0"/>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7" name="object 407">
              <a:extLst>
                <a:ext uri="{FF2B5EF4-FFF2-40B4-BE49-F238E27FC236}">
                  <a16:creationId xmlns:a16="http://schemas.microsoft.com/office/drawing/2014/main" id="{B2C26E27-39FC-240F-BB5F-6ADEA16174FB}"/>
                </a:ext>
              </a:extLst>
            </p:cNvPr>
            <p:cNvSpPr/>
            <p:nvPr/>
          </p:nvSpPr>
          <p:spPr>
            <a:xfrm>
              <a:off x="3682414" y="4321502"/>
              <a:ext cx="57150" cy="80645"/>
            </a:xfrm>
            <a:custGeom>
              <a:avLst/>
              <a:gdLst/>
              <a:ahLst/>
              <a:cxnLst/>
              <a:rect l="l" t="t" r="r" b="b"/>
              <a:pathLst>
                <a:path w="57150" h="80645">
                  <a:moveTo>
                    <a:pt x="28282" y="0"/>
                  </a:moveTo>
                  <a:lnTo>
                    <a:pt x="14257" y="3111"/>
                  </a:lnTo>
                  <a:lnTo>
                    <a:pt x="5602" y="11603"/>
                  </a:lnTo>
                  <a:lnTo>
                    <a:pt x="1217" y="24211"/>
                  </a:lnTo>
                  <a:lnTo>
                    <a:pt x="0" y="39674"/>
                  </a:lnTo>
                  <a:lnTo>
                    <a:pt x="1217" y="55412"/>
                  </a:lnTo>
                  <a:lnTo>
                    <a:pt x="5602" y="68403"/>
                  </a:lnTo>
                  <a:lnTo>
                    <a:pt x="14257" y="77234"/>
                  </a:lnTo>
                  <a:lnTo>
                    <a:pt x="28282" y="80492"/>
                  </a:lnTo>
                  <a:lnTo>
                    <a:pt x="42312" y="77234"/>
                  </a:lnTo>
                  <a:lnTo>
                    <a:pt x="49382" y="70027"/>
                  </a:lnTo>
                  <a:lnTo>
                    <a:pt x="28282" y="70027"/>
                  </a:lnTo>
                  <a:lnTo>
                    <a:pt x="20905" y="67547"/>
                  </a:lnTo>
                  <a:lnTo>
                    <a:pt x="16327" y="60885"/>
                  </a:lnTo>
                  <a:lnTo>
                    <a:pt x="13990" y="51205"/>
                  </a:lnTo>
                  <a:lnTo>
                    <a:pt x="13335" y="39674"/>
                  </a:lnTo>
                  <a:lnTo>
                    <a:pt x="13990" y="28311"/>
                  </a:lnTo>
                  <a:lnTo>
                    <a:pt x="16327" y="19026"/>
                  </a:lnTo>
                  <a:lnTo>
                    <a:pt x="20905" y="12762"/>
                  </a:lnTo>
                  <a:lnTo>
                    <a:pt x="28282" y="10464"/>
                  </a:lnTo>
                  <a:lnTo>
                    <a:pt x="49814" y="10464"/>
                  </a:lnTo>
                  <a:lnTo>
                    <a:pt x="42312" y="3111"/>
                  </a:lnTo>
                  <a:lnTo>
                    <a:pt x="28282" y="0"/>
                  </a:lnTo>
                  <a:close/>
                </a:path>
                <a:path w="57150" h="80645">
                  <a:moveTo>
                    <a:pt x="49814" y="10464"/>
                  </a:moveTo>
                  <a:lnTo>
                    <a:pt x="28282" y="10464"/>
                  </a:lnTo>
                  <a:lnTo>
                    <a:pt x="35670" y="12762"/>
                  </a:lnTo>
                  <a:lnTo>
                    <a:pt x="40247" y="19026"/>
                  </a:lnTo>
                  <a:lnTo>
                    <a:pt x="42579" y="28311"/>
                  </a:lnTo>
                  <a:lnTo>
                    <a:pt x="43230" y="39674"/>
                  </a:lnTo>
                  <a:lnTo>
                    <a:pt x="42579" y="51205"/>
                  </a:lnTo>
                  <a:lnTo>
                    <a:pt x="40247" y="60885"/>
                  </a:lnTo>
                  <a:lnTo>
                    <a:pt x="35670" y="67547"/>
                  </a:lnTo>
                  <a:lnTo>
                    <a:pt x="28282" y="70027"/>
                  </a:lnTo>
                  <a:lnTo>
                    <a:pt x="49382" y="70027"/>
                  </a:lnTo>
                  <a:lnTo>
                    <a:pt x="50976" y="68403"/>
                  </a:lnTo>
                  <a:lnTo>
                    <a:pt x="55370" y="55412"/>
                  </a:lnTo>
                  <a:lnTo>
                    <a:pt x="56591" y="39674"/>
                  </a:lnTo>
                  <a:lnTo>
                    <a:pt x="55370" y="24211"/>
                  </a:lnTo>
                  <a:lnTo>
                    <a:pt x="50976" y="11603"/>
                  </a:lnTo>
                  <a:lnTo>
                    <a:pt x="49814" y="10464"/>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8" name="object 408">
              <a:extLst>
                <a:ext uri="{FF2B5EF4-FFF2-40B4-BE49-F238E27FC236}">
                  <a16:creationId xmlns:a16="http://schemas.microsoft.com/office/drawing/2014/main" id="{CA8577D4-001B-A98A-4F8D-5FCF3DACDF0A}"/>
                </a:ext>
              </a:extLst>
            </p:cNvPr>
            <p:cNvSpPr/>
            <p:nvPr/>
          </p:nvSpPr>
          <p:spPr>
            <a:xfrm>
              <a:off x="3750280" y="4321502"/>
              <a:ext cx="57150" cy="80645"/>
            </a:xfrm>
            <a:custGeom>
              <a:avLst/>
              <a:gdLst/>
              <a:ahLst/>
              <a:cxnLst/>
              <a:rect l="l" t="t" r="r" b="b"/>
              <a:pathLst>
                <a:path w="57150" h="80645">
                  <a:moveTo>
                    <a:pt x="28282" y="0"/>
                  </a:moveTo>
                  <a:lnTo>
                    <a:pt x="14257" y="3111"/>
                  </a:lnTo>
                  <a:lnTo>
                    <a:pt x="5602" y="11603"/>
                  </a:lnTo>
                  <a:lnTo>
                    <a:pt x="1217" y="24211"/>
                  </a:lnTo>
                  <a:lnTo>
                    <a:pt x="0" y="39674"/>
                  </a:lnTo>
                  <a:lnTo>
                    <a:pt x="1217" y="55412"/>
                  </a:lnTo>
                  <a:lnTo>
                    <a:pt x="5602" y="68403"/>
                  </a:lnTo>
                  <a:lnTo>
                    <a:pt x="14257" y="77234"/>
                  </a:lnTo>
                  <a:lnTo>
                    <a:pt x="28282" y="80492"/>
                  </a:lnTo>
                  <a:lnTo>
                    <a:pt x="42310" y="77234"/>
                  </a:lnTo>
                  <a:lnTo>
                    <a:pt x="49377" y="70027"/>
                  </a:lnTo>
                  <a:lnTo>
                    <a:pt x="28282" y="70027"/>
                  </a:lnTo>
                  <a:lnTo>
                    <a:pt x="20905" y="67547"/>
                  </a:lnTo>
                  <a:lnTo>
                    <a:pt x="16327" y="60885"/>
                  </a:lnTo>
                  <a:lnTo>
                    <a:pt x="13990" y="51205"/>
                  </a:lnTo>
                  <a:lnTo>
                    <a:pt x="13335" y="39674"/>
                  </a:lnTo>
                  <a:lnTo>
                    <a:pt x="13990" y="28311"/>
                  </a:lnTo>
                  <a:lnTo>
                    <a:pt x="16327" y="19026"/>
                  </a:lnTo>
                  <a:lnTo>
                    <a:pt x="20905" y="12762"/>
                  </a:lnTo>
                  <a:lnTo>
                    <a:pt x="28282" y="10464"/>
                  </a:lnTo>
                  <a:lnTo>
                    <a:pt x="49809" y="10464"/>
                  </a:lnTo>
                  <a:lnTo>
                    <a:pt x="42310" y="3111"/>
                  </a:lnTo>
                  <a:lnTo>
                    <a:pt x="28282" y="0"/>
                  </a:lnTo>
                  <a:close/>
                </a:path>
                <a:path w="57150" h="80645">
                  <a:moveTo>
                    <a:pt x="49809" y="10464"/>
                  </a:moveTo>
                  <a:lnTo>
                    <a:pt x="28282" y="10464"/>
                  </a:lnTo>
                  <a:lnTo>
                    <a:pt x="35665" y="12762"/>
                  </a:lnTo>
                  <a:lnTo>
                    <a:pt x="40243" y="19026"/>
                  </a:lnTo>
                  <a:lnTo>
                    <a:pt x="42577" y="28311"/>
                  </a:lnTo>
                  <a:lnTo>
                    <a:pt x="43230" y="39674"/>
                  </a:lnTo>
                  <a:lnTo>
                    <a:pt x="42577" y="51205"/>
                  </a:lnTo>
                  <a:lnTo>
                    <a:pt x="40243" y="60885"/>
                  </a:lnTo>
                  <a:lnTo>
                    <a:pt x="35665" y="67547"/>
                  </a:lnTo>
                  <a:lnTo>
                    <a:pt x="28282" y="70027"/>
                  </a:lnTo>
                  <a:lnTo>
                    <a:pt x="49377" y="70027"/>
                  </a:lnTo>
                  <a:lnTo>
                    <a:pt x="50969" y="68403"/>
                  </a:lnTo>
                  <a:lnTo>
                    <a:pt x="55359" y="55412"/>
                  </a:lnTo>
                  <a:lnTo>
                    <a:pt x="56578" y="39674"/>
                  </a:lnTo>
                  <a:lnTo>
                    <a:pt x="55359" y="24211"/>
                  </a:lnTo>
                  <a:lnTo>
                    <a:pt x="50969" y="11603"/>
                  </a:lnTo>
                  <a:lnTo>
                    <a:pt x="49809" y="10464"/>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19" name="object 409">
              <a:extLst>
                <a:ext uri="{FF2B5EF4-FFF2-40B4-BE49-F238E27FC236}">
                  <a16:creationId xmlns:a16="http://schemas.microsoft.com/office/drawing/2014/main" id="{72EA9F9A-017B-E4D1-23EA-A9866BCC9779}"/>
                </a:ext>
              </a:extLst>
            </p:cNvPr>
            <p:cNvSpPr/>
            <p:nvPr/>
          </p:nvSpPr>
          <p:spPr>
            <a:xfrm>
              <a:off x="3814926" y="4322076"/>
              <a:ext cx="34290" cy="79375"/>
            </a:xfrm>
            <a:custGeom>
              <a:avLst/>
              <a:gdLst/>
              <a:ahLst/>
              <a:cxnLst/>
              <a:rect l="l" t="t" r="r" b="b"/>
              <a:pathLst>
                <a:path w="34289" h="79375">
                  <a:moveTo>
                    <a:pt x="33693" y="15062"/>
                  </a:moveTo>
                  <a:lnTo>
                    <a:pt x="21043" y="15062"/>
                  </a:lnTo>
                  <a:lnTo>
                    <a:pt x="21043" y="78765"/>
                  </a:lnTo>
                  <a:lnTo>
                    <a:pt x="33693" y="78765"/>
                  </a:lnTo>
                  <a:lnTo>
                    <a:pt x="33693" y="15062"/>
                  </a:lnTo>
                  <a:close/>
                </a:path>
                <a:path w="34289" h="79375">
                  <a:moveTo>
                    <a:pt x="33693" y="0"/>
                  </a:moveTo>
                  <a:lnTo>
                    <a:pt x="24485" y="0"/>
                  </a:lnTo>
                  <a:lnTo>
                    <a:pt x="19466" y="3537"/>
                  </a:lnTo>
                  <a:lnTo>
                    <a:pt x="13452" y="7002"/>
                  </a:lnTo>
                  <a:lnTo>
                    <a:pt x="6833" y="10274"/>
                  </a:lnTo>
                  <a:lnTo>
                    <a:pt x="0" y="13233"/>
                  </a:lnTo>
                  <a:lnTo>
                    <a:pt x="3327" y="23685"/>
                  </a:lnTo>
                  <a:lnTo>
                    <a:pt x="21043" y="15062"/>
                  </a:lnTo>
                  <a:lnTo>
                    <a:pt x="33693" y="15062"/>
                  </a:lnTo>
                  <a:lnTo>
                    <a:pt x="33693" y="0"/>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0" name="object 410">
              <a:extLst>
                <a:ext uri="{FF2B5EF4-FFF2-40B4-BE49-F238E27FC236}">
                  <a16:creationId xmlns:a16="http://schemas.microsoft.com/office/drawing/2014/main" id="{451708BD-D217-B440-0930-7EA784CA7E95}"/>
                </a:ext>
              </a:extLst>
            </p:cNvPr>
            <p:cNvSpPr/>
            <p:nvPr/>
          </p:nvSpPr>
          <p:spPr>
            <a:xfrm>
              <a:off x="3861255" y="4321502"/>
              <a:ext cx="57150" cy="80645"/>
            </a:xfrm>
            <a:custGeom>
              <a:avLst/>
              <a:gdLst/>
              <a:ahLst/>
              <a:cxnLst/>
              <a:rect l="l" t="t" r="r" b="b"/>
              <a:pathLst>
                <a:path w="57150" h="80645">
                  <a:moveTo>
                    <a:pt x="28282" y="0"/>
                  </a:moveTo>
                  <a:lnTo>
                    <a:pt x="14257" y="3111"/>
                  </a:lnTo>
                  <a:lnTo>
                    <a:pt x="5602" y="11603"/>
                  </a:lnTo>
                  <a:lnTo>
                    <a:pt x="1217" y="24211"/>
                  </a:lnTo>
                  <a:lnTo>
                    <a:pt x="0" y="39674"/>
                  </a:lnTo>
                  <a:lnTo>
                    <a:pt x="1217" y="55412"/>
                  </a:lnTo>
                  <a:lnTo>
                    <a:pt x="5602" y="68403"/>
                  </a:lnTo>
                  <a:lnTo>
                    <a:pt x="14257" y="77234"/>
                  </a:lnTo>
                  <a:lnTo>
                    <a:pt x="28282" y="80492"/>
                  </a:lnTo>
                  <a:lnTo>
                    <a:pt x="42310" y="77234"/>
                  </a:lnTo>
                  <a:lnTo>
                    <a:pt x="49377" y="70027"/>
                  </a:lnTo>
                  <a:lnTo>
                    <a:pt x="28282" y="70027"/>
                  </a:lnTo>
                  <a:lnTo>
                    <a:pt x="20905" y="67547"/>
                  </a:lnTo>
                  <a:lnTo>
                    <a:pt x="16327" y="60885"/>
                  </a:lnTo>
                  <a:lnTo>
                    <a:pt x="13990" y="51205"/>
                  </a:lnTo>
                  <a:lnTo>
                    <a:pt x="13335" y="39674"/>
                  </a:lnTo>
                  <a:lnTo>
                    <a:pt x="13990" y="28311"/>
                  </a:lnTo>
                  <a:lnTo>
                    <a:pt x="16327" y="19026"/>
                  </a:lnTo>
                  <a:lnTo>
                    <a:pt x="20905" y="12762"/>
                  </a:lnTo>
                  <a:lnTo>
                    <a:pt x="28282" y="10464"/>
                  </a:lnTo>
                  <a:lnTo>
                    <a:pt x="49809" y="10464"/>
                  </a:lnTo>
                  <a:lnTo>
                    <a:pt x="42310" y="3111"/>
                  </a:lnTo>
                  <a:lnTo>
                    <a:pt x="28282" y="0"/>
                  </a:lnTo>
                  <a:close/>
                </a:path>
                <a:path w="57150" h="80645">
                  <a:moveTo>
                    <a:pt x="49809" y="10464"/>
                  </a:moveTo>
                  <a:lnTo>
                    <a:pt x="28282" y="10464"/>
                  </a:lnTo>
                  <a:lnTo>
                    <a:pt x="35670" y="12762"/>
                  </a:lnTo>
                  <a:lnTo>
                    <a:pt x="40247" y="19026"/>
                  </a:lnTo>
                  <a:lnTo>
                    <a:pt x="42579" y="28311"/>
                  </a:lnTo>
                  <a:lnTo>
                    <a:pt x="43230" y="39674"/>
                  </a:lnTo>
                  <a:lnTo>
                    <a:pt x="42579" y="51205"/>
                  </a:lnTo>
                  <a:lnTo>
                    <a:pt x="40247" y="60885"/>
                  </a:lnTo>
                  <a:lnTo>
                    <a:pt x="35670" y="67547"/>
                  </a:lnTo>
                  <a:lnTo>
                    <a:pt x="28282" y="70027"/>
                  </a:lnTo>
                  <a:lnTo>
                    <a:pt x="49377" y="70027"/>
                  </a:lnTo>
                  <a:lnTo>
                    <a:pt x="50969" y="68403"/>
                  </a:lnTo>
                  <a:lnTo>
                    <a:pt x="55359" y="55412"/>
                  </a:lnTo>
                  <a:lnTo>
                    <a:pt x="56578" y="39674"/>
                  </a:lnTo>
                  <a:lnTo>
                    <a:pt x="55359" y="24211"/>
                  </a:lnTo>
                  <a:lnTo>
                    <a:pt x="50969" y="11603"/>
                  </a:lnTo>
                  <a:lnTo>
                    <a:pt x="49809" y="10464"/>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1" name="object 411">
              <a:extLst>
                <a:ext uri="{FF2B5EF4-FFF2-40B4-BE49-F238E27FC236}">
                  <a16:creationId xmlns:a16="http://schemas.microsoft.com/office/drawing/2014/main" id="{F435D377-C11F-DEE8-9D16-A285D4016DA2}"/>
                </a:ext>
              </a:extLst>
            </p:cNvPr>
            <p:cNvSpPr/>
            <p:nvPr/>
          </p:nvSpPr>
          <p:spPr>
            <a:xfrm>
              <a:off x="3925909" y="4322076"/>
              <a:ext cx="34290" cy="79375"/>
            </a:xfrm>
            <a:custGeom>
              <a:avLst/>
              <a:gdLst/>
              <a:ahLst/>
              <a:cxnLst/>
              <a:rect l="l" t="t" r="r" b="b"/>
              <a:pathLst>
                <a:path w="34289" h="79375">
                  <a:moveTo>
                    <a:pt x="33680" y="15062"/>
                  </a:moveTo>
                  <a:lnTo>
                    <a:pt x="21043" y="15062"/>
                  </a:lnTo>
                  <a:lnTo>
                    <a:pt x="21043" y="78765"/>
                  </a:lnTo>
                  <a:lnTo>
                    <a:pt x="33680" y="78765"/>
                  </a:lnTo>
                  <a:lnTo>
                    <a:pt x="33680" y="15062"/>
                  </a:lnTo>
                  <a:close/>
                </a:path>
                <a:path w="34289" h="79375">
                  <a:moveTo>
                    <a:pt x="33680" y="0"/>
                  </a:moveTo>
                  <a:lnTo>
                    <a:pt x="24485" y="0"/>
                  </a:lnTo>
                  <a:lnTo>
                    <a:pt x="19459" y="3537"/>
                  </a:lnTo>
                  <a:lnTo>
                    <a:pt x="13442" y="7002"/>
                  </a:lnTo>
                  <a:lnTo>
                    <a:pt x="6826" y="10274"/>
                  </a:lnTo>
                  <a:lnTo>
                    <a:pt x="0" y="13233"/>
                  </a:lnTo>
                  <a:lnTo>
                    <a:pt x="3327" y="23685"/>
                  </a:lnTo>
                  <a:lnTo>
                    <a:pt x="21043" y="15062"/>
                  </a:lnTo>
                  <a:lnTo>
                    <a:pt x="33680" y="15062"/>
                  </a:lnTo>
                  <a:lnTo>
                    <a:pt x="33680" y="0"/>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2" name="object 412">
              <a:extLst>
                <a:ext uri="{FF2B5EF4-FFF2-40B4-BE49-F238E27FC236}">
                  <a16:creationId xmlns:a16="http://schemas.microsoft.com/office/drawing/2014/main" id="{F80DB981-5E6D-5A49-6ECC-53597388BDF5}"/>
                </a:ext>
              </a:extLst>
            </p:cNvPr>
            <p:cNvSpPr/>
            <p:nvPr/>
          </p:nvSpPr>
          <p:spPr>
            <a:xfrm>
              <a:off x="3969038" y="4322076"/>
              <a:ext cx="34290" cy="79375"/>
            </a:xfrm>
            <a:custGeom>
              <a:avLst/>
              <a:gdLst/>
              <a:ahLst/>
              <a:cxnLst/>
              <a:rect l="l" t="t" r="r" b="b"/>
              <a:pathLst>
                <a:path w="34289" h="79375">
                  <a:moveTo>
                    <a:pt x="33693" y="15062"/>
                  </a:moveTo>
                  <a:lnTo>
                    <a:pt x="21043" y="15062"/>
                  </a:lnTo>
                  <a:lnTo>
                    <a:pt x="21043" y="78765"/>
                  </a:lnTo>
                  <a:lnTo>
                    <a:pt x="33693" y="78765"/>
                  </a:lnTo>
                  <a:lnTo>
                    <a:pt x="33693" y="15062"/>
                  </a:lnTo>
                  <a:close/>
                </a:path>
                <a:path w="34289" h="79375">
                  <a:moveTo>
                    <a:pt x="33693" y="0"/>
                  </a:moveTo>
                  <a:lnTo>
                    <a:pt x="24485" y="0"/>
                  </a:lnTo>
                  <a:lnTo>
                    <a:pt x="19466" y="3537"/>
                  </a:lnTo>
                  <a:lnTo>
                    <a:pt x="13452" y="7002"/>
                  </a:lnTo>
                  <a:lnTo>
                    <a:pt x="6833" y="10274"/>
                  </a:lnTo>
                  <a:lnTo>
                    <a:pt x="0" y="13233"/>
                  </a:lnTo>
                  <a:lnTo>
                    <a:pt x="3327" y="23685"/>
                  </a:lnTo>
                  <a:lnTo>
                    <a:pt x="21043" y="15062"/>
                  </a:lnTo>
                  <a:lnTo>
                    <a:pt x="33693" y="15062"/>
                  </a:lnTo>
                  <a:lnTo>
                    <a:pt x="33693" y="0"/>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3" name="object 413">
              <a:extLst>
                <a:ext uri="{FF2B5EF4-FFF2-40B4-BE49-F238E27FC236}">
                  <a16:creationId xmlns:a16="http://schemas.microsoft.com/office/drawing/2014/main" id="{42980DA2-043A-C40D-DF93-BDF0EAA171B0}"/>
                </a:ext>
              </a:extLst>
            </p:cNvPr>
            <p:cNvSpPr/>
            <p:nvPr/>
          </p:nvSpPr>
          <p:spPr>
            <a:xfrm>
              <a:off x="4015387" y="4321502"/>
              <a:ext cx="57150" cy="80645"/>
            </a:xfrm>
            <a:custGeom>
              <a:avLst/>
              <a:gdLst/>
              <a:ahLst/>
              <a:cxnLst/>
              <a:rect l="l" t="t" r="r" b="b"/>
              <a:pathLst>
                <a:path w="57150" h="80645">
                  <a:moveTo>
                    <a:pt x="28282" y="0"/>
                  </a:moveTo>
                  <a:lnTo>
                    <a:pt x="14257" y="3111"/>
                  </a:lnTo>
                  <a:lnTo>
                    <a:pt x="5602" y="11603"/>
                  </a:lnTo>
                  <a:lnTo>
                    <a:pt x="1217" y="24211"/>
                  </a:lnTo>
                  <a:lnTo>
                    <a:pt x="0" y="39674"/>
                  </a:lnTo>
                  <a:lnTo>
                    <a:pt x="1217" y="55412"/>
                  </a:lnTo>
                  <a:lnTo>
                    <a:pt x="5602" y="68403"/>
                  </a:lnTo>
                  <a:lnTo>
                    <a:pt x="14257" y="77234"/>
                  </a:lnTo>
                  <a:lnTo>
                    <a:pt x="28282" y="80492"/>
                  </a:lnTo>
                  <a:lnTo>
                    <a:pt x="42310" y="77234"/>
                  </a:lnTo>
                  <a:lnTo>
                    <a:pt x="49377" y="70027"/>
                  </a:lnTo>
                  <a:lnTo>
                    <a:pt x="28282" y="70027"/>
                  </a:lnTo>
                  <a:lnTo>
                    <a:pt x="20905" y="67547"/>
                  </a:lnTo>
                  <a:lnTo>
                    <a:pt x="16327" y="60885"/>
                  </a:lnTo>
                  <a:lnTo>
                    <a:pt x="13990" y="51205"/>
                  </a:lnTo>
                  <a:lnTo>
                    <a:pt x="13335" y="39674"/>
                  </a:lnTo>
                  <a:lnTo>
                    <a:pt x="13990" y="28311"/>
                  </a:lnTo>
                  <a:lnTo>
                    <a:pt x="16327" y="19026"/>
                  </a:lnTo>
                  <a:lnTo>
                    <a:pt x="20905" y="12762"/>
                  </a:lnTo>
                  <a:lnTo>
                    <a:pt x="28282" y="10464"/>
                  </a:lnTo>
                  <a:lnTo>
                    <a:pt x="49809" y="10464"/>
                  </a:lnTo>
                  <a:lnTo>
                    <a:pt x="42310" y="3111"/>
                  </a:lnTo>
                  <a:lnTo>
                    <a:pt x="28282" y="0"/>
                  </a:lnTo>
                  <a:close/>
                </a:path>
                <a:path w="57150" h="80645">
                  <a:moveTo>
                    <a:pt x="49809" y="10464"/>
                  </a:moveTo>
                  <a:lnTo>
                    <a:pt x="28282" y="10464"/>
                  </a:lnTo>
                  <a:lnTo>
                    <a:pt x="35670" y="12762"/>
                  </a:lnTo>
                  <a:lnTo>
                    <a:pt x="40247" y="19026"/>
                  </a:lnTo>
                  <a:lnTo>
                    <a:pt x="42579" y="28311"/>
                  </a:lnTo>
                  <a:lnTo>
                    <a:pt x="43230" y="39674"/>
                  </a:lnTo>
                  <a:lnTo>
                    <a:pt x="42579" y="51205"/>
                  </a:lnTo>
                  <a:lnTo>
                    <a:pt x="40247" y="60885"/>
                  </a:lnTo>
                  <a:lnTo>
                    <a:pt x="35670" y="67547"/>
                  </a:lnTo>
                  <a:lnTo>
                    <a:pt x="28282" y="70027"/>
                  </a:lnTo>
                  <a:lnTo>
                    <a:pt x="49377" y="70027"/>
                  </a:lnTo>
                  <a:lnTo>
                    <a:pt x="50969" y="68403"/>
                  </a:lnTo>
                  <a:lnTo>
                    <a:pt x="55359" y="55412"/>
                  </a:lnTo>
                  <a:lnTo>
                    <a:pt x="56578" y="39674"/>
                  </a:lnTo>
                  <a:lnTo>
                    <a:pt x="55359" y="24211"/>
                  </a:lnTo>
                  <a:lnTo>
                    <a:pt x="50969" y="11603"/>
                  </a:lnTo>
                  <a:lnTo>
                    <a:pt x="49809" y="10464"/>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4" name="object 414">
              <a:extLst>
                <a:ext uri="{FF2B5EF4-FFF2-40B4-BE49-F238E27FC236}">
                  <a16:creationId xmlns:a16="http://schemas.microsoft.com/office/drawing/2014/main" id="{2FCFB4F4-B97D-E812-5AAB-32D30880DF7D}"/>
                </a:ext>
              </a:extLst>
            </p:cNvPr>
            <p:cNvSpPr/>
            <p:nvPr/>
          </p:nvSpPr>
          <p:spPr>
            <a:xfrm>
              <a:off x="4080013" y="4322076"/>
              <a:ext cx="34290" cy="79375"/>
            </a:xfrm>
            <a:custGeom>
              <a:avLst/>
              <a:gdLst/>
              <a:ahLst/>
              <a:cxnLst/>
              <a:rect l="l" t="t" r="r" b="b"/>
              <a:pathLst>
                <a:path w="34289" h="79375">
                  <a:moveTo>
                    <a:pt x="33693" y="15062"/>
                  </a:moveTo>
                  <a:lnTo>
                    <a:pt x="21043" y="15062"/>
                  </a:lnTo>
                  <a:lnTo>
                    <a:pt x="21043" y="78765"/>
                  </a:lnTo>
                  <a:lnTo>
                    <a:pt x="33693" y="78765"/>
                  </a:lnTo>
                  <a:lnTo>
                    <a:pt x="33693" y="15062"/>
                  </a:lnTo>
                  <a:close/>
                </a:path>
                <a:path w="34289" h="79375">
                  <a:moveTo>
                    <a:pt x="33693" y="0"/>
                  </a:moveTo>
                  <a:lnTo>
                    <a:pt x="24485" y="0"/>
                  </a:lnTo>
                  <a:lnTo>
                    <a:pt x="19466" y="3537"/>
                  </a:lnTo>
                  <a:lnTo>
                    <a:pt x="13452" y="7002"/>
                  </a:lnTo>
                  <a:lnTo>
                    <a:pt x="6833" y="10274"/>
                  </a:lnTo>
                  <a:lnTo>
                    <a:pt x="0" y="13233"/>
                  </a:lnTo>
                  <a:lnTo>
                    <a:pt x="3327" y="23685"/>
                  </a:lnTo>
                  <a:lnTo>
                    <a:pt x="21043" y="15062"/>
                  </a:lnTo>
                  <a:lnTo>
                    <a:pt x="33693" y="15062"/>
                  </a:lnTo>
                  <a:lnTo>
                    <a:pt x="33693" y="0"/>
                  </a:lnTo>
                  <a:close/>
                </a:path>
              </a:pathLst>
            </a:custGeom>
            <a:solidFill>
              <a:srgbClr val="65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nvGrpSpPr>
          <p:cNvPr id="557" name="Group 556">
            <a:extLst>
              <a:ext uri="{FF2B5EF4-FFF2-40B4-BE49-F238E27FC236}">
                <a16:creationId xmlns:a16="http://schemas.microsoft.com/office/drawing/2014/main" id="{13CF735E-9D62-142B-D62A-E16820E5E530}"/>
              </a:ext>
            </a:extLst>
          </p:cNvPr>
          <p:cNvGrpSpPr>
            <a:grpSpLocks noChangeAspect="1"/>
          </p:cNvGrpSpPr>
          <p:nvPr/>
        </p:nvGrpSpPr>
        <p:grpSpPr>
          <a:xfrm>
            <a:off x="3705238" y="3532476"/>
            <a:ext cx="548640" cy="414746"/>
            <a:chOff x="5058607" y="5447024"/>
            <a:chExt cx="599440" cy="483870"/>
          </a:xfrm>
        </p:grpSpPr>
        <p:sp>
          <p:nvSpPr>
            <p:cNvPr id="558" name="object 656">
              <a:extLst>
                <a:ext uri="{FF2B5EF4-FFF2-40B4-BE49-F238E27FC236}">
                  <a16:creationId xmlns:a16="http://schemas.microsoft.com/office/drawing/2014/main" id="{56D6706A-F115-56AA-868E-F5C0618F2671}"/>
                </a:ext>
              </a:extLst>
            </p:cNvPr>
            <p:cNvSpPr/>
            <p:nvPr/>
          </p:nvSpPr>
          <p:spPr>
            <a:xfrm>
              <a:off x="5058607" y="5447024"/>
              <a:ext cx="599440" cy="483870"/>
            </a:xfrm>
            <a:custGeom>
              <a:avLst/>
              <a:gdLst/>
              <a:ahLst/>
              <a:cxnLst/>
              <a:rect l="l" t="t" r="r" b="b"/>
              <a:pathLst>
                <a:path w="599440" h="483870">
                  <a:moveTo>
                    <a:pt x="54597" y="469056"/>
                  </a:moveTo>
                  <a:lnTo>
                    <a:pt x="79676" y="477921"/>
                  </a:lnTo>
                  <a:lnTo>
                    <a:pt x="104724" y="482838"/>
                  </a:lnTo>
                  <a:lnTo>
                    <a:pt x="129895" y="483836"/>
                  </a:lnTo>
                  <a:lnTo>
                    <a:pt x="155346" y="480943"/>
                  </a:lnTo>
                  <a:lnTo>
                    <a:pt x="198500" y="467672"/>
                  </a:lnTo>
                  <a:lnTo>
                    <a:pt x="240649" y="446310"/>
                  </a:lnTo>
                  <a:lnTo>
                    <a:pt x="281897" y="419700"/>
                  </a:lnTo>
                  <a:lnTo>
                    <a:pt x="322351" y="390684"/>
                  </a:lnTo>
                  <a:lnTo>
                    <a:pt x="364514" y="360503"/>
                  </a:lnTo>
                  <a:lnTo>
                    <a:pt x="407804" y="332729"/>
                  </a:lnTo>
                  <a:lnTo>
                    <a:pt x="452612" y="310301"/>
                  </a:lnTo>
                  <a:lnTo>
                    <a:pt x="499325" y="296158"/>
                  </a:lnTo>
                  <a:lnTo>
                    <a:pt x="524636" y="293006"/>
                  </a:lnTo>
                  <a:lnTo>
                    <a:pt x="549657" y="293204"/>
                  </a:lnTo>
                  <a:lnTo>
                    <a:pt x="574490" y="296771"/>
                  </a:lnTo>
                  <a:lnTo>
                    <a:pt x="599236" y="303727"/>
                  </a:lnTo>
                  <a:lnTo>
                    <a:pt x="544626" y="14751"/>
                  </a:lnTo>
                  <a:lnTo>
                    <a:pt x="519575" y="5894"/>
                  </a:lnTo>
                  <a:lnTo>
                    <a:pt x="494545" y="985"/>
                  </a:lnTo>
                  <a:lnTo>
                    <a:pt x="469376" y="0"/>
                  </a:lnTo>
                  <a:lnTo>
                    <a:pt x="443903" y="2915"/>
                  </a:lnTo>
                  <a:lnTo>
                    <a:pt x="400781" y="16159"/>
                  </a:lnTo>
                  <a:lnTo>
                    <a:pt x="358641" y="37513"/>
                  </a:lnTo>
                  <a:lnTo>
                    <a:pt x="317387" y="64101"/>
                  </a:lnTo>
                  <a:lnTo>
                    <a:pt x="276923" y="93047"/>
                  </a:lnTo>
                  <a:lnTo>
                    <a:pt x="234750" y="123272"/>
                  </a:lnTo>
                  <a:lnTo>
                    <a:pt x="191439" y="151048"/>
                  </a:lnTo>
                  <a:lnTo>
                    <a:pt x="146614" y="173460"/>
                  </a:lnTo>
                  <a:lnTo>
                    <a:pt x="99898" y="187598"/>
                  </a:lnTo>
                  <a:lnTo>
                    <a:pt x="74580" y="190752"/>
                  </a:lnTo>
                  <a:lnTo>
                    <a:pt x="49568" y="190567"/>
                  </a:lnTo>
                  <a:lnTo>
                    <a:pt x="24745" y="187034"/>
                  </a:lnTo>
                  <a:lnTo>
                    <a:pt x="0" y="180143"/>
                  </a:lnTo>
                  <a:lnTo>
                    <a:pt x="54597" y="469056"/>
                  </a:lnTo>
                  <a:close/>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9" name="object 657">
              <a:extLst>
                <a:ext uri="{FF2B5EF4-FFF2-40B4-BE49-F238E27FC236}">
                  <a16:creationId xmlns:a16="http://schemas.microsoft.com/office/drawing/2014/main" id="{C2A3CAF0-BD60-4D6B-2C7D-FEE1BF1D7EE0}"/>
                </a:ext>
              </a:extLst>
            </p:cNvPr>
            <p:cNvSpPr/>
            <p:nvPr/>
          </p:nvSpPr>
          <p:spPr>
            <a:xfrm>
              <a:off x="5131139" y="5638030"/>
              <a:ext cx="126364" cy="41275"/>
            </a:xfrm>
            <a:custGeom>
              <a:avLst/>
              <a:gdLst/>
              <a:ahLst/>
              <a:cxnLst/>
              <a:rect l="l" t="t" r="r" b="b"/>
              <a:pathLst>
                <a:path w="126364" h="41275">
                  <a:moveTo>
                    <a:pt x="0" y="40855"/>
                  </a:moveTo>
                  <a:lnTo>
                    <a:pt x="29289" y="38867"/>
                  </a:lnTo>
                  <a:lnTo>
                    <a:pt x="59701" y="31529"/>
                  </a:lnTo>
                  <a:lnTo>
                    <a:pt x="91777" y="18640"/>
                  </a:lnTo>
                  <a:lnTo>
                    <a:pt x="126060" y="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0" name="object 658">
              <a:extLst>
                <a:ext uri="{FF2B5EF4-FFF2-40B4-BE49-F238E27FC236}">
                  <a16:creationId xmlns:a16="http://schemas.microsoft.com/office/drawing/2014/main" id="{7EA2463B-38C1-9FCF-4801-5276B01ABFAC}"/>
                </a:ext>
              </a:extLst>
            </p:cNvPr>
            <p:cNvSpPr/>
            <p:nvPr/>
          </p:nvSpPr>
          <p:spPr>
            <a:xfrm>
              <a:off x="5411196" y="5487678"/>
              <a:ext cx="139700" cy="45085"/>
            </a:xfrm>
            <a:custGeom>
              <a:avLst/>
              <a:gdLst/>
              <a:ahLst/>
              <a:cxnLst/>
              <a:rect l="l" t="t" r="r" b="b"/>
              <a:pathLst>
                <a:path w="139700" h="45084">
                  <a:moveTo>
                    <a:pt x="0" y="44500"/>
                  </a:moveTo>
                  <a:lnTo>
                    <a:pt x="37443" y="24249"/>
                  </a:lnTo>
                  <a:lnTo>
                    <a:pt x="72761" y="10220"/>
                  </a:lnTo>
                  <a:lnTo>
                    <a:pt x="106559" y="2206"/>
                  </a:lnTo>
                  <a:lnTo>
                    <a:pt x="139446" y="0"/>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1" name="object 659">
              <a:extLst>
                <a:ext uri="{FF2B5EF4-FFF2-40B4-BE49-F238E27FC236}">
                  <a16:creationId xmlns:a16="http://schemas.microsoft.com/office/drawing/2014/main" id="{4EACC8C9-224D-2298-774B-705A0DB4C811}"/>
                </a:ext>
              </a:extLst>
            </p:cNvPr>
            <p:cNvSpPr/>
            <p:nvPr/>
          </p:nvSpPr>
          <p:spPr>
            <a:xfrm>
              <a:off x="5165802" y="5845722"/>
              <a:ext cx="139700" cy="44450"/>
            </a:xfrm>
            <a:custGeom>
              <a:avLst/>
              <a:gdLst/>
              <a:ahLst/>
              <a:cxnLst/>
              <a:rect l="l" t="t" r="r" b="b"/>
              <a:pathLst>
                <a:path w="139700" h="44450">
                  <a:moveTo>
                    <a:pt x="139471" y="0"/>
                  </a:moveTo>
                  <a:lnTo>
                    <a:pt x="88012" y="26463"/>
                  </a:lnTo>
                  <a:lnTo>
                    <a:pt x="40220" y="41021"/>
                  </a:lnTo>
                  <a:lnTo>
                    <a:pt x="9974" y="44341"/>
                  </a:lnTo>
                  <a:lnTo>
                    <a:pt x="0" y="44361"/>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2" name="object 660">
              <a:extLst>
                <a:ext uri="{FF2B5EF4-FFF2-40B4-BE49-F238E27FC236}">
                  <a16:creationId xmlns:a16="http://schemas.microsoft.com/office/drawing/2014/main" id="{52659571-9F58-B197-9BFA-E36493783C03}"/>
                </a:ext>
              </a:extLst>
            </p:cNvPr>
            <p:cNvSpPr/>
            <p:nvPr/>
          </p:nvSpPr>
          <p:spPr>
            <a:xfrm>
              <a:off x="5455155" y="5698966"/>
              <a:ext cx="130810" cy="42545"/>
            </a:xfrm>
            <a:custGeom>
              <a:avLst/>
              <a:gdLst/>
              <a:ahLst/>
              <a:cxnLst/>
              <a:rect l="l" t="t" r="r" b="b"/>
              <a:pathLst>
                <a:path w="130809" h="42545">
                  <a:moveTo>
                    <a:pt x="130213" y="0"/>
                  </a:moveTo>
                  <a:lnTo>
                    <a:pt x="100908" y="2002"/>
                  </a:lnTo>
                  <a:lnTo>
                    <a:pt x="70499" y="9377"/>
                  </a:lnTo>
                  <a:lnTo>
                    <a:pt x="38435" y="22293"/>
                  </a:lnTo>
                  <a:lnTo>
                    <a:pt x="4165" y="40919"/>
                  </a:lnTo>
                  <a:lnTo>
                    <a:pt x="2819" y="41630"/>
                  </a:lnTo>
                  <a:lnTo>
                    <a:pt x="1447" y="42163"/>
                  </a:lnTo>
                  <a:lnTo>
                    <a:pt x="0" y="42456"/>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3" name="object 661">
              <a:extLst>
                <a:ext uri="{FF2B5EF4-FFF2-40B4-BE49-F238E27FC236}">
                  <a16:creationId xmlns:a16="http://schemas.microsoft.com/office/drawing/2014/main" id="{4EFA261A-D026-6B7B-9156-7E13D5CD928E}"/>
                </a:ext>
              </a:extLst>
            </p:cNvPr>
            <p:cNvSpPr/>
            <p:nvPr/>
          </p:nvSpPr>
          <p:spPr>
            <a:xfrm>
              <a:off x="5305765" y="5607161"/>
              <a:ext cx="109855" cy="142875"/>
            </a:xfrm>
            <a:custGeom>
              <a:avLst/>
              <a:gdLst/>
              <a:ahLst/>
              <a:cxnLst/>
              <a:rect l="l" t="t" r="r" b="b"/>
              <a:pathLst>
                <a:path w="109854" h="142875">
                  <a:moveTo>
                    <a:pt x="78778" y="5384"/>
                  </a:moveTo>
                  <a:lnTo>
                    <a:pt x="71293" y="2911"/>
                  </a:lnTo>
                  <a:lnTo>
                    <a:pt x="63433" y="1177"/>
                  </a:lnTo>
                  <a:lnTo>
                    <a:pt x="55425" y="202"/>
                  </a:lnTo>
                  <a:lnTo>
                    <a:pt x="47497" y="0"/>
                  </a:lnTo>
                  <a:lnTo>
                    <a:pt x="27442" y="3719"/>
                  </a:lnTo>
                  <a:lnTo>
                    <a:pt x="10604" y="13420"/>
                  </a:lnTo>
                  <a:lnTo>
                    <a:pt x="338" y="28374"/>
                  </a:lnTo>
                  <a:lnTo>
                    <a:pt x="0" y="47853"/>
                  </a:lnTo>
                  <a:lnTo>
                    <a:pt x="10040" y="63578"/>
                  </a:lnTo>
                  <a:lnTo>
                    <a:pt x="26415" y="69848"/>
                  </a:lnTo>
                  <a:lnTo>
                    <a:pt x="45848" y="70743"/>
                  </a:lnTo>
                  <a:lnTo>
                    <a:pt x="65062" y="70345"/>
                  </a:lnTo>
                  <a:lnTo>
                    <a:pt x="75828" y="70600"/>
                  </a:lnTo>
                  <a:lnTo>
                    <a:pt x="86250" y="71932"/>
                  </a:lnTo>
                  <a:lnTo>
                    <a:pt x="95860" y="75560"/>
                  </a:lnTo>
                  <a:lnTo>
                    <a:pt x="104190" y="82702"/>
                  </a:lnTo>
                  <a:lnTo>
                    <a:pt x="109504" y="94558"/>
                  </a:lnTo>
                  <a:lnTo>
                    <a:pt x="109002" y="107465"/>
                  </a:lnTo>
                  <a:lnTo>
                    <a:pt x="81508" y="136437"/>
                  </a:lnTo>
                  <a:lnTo>
                    <a:pt x="36822" y="142546"/>
                  </a:lnTo>
                  <a:lnTo>
                    <a:pt x="21415" y="140672"/>
                  </a:lnTo>
                  <a:lnTo>
                    <a:pt x="8153" y="136321"/>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4" name="object 662">
              <a:extLst>
                <a:ext uri="{FF2B5EF4-FFF2-40B4-BE49-F238E27FC236}">
                  <a16:creationId xmlns:a16="http://schemas.microsoft.com/office/drawing/2014/main" id="{01ECD0C8-7D0D-67E9-899B-0B80F7AD0816}"/>
                </a:ext>
              </a:extLst>
            </p:cNvPr>
            <p:cNvSpPr/>
            <p:nvPr/>
          </p:nvSpPr>
          <p:spPr>
            <a:xfrm>
              <a:off x="5341079" y="5582321"/>
              <a:ext cx="36195" cy="189230"/>
            </a:xfrm>
            <a:custGeom>
              <a:avLst/>
              <a:gdLst/>
              <a:ahLst/>
              <a:cxnLst/>
              <a:rect l="l" t="t" r="r" b="b"/>
              <a:pathLst>
                <a:path w="36195" h="189229">
                  <a:moveTo>
                    <a:pt x="0" y="0"/>
                  </a:moveTo>
                  <a:lnTo>
                    <a:pt x="35750" y="189141"/>
                  </a:lnTo>
                </a:path>
              </a:pathLst>
            </a:custGeom>
            <a:ln w="9525">
              <a:solidFill>
                <a:srgbClr val="65666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nvGrpSpPr>
          <p:cNvPr id="565" name="Group 564">
            <a:extLst>
              <a:ext uri="{FF2B5EF4-FFF2-40B4-BE49-F238E27FC236}">
                <a16:creationId xmlns:a16="http://schemas.microsoft.com/office/drawing/2014/main" id="{0C7EF90C-C20F-A2E9-ABAA-D48FE924D81D}"/>
              </a:ext>
            </a:extLst>
          </p:cNvPr>
          <p:cNvGrpSpPr>
            <a:grpSpLocks noChangeAspect="1"/>
          </p:cNvGrpSpPr>
          <p:nvPr/>
        </p:nvGrpSpPr>
        <p:grpSpPr>
          <a:xfrm>
            <a:off x="5787185" y="2509252"/>
            <a:ext cx="548640" cy="506078"/>
            <a:chOff x="10724274" y="8215626"/>
            <a:chExt cx="654913" cy="590424"/>
          </a:xfrm>
        </p:grpSpPr>
        <p:sp>
          <p:nvSpPr>
            <p:cNvPr id="566" name="object 1433">
              <a:extLst>
                <a:ext uri="{FF2B5EF4-FFF2-40B4-BE49-F238E27FC236}">
                  <a16:creationId xmlns:a16="http://schemas.microsoft.com/office/drawing/2014/main" id="{8F30B65A-B534-21F9-F76B-4E508CDA34FA}"/>
                </a:ext>
              </a:extLst>
            </p:cNvPr>
            <p:cNvSpPr>
              <a:spLocks noChangeAspect="1"/>
            </p:cNvSpPr>
            <p:nvPr/>
          </p:nvSpPr>
          <p:spPr>
            <a:xfrm>
              <a:off x="11115662" y="8259048"/>
              <a:ext cx="263525" cy="304800"/>
            </a:xfrm>
            <a:custGeom>
              <a:avLst/>
              <a:gdLst/>
              <a:ahLst/>
              <a:cxnLst/>
              <a:rect l="l" t="t" r="r" b="b"/>
              <a:pathLst>
                <a:path w="263525" h="304800">
                  <a:moveTo>
                    <a:pt x="0" y="0"/>
                  </a:moveTo>
                  <a:lnTo>
                    <a:pt x="162598" y="11709"/>
                  </a:lnTo>
                  <a:lnTo>
                    <a:pt x="263283" y="264858"/>
                  </a:lnTo>
                  <a:lnTo>
                    <a:pt x="231762" y="304799"/>
                  </a:lnTo>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7" name="object 1434">
              <a:extLst>
                <a:ext uri="{FF2B5EF4-FFF2-40B4-BE49-F238E27FC236}">
                  <a16:creationId xmlns:a16="http://schemas.microsoft.com/office/drawing/2014/main" id="{5A0FDC4E-5FBD-44CC-A2F0-A4AC2EA35AA0}"/>
                </a:ext>
              </a:extLst>
            </p:cNvPr>
            <p:cNvSpPr>
              <a:spLocks noChangeAspect="1"/>
            </p:cNvSpPr>
            <p:nvPr/>
          </p:nvSpPr>
          <p:spPr>
            <a:xfrm>
              <a:off x="10724274" y="8215626"/>
              <a:ext cx="501650" cy="388620"/>
            </a:xfrm>
            <a:custGeom>
              <a:avLst/>
              <a:gdLst/>
              <a:ahLst/>
              <a:cxnLst/>
              <a:rect l="l" t="t" r="r" b="b"/>
              <a:pathLst>
                <a:path w="501650" h="388620">
                  <a:moveTo>
                    <a:pt x="312483" y="144005"/>
                  </a:moveTo>
                  <a:lnTo>
                    <a:pt x="400405" y="238328"/>
                  </a:lnTo>
                  <a:lnTo>
                    <a:pt x="439218" y="261350"/>
                  </a:lnTo>
                  <a:lnTo>
                    <a:pt x="501053" y="238328"/>
                  </a:lnTo>
                  <a:lnTo>
                    <a:pt x="415290" y="52971"/>
                  </a:lnTo>
                  <a:lnTo>
                    <a:pt x="282867" y="0"/>
                  </a:lnTo>
                  <a:lnTo>
                    <a:pt x="100622" y="52971"/>
                  </a:lnTo>
                  <a:lnTo>
                    <a:pt x="0" y="333679"/>
                  </a:lnTo>
                  <a:lnTo>
                    <a:pt x="60985" y="388391"/>
                  </a:lnTo>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8" name="object 1435">
              <a:extLst>
                <a:ext uri="{FF2B5EF4-FFF2-40B4-BE49-F238E27FC236}">
                  <a16:creationId xmlns:a16="http://schemas.microsoft.com/office/drawing/2014/main" id="{539BCA9A-5FFA-849A-62FA-800FE1821E63}"/>
                </a:ext>
              </a:extLst>
            </p:cNvPr>
            <p:cNvSpPr>
              <a:spLocks noChangeAspect="1"/>
            </p:cNvSpPr>
            <p:nvPr/>
          </p:nvSpPr>
          <p:spPr>
            <a:xfrm>
              <a:off x="10829215" y="8600161"/>
              <a:ext cx="238760" cy="160020"/>
            </a:xfrm>
            <a:custGeom>
              <a:avLst/>
              <a:gdLst/>
              <a:ahLst/>
              <a:cxnLst/>
              <a:rect l="l" t="t" r="r" b="b"/>
              <a:pathLst>
                <a:path w="238759" h="160020">
                  <a:moveTo>
                    <a:pt x="646" y="95262"/>
                  </a:moveTo>
                  <a:lnTo>
                    <a:pt x="9183" y="133447"/>
                  </a:lnTo>
                  <a:lnTo>
                    <a:pt x="42942" y="156920"/>
                  </a:lnTo>
                  <a:lnTo>
                    <a:pt x="62534" y="159934"/>
                  </a:lnTo>
                  <a:lnTo>
                    <a:pt x="77563" y="158971"/>
                  </a:lnTo>
                  <a:lnTo>
                    <a:pt x="83565" y="157810"/>
                  </a:lnTo>
                  <a:lnTo>
                    <a:pt x="238213" y="0"/>
                  </a:lnTo>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69" name="object 1436">
              <a:extLst>
                <a:ext uri="{FF2B5EF4-FFF2-40B4-BE49-F238E27FC236}">
                  <a16:creationId xmlns:a16="http://schemas.microsoft.com/office/drawing/2014/main" id="{6CF5ABF4-B70A-F97F-0FA4-EE9710CC0D2C}"/>
                </a:ext>
              </a:extLst>
            </p:cNvPr>
            <p:cNvSpPr>
              <a:spLocks noChangeAspect="1"/>
            </p:cNvSpPr>
            <p:nvPr/>
          </p:nvSpPr>
          <p:spPr>
            <a:xfrm>
              <a:off x="10912785" y="8647784"/>
              <a:ext cx="205740" cy="140335"/>
            </a:xfrm>
            <a:custGeom>
              <a:avLst/>
              <a:gdLst/>
              <a:ahLst/>
              <a:cxnLst/>
              <a:rect l="l" t="t" r="r" b="b"/>
              <a:pathLst>
                <a:path w="205740" h="140334">
                  <a:moveTo>
                    <a:pt x="0" y="110185"/>
                  </a:moveTo>
                  <a:lnTo>
                    <a:pt x="35902" y="136690"/>
                  </a:lnTo>
                  <a:lnTo>
                    <a:pt x="51817" y="139819"/>
                  </a:lnTo>
                  <a:lnTo>
                    <a:pt x="68095" y="139471"/>
                  </a:lnTo>
                  <a:lnTo>
                    <a:pt x="80771" y="137733"/>
                  </a:lnTo>
                  <a:lnTo>
                    <a:pt x="85877" y="136690"/>
                  </a:lnTo>
                  <a:lnTo>
                    <a:pt x="205524" y="0"/>
                  </a:lnTo>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70" name="object 1437">
              <a:extLst>
                <a:ext uri="{FF2B5EF4-FFF2-40B4-BE49-F238E27FC236}">
                  <a16:creationId xmlns:a16="http://schemas.microsoft.com/office/drawing/2014/main" id="{0CD96BD1-55C8-1C5E-5F30-109B41A85851}"/>
                </a:ext>
              </a:extLst>
            </p:cNvPr>
            <p:cNvSpPr>
              <a:spLocks noChangeAspect="1"/>
            </p:cNvSpPr>
            <p:nvPr/>
          </p:nvSpPr>
          <p:spPr>
            <a:xfrm>
              <a:off x="11207541" y="8597185"/>
              <a:ext cx="98425" cy="101600"/>
            </a:xfrm>
            <a:custGeom>
              <a:avLst/>
              <a:gdLst/>
              <a:ahLst/>
              <a:cxnLst/>
              <a:rect l="l" t="t" r="r" b="b"/>
              <a:pathLst>
                <a:path w="98425" h="101600">
                  <a:moveTo>
                    <a:pt x="6161" y="60909"/>
                  </a:moveTo>
                  <a:lnTo>
                    <a:pt x="323" y="49369"/>
                  </a:lnTo>
                  <a:lnTo>
                    <a:pt x="0" y="36120"/>
                  </a:lnTo>
                  <a:lnTo>
                    <a:pt x="4912" y="22759"/>
                  </a:lnTo>
                  <a:lnTo>
                    <a:pt x="14784" y="10883"/>
                  </a:lnTo>
                  <a:lnTo>
                    <a:pt x="27999" y="2866"/>
                  </a:lnTo>
                  <a:lnTo>
                    <a:pt x="41960" y="0"/>
                  </a:lnTo>
                  <a:lnTo>
                    <a:pt x="55034" y="2314"/>
                  </a:lnTo>
                  <a:lnTo>
                    <a:pt x="65584" y="9842"/>
                  </a:lnTo>
                  <a:lnTo>
                    <a:pt x="91784" y="40347"/>
                  </a:lnTo>
                  <a:lnTo>
                    <a:pt x="97661" y="51913"/>
                  </a:lnTo>
                  <a:lnTo>
                    <a:pt x="97991" y="65185"/>
                  </a:lnTo>
                  <a:lnTo>
                    <a:pt x="93059" y="78549"/>
                  </a:lnTo>
                  <a:lnTo>
                    <a:pt x="83148" y="90385"/>
                  </a:lnTo>
                  <a:lnTo>
                    <a:pt x="69946" y="98406"/>
                  </a:lnTo>
                  <a:lnTo>
                    <a:pt x="56014" y="101268"/>
                  </a:lnTo>
                  <a:lnTo>
                    <a:pt x="42979" y="98945"/>
                  </a:lnTo>
                  <a:lnTo>
                    <a:pt x="32462" y="91414"/>
                  </a:lnTo>
                  <a:lnTo>
                    <a:pt x="6161" y="60909"/>
                  </a:lnTo>
                  <a:close/>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71" name="object 1438">
              <a:extLst>
                <a:ext uri="{FF2B5EF4-FFF2-40B4-BE49-F238E27FC236}">
                  <a16:creationId xmlns:a16="http://schemas.microsoft.com/office/drawing/2014/main" id="{2E535E7E-8015-9FDC-3352-05B06EA99BBF}"/>
                </a:ext>
              </a:extLst>
            </p:cNvPr>
            <p:cNvSpPr>
              <a:spLocks noChangeAspect="1"/>
            </p:cNvSpPr>
            <p:nvPr/>
          </p:nvSpPr>
          <p:spPr>
            <a:xfrm>
              <a:off x="11268302" y="8543856"/>
              <a:ext cx="98425" cy="101600"/>
            </a:xfrm>
            <a:custGeom>
              <a:avLst/>
              <a:gdLst/>
              <a:ahLst/>
              <a:cxnLst/>
              <a:rect l="l" t="t" r="r" b="b"/>
              <a:pathLst>
                <a:path w="98425" h="101600">
                  <a:moveTo>
                    <a:pt x="6159" y="60907"/>
                  </a:moveTo>
                  <a:lnTo>
                    <a:pt x="322" y="49367"/>
                  </a:lnTo>
                  <a:lnTo>
                    <a:pt x="0" y="36120"/>
                  </a:lnTo>
                  <a:lnTo>
                    <a:pt x="4916" y="22763"/>
                  </a:lnTo>
                  <a:lnTo>
                    <a:pt x="14795" y="10895"/>
                  </a:lnTo>
                  <a:lnTo>
                    <a:pt x="28003" y="2870"/>
                  </a:lnTo>
                  <a:lnTo>
                    <a:pt x="41960" y="0"/>
                  </a:lnTo>
                  <a:lnTo>
                    <a:pt x="55032" y="2313"/>
                  </a:lnTo>
                  <a:lnTo>
                    <a:pt x="65582" y="9840"/>
                  </a:lnTo>
                  <a:lnTo>
                    <a:pt x="91782" y="40346"/>
                  </a:lnTo>
                  <a:lnTo>
                    <a:pt x="97659" y="51911"/>
                  </a:lnTo>
                  <a:lnTo>
                    <a:pt x="97990" y="65185"/>
                  </a:lnTo>
                  <a:lnTo>
                    <a:pt x="93058" y="78552"/>
                  </a:lnTo>
                  <a:lnTo>
                    <a:pt x="83146" y="90397"/>
                  </a:lnTo>
                  <a:lnTo>
                    <a:pt x="69944" y="98410"/>
                  </a:lnTo>
                  <a:lnTo>
                    <a:pt x="56014" y="101268"/>
                  </a:lnTo>
                  <a:lnTo>
                    <a:pt x="42982" y="98944"/>
                  </a:lnTo>
                  <a:lnTo>
                    <a:pt x="32473" y="91413"/>
                  </a:lnTo>
                  <a:lnTo>
                    <a:pt x="6159" y="60907"/>
                  </a:lnTo>
                  <a:close/>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72" name="object 1439">
              <a:extLst>
                <a:ext uri="{FF2B5EF4-FFF2-40B4-BE49-F238E27FC236}">
                  <a16:creationId xmlns:a16="http://schemas.microsoft.com/office/drawing/2014/main" id="{95B77EBE-5616-0892-E1FD-756A9C48C932}"/>
                </a:ext>
              </a:extLst>
            </p:cNvPr>
            <p:cNvSpPr>
              <a:spLocks noChangeAspect="1"/>
            </p:cNvSpPr>
            <p:nvPr/>
          </p:nvSpPr>
          <p:spPr>
            <a:xfrm>
              <a:off x="11145145" y="8647969"/>
              <a:ext cx="98425" cy="101600"/>
            </a:xfrm>
            <a:custGeom>
              <a:avLst/>
              <a:gdLst/>
              <a:ahLst/>
              <a:cxnLst/>
              <a:rect l="l" t="t" r="r" b="b"/>
              <a:pathLst>
                <a:path w="98425" h="101600">
                  <a:moveTo>
                    <a:pt x="6199" y="60899"/>
                  </a:moveTo>
                  <a:lnTo>
                    <a:pt x="333" y="49382"/>
                  </a:lnTo>
                  <a:lnTo>
                    <a:pt x="0" y="36139"/>
                  </a:lnTo>
                  <a:lnTo>
                    <a:pt x="4922" y="22789"/>
                  </a:lnTo>
                  <a:lnTo>
                    <a:pt x="14822" y="10950"/>
                  </a:lnTo>
                  <a:lnTo>
                    <a:pt x="28015" y="2896"/>
                  </a:lnTo>
                  <a:lnTo>
                    <a:pt x="41963" y="0"/>
                  </a:lnTo>
                  <a:lnTo>
                    <a:pt x="55029" y="2299"/>
                  </a:lnTo>
                  <a:lnTo>
                    <a:pt x="65571" y="9832"/>
                  </a:lnTo>
                  <a:lnTo>
                    <a:pt x="91835" y="40363"/>
                  </a:lnTo>
                  <a:lnTo>
                    <a:pt x="97699" y="51903"/>
                  </a:lnTo>
                  <a:lnTo>
                    <a:pt x="98029" y="65171"/>
                  </a:lnTo>
                  <a:lnTo>
                    <a:pt x="93106" y="78541"/>
                  </a:lnTo>
                  <a:lnTo>
                    <a:pt x="83211" y="90389"/>
                  </a:lnTo>
                  <a:lnTo>
                    <a:pt x="70002" y="98405"/>
                  </a:lnTo>
                  <a:lnTo>
                    <a:pt x="56051" y="101269"/>
                  </a:lnTo>
                  <a:lnTo>
                    <a:pt x="42983" y="98947"/>
                  </a:lnTo>
                  <a:lnTo>
                    <a:pt x="32424" y="91405"/>
                  </a:lnTo>
                  <a:lnTo>
                    <a:pt x="6199" y="60899"/>
                  </a:lnTo>
                  <a:close/>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73" name="object 1440">
              <a:extLst>
                <a:ext uri="{FF2B5EF4-FFF2-40B4-BE49-F238E27FC236}">
                  <a16:creationId xmlns:a16="http://schemas.microsoft.com/office/drawing/2014/main" id="{A051F318-1BDE-863B-0D15-1821CE9FEC94}"/>
                </a:ext>
              </a:extLst>
            </p:cNvPr>
            <p:cNvSpPr>
              <a:spLocks noChangeAspect="1"/>
            </p:cNvSpPr>
            <p:nvPr/>
          </p:nvSpPr>
          <p:spPr>
            <a:xfrm>
              <a:off x="11084362" y="8697672"/>
              <a:ext cx="92075" cy="95250"/>
            </a:xfrm>
            <a:custGeom>
              <a:avLst/>
              <a:gdLst/>
              <a:ahLst/>
              <a:cxnLst/>
              <a:rect l="l" t="t" r="r" b="b"/>
              <a:pathLst>
                <a:path w="92075" h="95250">
                  <a:moveTo>
                    <a:pt x="5924" y="56873"/>
                  </a:moveTo>
                  <a:lnTo>
                    <a:pt x="379" y="46047"/>
                  </a:lnTo>
                  <a:lnTo>
                    <a:pt x="0" y="33642"/>
                  </a:lnTo>
                  <a:lnTo>
                    <a:pt x="4535" y="21165"/>
                  </a:lnTo>
                  <a:lnTo>
                    <a:pt x="13735" y="10125"/>
                  </a:lnTo>
                  <a:lnTo>
                    <a:pt x="26033" y="2645"/>
                  </a:lnTo>
                  <a:lnTo>
                    <a:pt x="39065" y="0"/>
                  </a:lnTo>
                  <a:lnTo>
                    <a:pt x="51296" y="2216"/>
                  </a:lnTo>
                  <a:lnTo>
                    <a:pt x="61194" y="9324"/>
                  </a:lnTo>
                  <a:lnTo>
                    <a:pt x="85896" y="38065"/>
                  </a:lnTo>
                  <a:lnTo>
                    <a:pt x="91439" y="48899"/>
                  </a:lnTo>
                  <a:lnTo>
                    <a:pt x="91816" y="61321"/>
                  </a:lnTo>
                  <a:lnTo>
                    <a:pt x="87280" y="73815"/>
                  </a:lnTo>
                  <a:lnTo>
                    <a:pt x="78085" y="84864"/>
                  </a:lnTo>
                  <a:lnTo>
                    <a:pt x="65772" y="92301"/>
                  </a:lnTo>
                  <a:lnTo>
                    <a:pt x="52743" y="94918"/>
                  </a:lnTo>
                  <a:lnTo>
                    <a:pt x="40513" y="92688"/>
                  </a:lnTo>
                  <a:lnTo>
                    <a:pt x="30600" y="85588"/>
                  </a:lnTo>
                  <a:lnTo>
                    <a:pt x="5924" y="56873"/>
                  </a:lnTo>
                  <a:close/>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74" name="object 1441">
              <a:extLst>
                <a:ext uri="{FF2B5EF4-FFF2-40B4-BE49-F238E27FC236}">
                  <a16:creationId xmlns:a16="http://schemas.microsoft.com/office/drawing/2014/main" id="{D3C088C9-241E-7DE5-E342-839D463CDFCC}"/>
                </a:ext>
              </a:extLst>
            </p:cNvPr>
            <p:cNvSpPr>
              <a:spLocks noChangeAspect="1"/>
            </p:cNvSpPr>
            <p:nvPr/>
          </p:nvSpPr>
          <p:spPr>
            <a:xfrm>
              <a:off x="10998658" y="8780016"/>
              <a:ext cx="109855" cy="26034"/>
            </a:xfrm>
            <a:custGeom>
              <a:avLst/>
              <a:gdLst/>
              <a:ahLst/>
              <a:cxnLst/>
              <a:rect l="l" t="t" r="r" b="b"/>
              <a:pathLst>
                <a:path w="109854" h="26034">
                  <a:moveTo>
                    <a:pt x="0" y="4457"/>
                  </a:moveTo>
                  <a:lnTo>
                    <a:pt x="30633" y="20790"/>
                  </a:lnTo>
                  <a:lnTo>
                    <a:pt x="52238" y="25769"/>
                  </a:lnTo>
                  <a:lnTo>
                    <a:pt x="75066" y="18979"/>
                  </a:lnTo>
                  <a:lnTo>
                    <a:pt x="109372" y="0"/>
                  </a:lnTo>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75" name="object 1442">
              <a:extLst>
                <a:ext uri="{FF2B5EF4-FFF2-40B4-BE49-F238E27FC236}">
                  <a16:creationId xmlns:a16="http://schemas.microsoft.com/office/drawing/2014/main" id="{FAAB1A36-F50A-A55A-C50A-AC08A941AA0D}"/>
                </a:ext>
              </a:extLst>
            </p:cNvPr>
            <p:cNvSpPr>
              <a:spLocks noChangeAspect="1"/>
            </p:cNvSpPr>
            <p:nvPr/>
          </p:nvSpPr>
          <p:spPr>
            <a:xfrm>
              <a:off x="10757351" y="8359631"/>
              <a:ext cx="279400" cy="339090"/>
            </a:xfrm>
            <a:custGeom>
              <a:avLst/>
              <a:gdLst/>
              <a:ahLst/>
              <a:cxnLst/>
              <a:rect l="l" t="t" r="r" b="b"/>
              <a:pathLst>
                <a:path w="279400" h="339090">
                  <a:moveTo>
                    <a:pt x="279406" y="0"/>
                  </a:moveTo>
                  <a:lnTo>
                    <a:pt x="16668" y="255320"/>
                  </a:lnTo>
                  <a:lnTo>
                    <a:pt x="4167" y="276007"/>
                  </a:lnTo>
                  <a:lnTo>
                    <a:pt x="0" y="289748"/>
                  </a:lnTo>
                  <a:lnTo>
                    <a:pt x="4167" y="302707"/>
                  </a:lnTo>
                  <a:lnTo>
                    <a:pt x="16668" y="321043"/>
                  </a:lnTo>
                  <a:lnTo>
                    <a:pt x="35683" y="335973"/>
                  </a:lnTo>
                  <a:lnTo>
                    <a:pt x="55772" y="338891"/>
                  </a:lnTo>
                  <a:lnTo>
                    <a:pt x="71679" y="336054"/>
                  </a:lnTo>
                  <a:lnTo>
                    <a:pt x="78149" y="333717"/>
                  </a:lnTo>
                  <a:lnTo>
                    <a:pt x="234905" y="183286"/>
                  </a:lnTo>
                </a:path>
              </a:pathLst>
            </a:custGeom>
            <a:ln w="6350">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nvGrpSpPr>
          <p:cNvPr id="576" name="Group 575">
            <a:extLst>
              <a:ext uri="{FF2B5EF4-FFF2-40B4-BE49-F238E27FC236}">
                <a16:creationId xmlns:a16="http://schemas.microsoft.com/office/drawing/2014/main" id="{D0BD1673-4892-FC0F-7FE0-86894F2A29F3}"/>
              </a:ext>
            </a:extLst>
          </p:cNvPr>
          <p:cNvGrpSpPr/>
          <p:nvPr/>
        </p:nvGrpSpPr>
        <p:grpSpPr>
          <a:xfrm rot="10800000">
            <a:off x="7444051" y="4545489"/>
            <a:ext cx="1430892" cy="670952"/>
            <a:chOff x="2251123" y="3755619"/>
            <a:chExt cx="1595297" cy="748042"/>
          </a:xfrm>
        </p:grpSpPr>
        <p:cxnSp>
          <p:nvCxnSpPr>
            <p:cNvPr id="577" name="Straight Connector 576">
              <a:extLst>
                <a:ext uri="{FF2B5EF4-FFF2-40B4-BE49-F238E27FC236}">
                  <a16:creationId xmlns:a16="http://schemas.microsoft.com/office/drawing/2014/main" id="{296320BE-3CBD-DAC2-0064-0A843AA1A3E5}"/>
                </a:ext>
              </a:extLst>
            </p:cNvPr>
            <p:cNvCxnSpPr/>
            <p:nvPr/>
          </p:nvCxnSpPr>
          <p:spPr>
            <a:xfrm flipV="1">
              <a:off x="2999125" y="4120689"/>
              <a:ext cx="740448" cy="0"/>
            </a:xfrm>
            <a:prstGeom prst="line">
              <a:avLst/>
            </a:prstGeom>
            <a:ln>
              <a:solidFill>
                <a:srgbClr val="888B8D"/>
              </a:solidFill>
              <a:prstDash val="dash"/>
            </a:ln>
          </p:spPr>
          <p:style>
            <a:lnRef idx="1">
              <a:schemeClr val="accent1"/>
            </a:lnRef>
            <a:fillRef idx="0">
              <a:schemeClr val="accent1"/>
            </a:fillRef>
            <a:effectRef idx="0">
              <a:schemeClr val="accent1"/>
            </a:effectRef>
            <a:fontRef idx="minor">
              <a:schemeClr val="tx1"/>
            </a:fontRef>
          </p:style>
        </p:cxnSp>
        <p:sp>
          <p:nvSpPr>
            <p:cNvPr id="578" name="Oval 577">
              <a:extLst>
                <a:ext uri="{FF2B5EF4-FFF2-40B4-BE49-F238E27FC236}">
                  <a16:creationId xmlns:a16="http://schemas.microsoft.com/office/drawing/2014/main" id="{BF18A8D9-E36F-CBF5-07F1-CF484AE8B40E}"/>
                </a:ext>
              </a:extLst>
            </p:cNvPr>
            <p:cNvSpPr/>
            <p:nvPr/>
          </p:nvSpPr>
          <p:spPr>
            <a:xfrm>
              <a:off x="2251123" y="3755619"/>
              <a:ext cx="749808" cy="7480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9" name="Oval 578">
              <a:extLst>
                <a:ext uri="{FF2B5EF4-FFF2-40B4-BE49-F238E27FC236}">
                  <a16:creationId xmlns:a16="http://schemas.microsoft.com/office/drawing/2014/main" id="{B72C902B-FBFF-C4FA-72ED-F16230936D50}"/>
                </a:ext>
              </a:extLst>
            </p:cNvPr>
            <p:cNvSpPr/>
            <p:nvPr/>
          </p:nvSpPr>
          <p:spPr>
            <a:xfrm>
              <a:off x="3572100" y="3992480"/>
              <a:ext cx="274320" cy="274320"/>
            </a:xfrm>
            <a:prstGeom prst="ellipse">
              <a:avLst/>
            </a:prstGeom>
            <a:solidFill>
              <a:schemeClr val="bg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0" name="Oval 579">
              <a:extLst>
                <a:ext uri="{FF2B5EF4-FFF2-40B4-BE49-F238E27FC236}">
                  <a16:creationId xmlns:a16="http://schemas.microsoft.com/office/drawing/2014/main" id="{09257D3C-F13C-8818-CCB3-C9FAB8A367C0}"/>
                </a:ext>
              </a:extLst>
            </p:cNvPr>
            <p:cNvSpPr/>
            <p:nvPr/>
          </p:nvSpPr>
          <p:spPr>
            <a:xfrm>
              <a:off x="3617820" y="4038200"/>
              <a:ext cx="182880" cy="182880"/>
            </a:xfrm>
            <a:prstGeom prst="ellipse">
              <a:avLst/>
            </a:prstGeom>
            <a:solidFill>
              <a:schemeClr val="accent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65000"/>
                  </a:prstClr>
                </a:solidFill>
                <a:effectLst/>
                <a:uLnTx/>
                <a:uFillTx/>
                <a:latin typeface="Arial" panose="020B0604020202020204"/>
                <a:ea typeface="+mn-ea"/>
                <a:cs typeface="+mn-cs"/>
              </a:endParaRPr>
            </a:p>
          </p:txBody>
        </p:sp>
      </p:grpSp>
      <p:cxnSp>
        <p:nvCxnSpPr>
          <p:cNvPr id="582" name="Straight Connector 581">
            <a:extLst>
              <a:ext uri="{FF2B5EF4-FFF2-40B4-BE49-F238E27FC236}">
                <a16:creationId xmlns:a16="http://schemas.microsoft.com/office/drawing/2014/main" id="{733E7BFC-9A80-0E84-9BA5-C7BB402E2A62}"/>
              </a:ext>
            </a:extLst>
          </p:cNvPr>
          <p:cNvCxnSpPr/>
          <p:nvPr/>
        </p:nvCxnSpPr>
        <p:spPr>
          <a:xfrm flipH="1" flipV="1">
            <a:off x="1310900" y="5323423"/>
            <a:ext cx="3169192" cy="0"/>
          </a:xfrm>
          <a:prstGeom prst="line">
            <a:avLst/>
          </a:prstGeom>
          <a:ln>
            <a:solidFill>
              <a:srgbClr val="888B8D"/>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660088DF-FFB3-9C80-1362-9194DF5AF84C}"/>
              </a:ext>
            </a:extLst>
          </p:cNvPr>
          <p:cNvCxnSpPr/>
          <p:nvPr/>
        </p:nvCxnSpPr>
        <p:spPr>
          <a:xfrm rot="17862287" flipH="1" flipV="1">
            <a:off x="6544914" y="3653222"/>
            <a:ext cx="664140" cy="0"/>
          </a:xfrm>
          <a:prstGeom prst="line">
            <a:avLst/>
          </a:prstGeom>
          <a:ln>
            <a:solidFill>
              <a:srgbClr val="888B8D"/>
            </a:solidFill>
            <a:prstDash val="dash"/>
          </a:ln>
        </p:spPr>
        <p:style>
          <a:lnRef idx="1">
            <a:schemeClr val="accent1"/>
          </a:lnRef>
          <a:fillRef idx="0">
            <a:schemeClr val="accent1"/>
          </a:fillRef>
          <a:effectRef idx="0">
            <a:schemeClr val="accent1"/>
          </a:effectRef>
          <a:fontRef idx="minor">
            <a:schemeClr val="tx1"/>
          </a:fontRef>
        </p:style>
      </p:cxnSp>
      <p:sp>
        <p:nvSpPr>
          <p:cNvPr id="584" name="Oval 583">
            <a:extLst>
              <a:ext uri="{FF2B5EF4-FFF2-40B4-BE49-F238E27FC236}">
                <a16:creationId xmlns:a16="http://schemas.microsoft.com/office/drawing/2014/main" id="{7B15590D-6944-04D9-248B-787F53E53F31}"/>
              </a:ext>
            </a:extLst>
          </p:cNvPr>
          <p:cNvSpPr/>
          <p:nvPr/>
        </p:nvSpPr>
        <p:spPr>
          <a:xfrm rot="17862287" flipH="1">
            <a:off x="6850729" y="2727379"/>
            <a:ext cx="672536" cy="67095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5" name="Oval 584">
            <a:extLst>
              <a:ext uri="{FF2B5EF4-FFF2-40B4-BE49-F238E27FC236}">
                <a16:creationId xmlns:a16="http://schemas.microsoft.com/office/drawing/2014/main" id="{C7C84C69-54D6-E288-A0C2-072F0415D012}"/>
              </a:ext>
            </a:extLst>
          </p:cNvPr>
          <p:cNvSpPr/>
          <p:nvPr/>
        </p:nvSpPr>
        <p:spPr>
          <a:xfrm rot="17862287" flipH="1">
            <a:off x="6612260" y="3800040"/>
            <a:ext cx="246050" cy="246050"/>
          </a:xfrm>
          <a:prstGeom prst="ellipse">
            <a:avLst/>
          </a:prstGeom>
          <a:solidFill>
            <a:schemeClr val="bg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6" name="Oval 585">
            <a:extLst>
              <a:ext uri="{FF2B5EF4-FFF2-40B4-BE49-F238E27FC236}">
                <a16:creationId xmlns:a16="http://schemas.microsoft.com/office/drawing/2014/main" id="{EA68BE91-D74D-539F-992A-785B8A70E3D3}"/>
              </a:ext>
            </a:extLst>
          </p:cNvPr>
          <p:cNvSpPr/>
          <p:nvPr/>
        </p:nvSpPr>
        <p:spPr>
          <a:xfrm rot="17862287" flipH="1">
            <a:off x="6653268" y="3841048"/>
            <a:ext cx="164033" cy="164033"/>
          </a:xfrm>
          <a:prstGeom prst="ellipse">
            <a:avLst/>
          </a:prstGeom>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87" name="Group 586">
            <a:extLst>
              <a:ext uri="{FF2B5EF4-FFF2-40B4-BE49-F238E27FC236}">
                <a16:creationId xmlns:a16="http://schemas.microsoft.com/office/drawing/2014/main" id="{A7F853ED-6825-DE90-6B99-0BA30E187A8A}"/>
              </a:ext>
            </a:extLst>
          </p:cNvPr>
          <p:cNvGrpSpPr>
            <a:grpSpLocks noChangeAspect="1"/>
          </p:cNvGrpSpPr>
          <p:nvPr/>
        </p:nvGrpSpPr>
        <p:grpSpPr>
          <a:xfrm>
            <a:off x="6894269" y="2791774"/>
            <a:ext cx="538497" cy="546245"/>
            <a:chOff x="2889374" y="5459034"/>
            <a:chExt cx="884267" cy="896991"/>
          </a:xfrm>
        </p:grpSpPr>
        <p:sp>
          <p:nvSpPr>
            <p:cNvPr id="588" name="object 578">
              <a:extLst>
                <a:ext uri="{FF2B5EF4-FFF2-40B4-BE49-F238E27FC236}">
                  <a16:creationId xmlns:a16="http://schemas.microsoft.com/office/drawing/2014/main" id="{3865CC34-3102-CCC2-A95B-3C610AF77D00}"/>
                </a:ext>
              </a:extLst>
            </p:cNvPr>
            <p:cNvSpPr/>
            <p:nvPr/>
          </p:nvSpPr>
          <p:spPr>
            <a:xfrm>
              <a:off x="3142452" y="6135046"/>
              <a:ext cx="441959" cy="220979"/>
            </a:xfrm>
            <a:custGeom>
              <a:avLst/>
              <a:gdLst/>
              <a:ahLst/>
              <a:cxnLst/>
              <a:rect l="l" t="t" r="r" b="b"/>
              <a:pathLst>
                <a:path w="441960" h="220979">
                  <a:moveTo>
                    <a:pt x="153123" y="162509"/>
                  </a:moveTo>
                  <a:lnTo>
                    <a:pt x="151746" y="175669"/>
                  </a:lnTo>
                  <a:lnTo>
                    <a:pt x="150344" y="189069"/>
                  </a:lnTo>
                  <a:lnTo>
                    <a:pt x="148810" y="203705"/>
                  </a:lnTo>
                  <a:lnTo>
                    <a:pt x="147040" y="220573"/>
                  </a:lnTo>
                  <a:lnTo>
                    <a:pt x="109626" y="190292"/>
                  </a:lnTo>
                  <a:lnTo>
                    <a:pt x="73229" y="160835"/>
                  </a:lnTo>
                  <a:lnTo>
                    <a:pt x="36978" y="131498"/>
                  </a:lnTo>
                  <a:lnTo>
                    <a:pt x="0" y="101574"/>
                  </a:lnTo>
                  <a:lnTo>
                    <a:pt x="42329" y="79802"/>
                  </a:lnTo>
                  <a:lnTo>
                    <a:pt x="83707" y="58518"/>
                  </a:lnTo>
                  <a:lnTo>
                    <a:pt x="125163" y="37191"/>
                  </a:lnTo>
                  <a:lnTo>
                    <a:pt x="167728" y="15290"/>
                  </a:lnTo>
                  <a:lnTo>
                    <a:pt x="166021" y="31608"/>
                  </a:lnTo>
                  <a:lnTo>
                    <a:pt x="164498" y="46154"/>
                  </a:lnTo>
                  <a:lnTo>
                    <a:pt x="163072" y="59782"/>
                  </a:lnTo>
                  <a:lnTo>
                    <a:pt x="161658" y="73342"/>
                  </a:lnTo>
                  <a:lnTo>
                    <a:pt x="191670" y="75749"/>
                  </a:lnTo>
                  <a:lnTo>
                    <a:pt x="248699" y="71456"/>
                  </a:lnTo>
                  <a:lnTo>
                    <a:pt x="310703" y="54044"/>
                  </a:lnTo>
                  <a:lnTo>
                    <a:pt x="373134" y="21397"/>
                  </a:lnTo>
                  <a:lnTo>
                    <a:pt x="401104" y="0"/>
                  </a:lnTo>
                  <a:lnTo>
                    <a:pt x="441502" y="79616"/>
                  </a:lnTo>
                  <a:lnTo>
                    <a:pt x="400995" y="107167"/>
                  </a:lnTo>
                  <a:lnTo>
                    <a:pt x="358595" y="129177"/>
                  </a:lnTo>
                  <a:lnTo>
                    <a:pt x="314318" y="145700"/>
                  </a:lnTo>
                  <a:lnTo>
                    <a:pt x="268183" y="156792"/>
                  </a:lnTo>
                  <a:lnTo>
                    <a:pt x="220207" y="162508"/>
                  </a:lnTo>
                  <a:lnTo>
                    <a:pt x="170408" y="162902"/>
                  </a:lnTo>
                  <a:lnTo>
                    <a:pt x="165823" y="162712"/>
                  </a:lnTo>
                  <a:lnTo>
                    <a:pt x="161226" y="162686"/>
                  </a:lnTo>
                  <a:lnTo>
                    <a:pt x="153123" y="162509"/>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89" name="object 579">
              <a:extLst>
                <a:ext uri="{FF2B5EF4-FFF2-40B4-BE49-F238E27FC236}">
                  <a16:creationId xmlns:a16="http://schemas.microsoft.com/office/drawing/2014/main" id="{0981C292-400F-A8D5-9554-BD0CB7CB917E}"/>
                </a:ext>
              </a:extLst>
            </p:cNvPr>
            <p:cNvSpPr/>
            <p:nvPr/>
          </p:nvSpPr>
          <p:spPr>
            <a:xfrm>
              <a:off x="2889374" y="5765389"/>
              <a:ext cx="284480" cy="447040"/>
            </a:xfrm>
            <a:custGeom>
              <a:avLst/>
              <a:gdLst/>
              <a:ahLst/>
              <a:cxnLst/>
              <a:rect l="l" t="t" r="r" b="b"/>
              <a:pathLst>
                <a:path w="284480" h="447039">
                  <a:moveTo>
                    <a:pt x="58204" y="161671"/>
                  </a:moveTo>
                  <a:lnTo>
                    <a:pt x="45014" y="162722"/>
                  </a:lnTo>
                  <a:lnTo>
                    <a:pt x="31583" y="163795"/>
                  </a:lnTo>
                  <a:lnTo>
                    <a:pt x="16911" y="164967"/>
                  </a:lnTo>
                  <a:lnTo>
                    <a:pt x="0" y="166319"/>
                  </a:lnTo>
                  <a:lnTo>
                    <a:pt x="22922" y="123997"/>
                  </a:lnTo>
                  <a:lnTo>
                    <a:pt x="45223" y="82826"/>
                  </a:lnTo>
                  <a:lnTo>
                    <a:pt x="67435" y="41821"/>
                  </a:lnTo>
                  <a:lnTo>
                    <a:pt x="90093" y="0"/>
                  </a:lnTo>
                  <a:lnTo>
                    <a:pt x="119241" y="37623"/>
                  </a:lnTo>
                  <a:lnTo>
                    <a:pt x="147737" y="74407"/>
                  </a:lnTo>
                  <a:lnTo>
                    <a:pt x="176288" y="111265"/>
                  </a:lnTo>
                  <a:lnTo>
                    <a:pt x="205600" y="149110"/>
                  </a:lnTo>
                  <a:lnTo>
                    <a:pt x="189246" y="150417"/>
                  </a:lnTo>
                  <a:lnTo>
                    <a:pt x="174667" y="151582"/>
                  </a:lnTo>
                  <a:lnTo>
                    <a:pt x="161010" y="152673"/>
                  </a:lnTo>
                  <a:lnTo>
                    <a:pt x="147421" y="153758"/>
                  </a:lnTo>
                  <a:lnTo>
                    <a:pt x="150548" y="183701"/>
                  </a:lnTo>
                  <a:lnTo>
                    <a:pt x="165207" y="238987"/>
                  </a:lnTo>
                  <a:lnTo>
                    <a:pt x="197105" y="302195"/>
                  </a:lnTo>
                  <a:lnTo>
                    <a:pt x="221986" y="335627"/>
                  </a:lnTo>
                  <a:lnTo>
                    <a:pt x="250948" y="365247"/>
                  </a:lnTo>
                  <a:lnTo>
                    <a:pt x="283984" y="391033"/>
                  </a:lnTo>
                  <a:lnTo>
                    <a:pt x="212115" y="446709"/>
                  </a:lnTo>
                  <a:lnTo>
                    <a:pt x="172052" y="410434"/>
                  </a:lnTo>
                  <a:lnTo>
                    <a:pt x="138027" y="370759"/>
                  </a:lnTo>
                  <a:lnTo>
                    <a:pt x="109974" y="327718"/>
                  </a:lnTo>
                  <a:lnTo>
                    <a:pt x="87824" y="281347"/>
                  </a:lnTo>
                  <a:lnTo>
                    <a:pt x="71513" y="231680"/>
                  </a:lnTo>
                  <a:lnTo>
                    <a:pt x="60972" y="178752"/>
                  </a:lnTo>
                  <a:lnTo>
                    <a:pt x="60337" y="174193"/>
                  </a:lnTo>
                  <a:lnTo>
                    <a:pt x="59512" y="169672"/>
                  </a:lnTo>
                  <a:lnTo>
                    <a:pt x="58204" y="161671"/>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90" name="object 580">
              <a:extLst>
                <a:ext uri="{FF2B5EF4-FFF2-40B4-BE49-F238E27FC236}">
                  <a16:creationId xmlns:a16="http://schemas.microsoft.com/office/drawing/2014/main" id="{4446BA3C-9380-08F0-CD0A-BB1FDD721DDD}"/>
                </a:ext>
              </a:extLst>
            </p:cNvPr>
            <p:cNvSpPr/>
            <p:nvPr/>
          </p:nvSpPr>
          <p:spPr>
            <a:xfrm>
              <a:off x="3588221" y="5773799"/>
              <a:ext cx="185420" cy="421640"/>
            </a:xfrm>
            <a:custGeom>
              <a:avLst/>
              <a:gdLst/>
              <a:ahLst/>
              <a:cxnLst/>
              <a:rect l="l" t="t" r="r" b="b"/>
              <a:pathLst>
                <a:path w="185420" h="421639">
                  <a:moveTo>
                    <a:pt x="132867" y="299186"/>
                  </a:moveTo>
                  <a:lnTo>
                    <a:pt x="144725" y="305066"/>
                  </a:lnTo>
                  <a:lnTo>
                    <a:pt x="156798" y="311056"/>
                  </a:lnTo>
                  <a:lnTo>
                    <a:pt x="169984" y="317601"/>
                  </a:lnTo>
                  <a:lnTo>
                    <a:pt x="185178" y="325145"/>
                  </a:lnTo>
                  <a:lnTo>
                    <a:pt x="143753" y="349643"/>
                  </a:lnTo>
                  <a:lnTo>
                    <a:pt x="103452" y="373476"/>
                  </a:lnTo>
                  <a:lnTo>
                    <a:pt x="63311" y="397216"/>
                  </a:lnTo>
                  <a:lnTo>
                    <a:pt x="22364" y="421436"/>
                  </a:lnTo>
                  <a:lnTo>
                    <a:pt x="16719" y="374174"/>
                  </a:lnTo>
                  <a:lnTo>
                    <a:pt x="11201" y="327972"/>
                  </a:lnTo>
                  <a:lnTo>
                    <a:pt x="5673" y="281678"/>
                  </a:lnTo>
                  <a:lnTo>
                    <a:pt x="0" y="234137"/>
                  </a:lnTo>
                  <a:lnTo>
                    <a:pt x="14700" y="241432"/>
                  </a:lnTo>
                  <a:lnTo>
                    <a:pt x="27805" y="247935"/>
                  </a:lnTo>
                  <a:lnTo>
                    <a:pt x="40078" y="254028"/>
                  </a:lnTo>
                  <a:lnTo>
                    <a:pt x="52285" y="260095"/>
                  </a:lnTo>
                  <a:lnTo>
                    <a:pt x="65011" y="232807"/>
                  </a:lnTo>
                  <a:lnTo>
                    <a:pt x="74426" y="205449"/>
                  </a:lnTo>
                  <a:lnTo>
                    <a:pt x="80876" y="177855"/>
                  </a:lnTo>
                  <a:lnTo>
                    <a:pt x="84708" y="149859"/>
                  </a:lnTo>
                  <a:lnTo>
                    <a:pt x="86179" y="113666"/>
                  </a:lnTo>
                  <a:lnTo>
                    <a:pt x="83731" y="78300"/>
                  </a:lnTo>
                  <a:lnTo>
                    <a:pt x="77358" y="43769"/>
                  </a:lnTo>
                  <a:lnTo>
                    <a:pt x="67055" y="10083"/>
                  </a:lnTo>
                  <a:lnTo>
                    <a:pt x="155765" y="0"/>
                  </a:lnTo>
                  <a:lnTo>
                    <a:pt x="167456" y="47575"/>
                  </a:lnTo>
                  <a:lnTo>
                    <a:pt x="173293" y="94991"/>
                  </a:lnTo>
                  <a:lnTo>
                    <a:pt x="173335" y="142249"/>
                  </a:lnTo>
                  <a:lnTo>
                    <a:pt x="167642" y="189353"/>
                  </a:lnTo>
                  <a:lnTo>
                    <a:pt x="156271" y="236305"/>
                  </a:lnTo>
                  <a:lnTo>
                    <a:pt x="139280" y="283108"/>
                  </a:lnTo>
                  <a:lnTo>
                    <a:pt x="137490" y="287350"/>
                  </a:lnTo>
                  <a:lnTo>
                    <a:pt x="135864" y="291655"/>
                  </a:lnTo>
                  <a:lnTo>
                    <a:pt x="132867" y="299186"/>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91" name="object 581">
              <a:extLst>
                <a:ext uri="{FF2B5EF4-FFF2-40B4-BE49-F238E27FC236}">
                  <a16:creationId xmlns:a16="http://schemas.microsoft.com/office/drawing/2014/main" id="{BD532355-9919-BA0D-09B1-6F0514B9694D}"/>
                </a:ext>
              </a:extLst>
            </p:cNvPr>
            <p:cNvSpPr/>
            <p:nvPr/>
          </p:nvSpPr>
          <p:spPr>
            <a:xfrm>
              <a:off x="3360817" y="5481042"/>
              <a:ext cx="370840" cy="271145"/>
            </a:xfrm>
            <a:custGeom>
              <a:avLst/>
              <a:gdLst/>
              <a:ahLst/>
              <a:cxnLst/>
              <a:rect l="l" t="t" r="r" b="b"/>
              <a:pathLst>
                <a:path w="370839" h="271145">
                  <a:moveTo>
                    <a:pt x="293992" y="125095"/>
                  </a:moveTo>
                  <a:lnTo>
                    <a:pt x="303612" y="116012"/>
                  </a:lnTo>
                  <a:lnTo>
                    <a:pt x="313412" y="106765"/>
                  </a:lnTo>
                  <a:lnTo>
                    <a:pt x="324119" y="96666"/>
                  </a:lnTo>
                  <a:lnTo>
                    <a:pt x="336461" y="85026"/>
                  </a:lnTo>
                  <a:lnTo>
                    <a:pt x="345101" y="132373"/>
                  </a:lnTo>
                  <a:lnTo>
                    <a:pt x="353501" y="178433"/>
                  </a:lnTo>
                  <a:lnTo>
                    <a:pt x="361867" y="224309"/>
                  </a:lnTo>
                  <a:lnTo>
                    <a:pt x="370408" y="271106"/>
                  </a:lnTo>
                  <a:lnTo>
                    <a:pt x="324114" y="260032"/>
                  </a:lnTo>
                  <a:lnTo>
                    <a:pt x="278858" y="249204"/>
                  </a:lnTo>
                  <a:lnTo>
                    <a:pt x="233514" y="238354"/>
                  </a:lnTo>
                  <a:lnTo>
                    <a:pt x="186956" y="227215"/>
                  </a:lnTo>
                  <a:lnTo>
                    <a:pt x="198890" y="215954"/>
                  </a:lnTo>
                  <a:lnTo>
                    <a:pt x="209526" y="205916"/>
                  </a:lnTo>
                  <a:lnTo>
                    <a:pt x="219487" y="196513"/>
                  </a:lnTo>
                  <a:lnTo>
                    <a:pt x="229400" y="187159"/>
                  </a:lnTo>
                  <a:lnTo>
                    <a:pt x="185812" y="147466"/>
                  </a:lnTo>
                  <a:lnTo>
                    <a:pt x="137223" y="118554"/>
                  </a:lnTo>
                  <a:lnTo>
                    <a:pt x="69759" y="94695"/>
                  </a:lnTo>
                  <a:lnTo>
                    <a:pt x="0" y="86715"/>
                  </a:lnTo>
                  <a:lnTo>
                    <a:pt x="21247" y="0"/>
                  </a:lnTo>
                  <a:lnTo>
                    <a:pt x="69928" y="5510"/>
                  </a:lnTo>
                  <a:lnTo>
                    <a:pt x="116433" y="16455"/>
                  </a:lnTo>
                  <a:lnTo>
                    <a:pt x="160783" y="32783"/>
                  </a:lnTo>
                  <a:lnTo>
                    <a:pt x="203001" y="54439"/>
                  </a:lnTo>
                  <a:lnTo>
                    <a:pt x="243108" y="81371"/>
                  </a:lnTo>
                  <a:lnTo>
                    <a:pt x="281127" y="113525"/>
                  </a:lnTo>
                  <a:lnTo>
                    <a:pt x="284492" y="116674"/>
                  </a:lnTo>
                  <a:lnTo>
                    <a:pt x="287959" y="119684"/>
                  </a:lnTo>
                  <a:lnTo>
                    <a:pt x="293992" y="125095"/>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92" name="object 582">
              <a:extLst>
                <a:ext uri="{FF2B5EF4-FFF2-40B4-BE49-F238E27FC236}">
                  <a16:creationId xmlns:a16="http://schemas.microsoft.com/office/drawing/2014/main" id="{358B2914-AEB1-C787-E6EF-6FBBE0110F5D}"/>
                </a:ext>
              </a:extLst>
            </p:cNvPr>
            <p:cNvSpPr/>
            <p:nvPr/>
          </p:nvSpPr>
          <p:spPr>
            <a:xfrm>
              <a:off x="2974478" y="5459034"/>
              <a:ext cx="377825" cy="315595"/>
            </a:xfrm>
            <a:custGeom>
              <a:avLst/>
              <a:gdLst/>
              <a:ahLst/>
              <a:cxnLst/>
              <a:rect l="l" t="t" r="r" b="b"/>
              <a:pathLst>
                <a:path w="377825" h="315595">
                  <a:moveTo>
                    <a:pt x="213804" y="53936"/>
                  </a:moveTo>
                  <a:lnTo>
                    <a:pt x="208727" y="41706"/>
                  </a:lnTo>
                  <a:lnTo>
                    <a:pt x="203560" y="29259"/>
                  </a:lnTo>
                  <a:lnTo>
                    <a:pt x="197915" y="15666"/>
                  </a:lnTo>
                  <a:lnTo>
                    <a:pt x="191401" y="0"/>
                  </a:lnTo>
                  <a:lnTo>
                    <a:pt x="238744" y="8739"/>
                  </a:lnTo>
                  <a:lnTo>
                    <a:pt x="284792" y="17243"/>
                  </a:lnTo>
                  <a:lnTo>
                    <a:pt x="330653" y="25713"/>
                  </a:lnTo>
                  <a:lnTo>
                    <a:pt x="377431" y="34353"/>
                  </a:lnTo>
                  <a:lnTo>
                    <a:pt x="350638" y="73686"/>
                  </a:lnTo>
                  <a:lnTo>
                    <a:pt x="324443" y="112142"/>
                  </a:lnTo>
                  <a:lnTo>
                    <a:pt x="298196" y="150676"/>
                  </a:lnTo>
                  <a:lnTo>
                    <a:pt x="271246" y="190246"/>
                  </a:lnTo>
                  <a:lnTo>
                    <a:pt x="264955" y="175092"/>
                  </a:lnTo>
                  <a:lnTo>
                    <a:pt x="259349" y="161585"/>
                  </a:lnTo>
                  <a:lnTo>
                    <a:pt x="254101" y="148930"/>
                  </a:lnTo>
                  <a:lnTo>
                    <a:pt x="248881" y="136334"/>
                  </a:lnTo>
                  <a:lnTo>
                    <a:pt x="221359" y="148557"/>
                  </a:lnTo>
                  <a:lnTo>
                    <a:pt x="173297" y="179564"/>
                  </a:lnTo>
                  <a:lnTo>
                    <a:pt x="127137" y="224476"/>
                  </a:lnTo>
                  <a:lnTo>
                    <a:pt x="87866" y="282972"/>
                  </a:lnTo>
                  <a:lnTo>
                    <a:pt x="73507" y="315125"/>
                  </a:lnTo>
                  <a:lnTo>
                    <a:pt x="0" y="264464"/>
                  </a:lnTo>
                  <a:lnTo>
                    <a:pt x="22432" y="220912"/>
                  </a:lnTo>
                  <a:lnTo>
                    <a:pt x="49176" y="181327"/>
                  </a:lnTo>
                  <a:lnTo>
                    <a:pt x="80189" y="145667"/>
                  </a:lnTo>
                  <a:lnTo>
                    <a:pt x="115427" y="113892"/>
                  </a:lnTo>
                  <a:lnTo>
                    <a:pt x="154849" y="85962"/>
                  </a:lnTo>
                  <a:lnTo>
                    <a:pt x="198412" y="61836"/>
                  </a:lnTo>
                  <a:lnTo>
                    <a:pt x="202539" y="59817"/>
                  </a:lnTo>
                  <a:lnTo>
                    <a:pt x="206603" y="57632"/>
                  </a:lnTo>
                  <a:lnTo>
                    <a:pt x="213804" y="53936"/>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sp>
        <p:nvSpPr>
          <p:cNvPr id="594" name="TextBox 593">
            <a:extLst>
              <a:ext uri="{FF2B5EF4-FFF2-40B4-BE49-F238E27FC236}">
                <a16:creationId xmlns:a16="http://schemas.microsoft.com/office/drawing/2014/main" id="{F53C074B-537E-D9A4-0D49-319D8389A571}"/>
              </a:ext>
            </a:extLst>
          </p:cNvPr>
          <p:cNvSpPr txBox="1"/>
          <p:nvPr/>
        </p:nvSpPr>
        <p:spPr>
          <a:xfrm>
            <a:off x="8226265" y="4549545"/>
            <a:ext cx="65200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50" normalizeH="0" baseline="0" noProof="0">
                <a:ln w="9525" cmpd="sng">
                  <a:solidFill>
                    <a:srgbClr val="595959"/>
                  </a:solidFill>
                  <a:prstDash val="solid"/>
                </a:ln>
                <a:solidFill>
                  <a:srgbClr val="70AD47">
                    <a:tint val="1000"/>
                  </a:srgbClr>
                </a:solidFill>
                <a:effectLst/>
                <a:uLnTx/>
                <a:uFillTx/>
                <a:latin typeface="Arial" panose="020B0604020202020204"/>
                <a:ea typeface="+mn-ea"/>
                <a:cs typeface="+mn-cs"/>
              </a:rPr>
              <a:t>%</a:t>
            </a:r>
            <a:endParaRPr kumimoji="0" lang="en-US" sz="2000" b="0" i="1" u="none" strike="noStrike" kern="1200" cap="none" spc="0" normalizeH="0" baseline="0" noProof="0">
              <a:ln w="9525" cmpd="sng">
                <a:solidFill>
                  <a:srgbClr val="595959"/>
                </a:solidFill>
                <a:prstDash val="solid"/>
              </a:ln>
              <a:solidFill>
                <a:srgbClr val="595959"/>
              </a:solidFill>
              <a:effectLst/>
              <a:uLnTx/>
              <a:uFillTx/>
              <a:latin typeface="Arial" panose="020B0604020202020204"/>
              <a:ea typeface="+mn-ea"/>
              <a:cs typeface="+mn-cs"/>
            </a:endParaRPr>
          </a:p>
        </p:txBody>
      </p:sp>
      <p:grpSp>
        <p:nvGrpSpPr>
          <p:cNvPr id="595" name="Group 594">
            <a:extLst>
              <a:ext uri="{FF2B5EF4-FFF2-40B4-BE49-F238E27FC236}">
                <a16:creationId xmlns:a16="http://schemas.microsoft.com/office/drawing/2014/main" id="{A452E460-2F32-8598-D7B3-7F36AADDC73C}"/>
              </a:ext>
            </a:extLst>
          </p:cNvPr>
          <p:cNvGrpSpPr>
            <a:grpSpLocks noChangeAspect="1"/>
          </p:cNvGrpSpPr>
          <p:nvPr/>
        </p:nvGrpSpPr>
        <p:grpSpPr>
          <a:xfrm>
            <a:off x="7812771" y="3582646"/>
            <a:ext cx="548640" cy="439754"/>
            <a:chOff x="13921223" y="7003512"/>
            <a:chExt cx="920495" cy="737807"/>
          </a:xfrm>
        </p:grpSpPr>
        <p:sp>
          <p:nvSpPr>
            <p:cNvPr id="596" name="object 2002">
              <a:extLst>
                <a:ext uri="{FF2B5EF4-FFF2-40B4-BE49-F238E27FC236}">
                  <a16:creationId xmlns:a16="http://schemas.microsoft.com/office/drawing/2014/main" id="{8F51AEB5-5051-84AE-89AB-86683FD8AE9F}"/>
                </a:ext>
              </a:extLst>
            </p:cNvPr>
            <p:cNvSpPr/>
            <p:nvPr/>
          </p:nvSpPr>
          <p:spPr>
            <a:xfrm>
              <a:off x="14345784" y="7383617"/>
              <a:ext cx="495934" cy="205104"/>
            </a:xfrm>
            <a:custGeom>
              <a:avLst/>
              <a:gdLst/>
              <a:ahLst/>
              <a:cxnLst/>
              <a:rect l="l" t="t" r="r" b="b"/>
              <a:pathLst>
                <a:path w="495934" h="205104">
                  <a:moveTo>
                    <a:pt x="492391" y="204761"/>
                  </a:moveTo>
                  <a:lnTo>
                    <a:pt x="495668" y="159928"/>
                  </a:lnTo>
                  <a:lnTo>
                    <a:pt x="494222" y="132460"/>
                  </a:lnTo>
                  <a:lnTo>
                    <a:pt x="485767" y="111089"/>
                  </a:lnTo>
                  <a:lnTo>
                    <a:pt x="441922" y="56008"/>
                  </a:lnTo>
                  <a:lnTo>
                    <a:pt x="393084" y="24218"/>
                  </a:lnTo>
                  <a:lnTo>
                    <a:pt x="384352" y="20357"/>
                  </a:lnTo>
                  <a:lnTo>
                    <a:pt x="378881" y="8617"/>
                  </a:lnTo>
                  <a:lnTo>
                    <a:pt x="369222" y="1395"/>
                  </a:lnTo>
                  <a:lnTo>
                    <a:pt x="356365" y="0"/>
                  </a:lnTo>
                  <a:lnTo>
                    <a:pt x="341299" y="5740"/>
                  </a:lnTo>
                  <a:lnTo>
                    <a:pt x="347161" y="63273"/>
                  </a:lnTo>
                  <a:lnTo>
                    <a:pt x="339469" y="92817"/>
                  </a:lnTo>
                  <a:lnTo>
                    <a:pt x="309544" y="103702"/>
                  </a:lnTo>
                  <a:lnTo>
                    <a:pt x="248704" y="105257"/>
                  </a:lnTo>
                  <a:lnTo>
                    <a:pt x="187900" y="89707"/>
                  </a:lnTo>
                  <a:lnTo>
                    <a:pt x="157105" y="55498"/>
                  </a:lnTo>
                  <a:lnTo>
                    <a:pt x="146112" y="21289"/>
                  </a:lnTo>
                  <a:lnTo>
                    <a:pt x="144716" y="5740"/>
                  </a:lnTo>
                  <a:lnTo>
                    <a:pt x="134799" y="1614"/>
                  </a:lnTo>
                  <a:lnTo>
                    <a:pt x="123896" y="541"/>
                  </a:lnTo>
                  <a:lnTo>
                    <a:pt x="112842" y="5927"/>
                  </a:lnTo>
                  <a:lnTo>
                    <a:pt x="102476" y="21183"/>
                  </a:lnTo>
                  <a:lnTo>
                    <a:pt x="47025" y="39725"/>
                  </a:lnTo>
                  <a:lnTo>
                    <a:pt x="17867" y="59173"/>
                  </a:lnTo>
                  <a:lnTo>
                    <a:pt x="5394" y="91468"/>
                  </a:lnTo>
                  <a:lnTo>
                    <a:pt x="0" y="148551"/>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97" name="object 2003">
              <a:extLst>
                <a:ext uri="{FF2B5EF4-FFF2-40B4-BE49-F238E27FC236}">
                  <a16:creationId xmlns:a16="http://schemas.microsoft.com/office/drawing/2014/main" id="{49F49DD9-85BD-8921-E291-FF2BA9E3298D}"/>
                </a:ext>
              </a:extLst>
            </p:cNvPr>
            <p:cNvSpPr/>
            <p:nvPr/>
          </p:nvSpPr>
          <p:spPr>
            <a:xfrm>
              <a:off x="14448256" y="7399058"/>
              <a:ext cx="280035" cy="123825"/>
            </a:xfrm>
            <a:custGeom>
              <a:avLst/>
              <a:gdLst/>
              <a:ahLst/>
              <a:cxnLst/>
              <a:rect l="l" t="t" r="r" b="b"/>
              <a:pathLst>
                <a:path w="280034" h="123825">
                  <a:moveTo>
                    <a:pt x="279590" y="0"/>
                  </a:moveTo>
                  <a:lnTo>
                    <a:pt x="264480" y="65037"/>
                  </a:lnTo>
                  <a:lnTo>
                    <a:pt x="238789" y="93655"/>
                  </a:lnTo>
                  <a:lnTo>
                    <a:pt x="200041" y="114485"/>
                  </a:lnTo>
                  <a:lnTo>
                    <a:pt x="147510" y="123634"/>
                  </a:lnTo>
                  <a:lnTo>
                    <a:pt x="68746" y="105213"/>
                  </a:lnTo>
                  <a:lnTo>
                    <a:pt x="24230" y="64687"/>
                  </a:lnTo>
                  <a:lnTo>
                    <a:pt x="4476" y="24161"/>
                  </a:lnTo>
                  <a:lnTo>
                    <a:pt x="0" y="574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98" name="object 2004">
              <a:extLst>
                <a:ext uri="{FF2B5EF4-FFF2-40B4-BE49-F238E27FC236}">
                  <a16:creationId xmlns:a16="http://schemas.microsoft.com/office/drawing/2014/main" id="{9A0BEA6F-6EB6-B48D-72C2-D0B69DF3D1E7}"/>
                </a:ext>
              </a:extLst>
            </p:cNvPr>
            <p:cNvSpPr/>
            <p:nvPr/>
          </p:nvSpPr>
          <p:spPr>
            <a:xfrm>
              <a:off x="14397394" y="7003512"/>
              <a:ext cx="391795" cy="423545"/>
            </a:xfrm>
            <a:custGeom>
              <a:avLst/>
              <a:gdLst/>
              <a:ahLst/>
              <a:cxnLst/>
              <a:rect l="l" t="t" r="r" b="b"/>
              <a:pathLst>
                <a:path w="391794" h="423545">
                  <a:moveTo>
                    <a:pt x="15940" y="420027"/>
                  </a:moveTo>
                  <a:lnTo>
                    <a:pt x="3285" y="372523"/>
                  </a:lnTo>
                  <a:lnTo>
                    <a:pt x="0" y="311516"/>
                  </a:lnTo>
                  <a:lnTo>
                    <a:pt x="1436" y="251422"/>
                  </a:lnTo>
                  <a:lnTo>
                    <a:pt x="2947" y="206654"/>
                  </a:lnTo>
                  <a:lnTo>
                    <a:pt x="19123" y="132294"/>
                  </a:lnTo>
                  <a:lnTo>
                    <a:pt x="38971" y="93263"/>
                  </a:lnTo>
                  <a:lnTo>
                    <a:pt x="66329" y="57295"/>
                  </a:lnTo>
                  <a:lnTo>
                    <a:pt x="100949" y="27613"/>
                  </a:lnTo>
                  <a:lnTo>
                    <a:pt x="142583" y="7440"/>
                  </a:lnTo>
                  <a:lnTo>
                    <a:pt x="190984" y="0"/>
                  </a:lnTo>
                  <a:lnTo>
                    <a:pt x="247163" y="9442"/>
                  </a:lnTo>
                  <a:lnTo>
                    <a:pt x="294621" y="34113"/>
                  </a:lnTo>
                  <a:lnTo>
                    <a:pt x="332692" y="68532"/>
                  </a:lnTo>
                  <a:lnTo>
                    <a:pt x="360709" y="107216"/>
                  </a:lnTo>
                  <a:lnTo>
                    <a:pt x="378008" y="144682"/>
                  </a:lnTo>
                  <a:lnTo>
                    <a:pt x="385953" y="214543"/>
                  </a:lnTo>
                  <a:lnTo>
                    <a:pt x="389627" y="265793"/>
                  </a:lnTo>
                  <a:lnTo>
                    <a:pt x="391312" y="322304"/>
                  </a:lnTo>
                  <a:lnTo>
                    <a:pt x="387378" y="377178"/>
                  </a:lnTo>
                  <a:lnTo>
                    <a:pt x="374194" y="423519"/>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99" name="object 2005">
              <a:extLst>
                <a:ext uri="{FF2B5EF4-FFF2-40B4-BE49-F238E27FC236}">
                  <a16:creationId xmlns:a16="http://schemas.microsoft.com/office/drawing/2014/main" id="{3F75C509-0F1A-64EF-C40B-D487FE919124}"/>
                </a:ext>
              </a:extLst>
            </p:cNvPr>
            <p:cNvSpPr/>
            <p:nvPr/>
          </p:nvSpPr>
          <p:spPr>
            <a:xfrm>
              <a:off x="14464016" y="7079870"/>
              <a:ext cx="271145" cy="290830"/>
            </a:xfrm>
            <a:custGeom>
              <a:avLst/>
              <a:gdLst/>
              <a:ahLst/>
              <a:cxnLst/>
              <a:rect l="l" t="t" r="r" b="b"/>
              <a:pathLst>
                <a:path w="271144" h="290829">
                  <a:moveTo>
                    <a:pt x="184082" y="0"/>
                  </a:moveTo>
                  <a:lnTo>
                    <a:pt x="167733" y="36490"/>
                  </a:lnTo>
                  <a:lnTo>
                    <a:pt x="134733" y="70480"/>
                  </a:lnTo>
                  <a:lnTo>
                    <a:pt x="64174" y="95560"/>
                  </a:lnTo>
                  <a:lnTo>
                    <a:pt x="10361" y="102743"/>
                  </a:lnTo>
                  <a:lnTo>
                    <a:pt x="2307" y="102755"/>
                  </a:lnTo>
                  <a:lnTo>
                    <a:pt x="0" y="211471"/>
                  </a:lnTo>
                  <a:lnTo>
                    <a:pt x="11945" y="267298"/>
                  </a:lnTo>
                  <a:lnTo>
                    <a:pt x="49586" y="287866"/>
                  </a:lnTo>
                  <a:lnTo>
                    <a:pt x="124367" y="290804"/>
                  </a:lnTo>
                  <a:lnTo>
                    <a:pt x="188103" y="270175"/>
                  </a:lnTo>
                  <a:lnTo>
                    <a:pt x="225759" y="224790"/>
                  </a:lnTo>
                  <a:lnTo>
                    <a:pt x="243691" y="179404"/>
                  </a:lnTo>
                  <a:lnTo>
                    <a:pt x="248255" y="158775"/>
                  </a:lnTo>
                  <a:lnTo>
                    <a:pt x="256525" y="148155"/>
                  </a:lnTo>
                  <a:lnTo>
                    <a:pt x="261313" y="141017"/>
                  </a:lnTo>
                  <a:lnTo>
                    <a:pt x="264445" y="134122"/>
                  </a:lnTo>
                  <a:lnTo>
                    <a:pt x="267750" y="124231"/>
                  </a:lnTo>
                  <a:lnTo>
                    <a:pt x="270533" y="107325"/>
                  </a:lnTo>
                  <a:lnTo>
                    <a:pt x="270223" y="86342"/>
                  </a:lnTo>
                  <a:lnTo>
                    <a:pt x="265832" y="68476"/>
                  </a:lnTo>
                  <a:lnTo>
                    <a:pt x="256371" y="60921"/>
                  </a:lnTo>
                  <a:lnTo>
                    <a:pt x="246392" y="65616"/>
                  </a:lnTo>
                  <a:lnTo>
                    <a:pt x="240461" y="75946"/>
                  </a:lnTo>
                  <a:lnTo>
                    <a:pt x="237611" y="86275"/>
                  </a:lnTo>
                  <a:lnTo>
                    <a:pt x="236876" y="90970"/>
                  </a:lnTo>
                  <a:lnTo>
                    <a:pt x="233765" y="58023"/>
                  </a:lnTo>
                  <a:lnTo>
                    <a:pt x="227229" y="37565"/>
                  </a:lnTo>
                  <a:lnTo>
                    <a:pt x="212318" y="21066"/>
                  </a:lnTo>
                  <a:lnTo>
                    <a:pt x="184082" y="0"/>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0" name="object 2006">
              <a:extLst>
                <a:ext uri="{FF2B5EF4-FFF2-40B4-BE49-F238E27FC236}">
                  <a16:creationId xmlns:a16="http://schemas.microsoft.com/office/drawing/2014/main" id="{66A5066E-6E28-229E-114E-F83A4CBF9AE4}"/>
                </a:ext>
              </a:extLst>
            </p:cNvPr>
            <p:cNvSpPr/>
            <p:nvPr/>
          </p:nvSpPr>
          <p:spPr>
            <a:xfrm>
              <a:off x="14496005" y="7351023"/>
              <a:ext cx="31115" cy="71755"/>
            </a:xfrm>
            <a:custGeom>
              <a:avLst/>
              <a:gdLst/>
              <a:ahLst/>
              <a:cxnLst/>
              <a:rect l="l" t="t" r="r" b="b"/>
              <a:pathLst>
                <a:path w="31115" h="71754">
                  <a:moveTo>
                    <a:pt x="30835" y="0"/>
                  </a:moveTo>
                  <a:lnTo>
                    <a:pt x="26088" y="33317"/>
                  </a:lnTo>
                  <a:lnTo>
                    <a:pt x="21294" y="51844"/>
                  </a:lnTo>
                  <a:lnTo>
                    <a:pt x="13562" y="62261"/>
                  </a:lnTo>
                  <a:lnTo>
                    <a:pt x="0" y="71247"/>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1" name="object 2007">
              <a:extLst>
                <a:ext uri="{FF2B5EF4-FFF2-40B4-BE49-F238E27FC236}">
                  <a16:creationId xmlns:a16="http://schemas.microsoft.com/office/drawing/2014/main" id="{D4CB7207-F339-568B-DC60-51E093D863C5}"/>
                </a:ext>
              </a:extLst>
            </p:cNvPr>
            <p:cNvSpPr/>
            <p:nvPr/>
          </p:nvSpPr>
          <p:spPr>
            <a:xfrm>
              <a:off x="14652042" y="7351023"/>
              <a:ext cx="31115" cy="71755"/>
            </a:xfrm>
            <a:custGeom>
              <a:avLst/>
              <a:gdLst/>
              <a:ahLst/>
              <a:cxnLst/>
              <a:rect l="l" t="t" r="r" b="b"/>
              <a:pathLst>
                <a:path w="31115" h="71754">
                  <a:moveTo>
                    <a:pt x="0" y="0"/>
                  </a:moveTo>
                  <a:lnTo>
                    <a:pt x="4746" y="33317"/>
                  </a:lnTo>
                  <a:lnTo>
                    <a:pt x="9540" y="51844"/>
                  </a:lnTo>
                  <a:lnTo>
                    <a:pt x="17273" y="62261"/>
                  </a:lnTo>
                  <a:lnTo>
                    <a:pt x="30835" y="71247"/>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2" name="object 2008">
              <a:extLst>
                <a:ext uri="{FF2B5EF4-FFF2-40B4-BE49-F238E27FC236}">
                  <a16:creationId xmlns:a16="http://schemas.microsoft.com/office/drawing/2014/main" id="{A3CF9B32-6225-35AE-B066-FBD3EB2EEE85}"/>
                </a:ext>
              </a:extLst>
            </p:cNvPr>
            <p:cNvSpPr/>
            <p:nvPr/>
          </p:nvSpPr>
          <p:spPr>
            <a:xfrm>
              <a:off x="14052850" y="7229488"/>
              <a:ext cx="308610" cy="271145"/>
            </a:xfrm>
            <a:custGeom>
              <a:avLst/>
              <a:gdLst/>
              <a:ahLst/>
              <a:cxnLst/>
              <a:rect l="l" t="t" r="r" b="b"/>
              <a:pathLst>
                <a:path w="308609" h="271145">
                  <a:moveTo>
                    <a:pt x="36385" y="59931"/>
                  </a:moveTo>
                  <a:lnTo>
                    <a:pt x="31212" y="41994"/>
                  </a:lnTo>
                  <a:lnTo>
                    <a:pt x="27146" y="32783"/>
                  </a:lnTo>
                  <a:lnTo>
                    <a:pt x="22080" y="29389"/>
                  </a:lnTo>
                  <a:lnTo>
                    <a:pt x="13906" y="28905"/>
                  </a:lnTo>
                  <a:lnTo>
                    <a:pt x="5866" y="30733"/>
                  </a:lnTo>
                  <a:lnTo>
                    <a:pt x="1738" y="37804"/>
                  </a:lnTo>
                  <a:lnTo>
                    <a:pt x="217" y="52501"/>
                  </a:lnTo>
                  <a:lnTo>
                    <a:pt x="0" y="77203"/>
                  </a:lnTo>
                  <a:lnTo>
                    <a:pt x="3677" y="103028"/>
                  </a:lnTo>
                  <a:lnTo>
                    <a:pt x="11766" y="120195"/>
                  </a:lnTo>
                  <a:lnTo>
                    <a:pt x="19856" y="129738"/>
                  </a:lnTo>
                  <a:lnTo>
                    <a:pt x="23533" y="132689"/>
                  </a:lnTo>
                  <a:lnTo>
                    <a:pt x="30911" y="212506"/>
                  </a:lnTo>
                  <a:lnTo>
                    <a:pt x="46413" y="253493"/>
                  </a:lnTo>
                  <a:lnTo>
                    <a:pt x="81777" y="268594"/>
                  </a:lnTo>
                  <a:lnTo>
                    <a:pt x="148742" y="270751"/>
                  </a:lnTo>
                  <a:lnTo>
                    <a:pt x="219402" y="248345"/>
                  </a:lnTo>
                  <a:lnTo>
                    <a:pt x="262172" y="199053"/>
                  </a:lnTo>
                  <a:lnTo>
                    <a:pt x="283273" y="149761"/>
                  </a:lnTo>
                  <a:lnTo>
                    <a:pt x="288925" y="127355"/>
                  </a:lnTo>
                  <a:lnTo>
                    <a:pt x="300063" y="110461"/>
                  </a:lnTo>
                  <a:lnTo>
                    <a:pt x="305782" y="99974"/>
                  </a:lnTo>
                  <a:lnTo>
                    <a:pt x="307889" y="91526"/>
                  </a:lnTo>
                  <a:lnTo>
                    <a:pt x="308190" y="80746"/>
                  </a:lnTo>
                  <a:lnTo>
                    <a:pt x="307771" y="65097"/>
                  </a:lnTo>
                  <a:lnTo>
                    <a:pt x="305646" y="48115"/>
                  </a:lnTo>
                  <a:lnTo>
                    <a:pt x="300513" y="34489"/>
                  </a:lnTo>
                  <a:lnTo>
                    <a:pt x="291071" y="28905"/>
                  </a:lnTo>
                  <a:lnTo>
                    <a:pt x="281288" y="33250"/>
                  </a:lnTo>
                  <a:lnTo>
                    <a:pt x="275418" y="42811"/>
                  </a:lnTo>
                  <a:lnTo>
                    <a:pt x="272558" y="52372"/>
                  </a:lnTo>
                  <a:lnTo>
                    <a:pt x="271805" y="56718"/>
                  </a:lnTo>
                  <a:lnTo>
                    <a:pt x="267525" y="21691"/>
                  </a:lnTo>
                  <a:lnTo>
                    <a:pt x="247112" y="29569"/>
                  </a:lnTo>
                  <a:lnTo>
                    <a:pt x="232616" y="33615"/>
                  </a:lnTo>
                  <a:lnTo>
                    <a:pt x="217115" y="35105"/>
                  </a:lnTo>
                  <a:lnTo>
                    <a:pt x="193687" y="35318"/>
                  </a:lnTo>
                  <a:lnTo>
                    <a:pt x="163576" y="29800"/>
                  </a:lnTo>
                  <a:lnTo>
                    <a:pt x="131756" y="17659"/>
                  </a:lnTo>
                  <a:lnTo>
                    <a:pt x="96925" y="5518"/>
                  </a:lnTo>
                  <a:lnTo>
                    <a:pt x="57785" y="0"/>
                  </a:lnTo>
                  <a:lnTo>
                    <a:pt x="46860" y="9364"/>
                  </a:lnTo>
                  <a:lnTo>
                    <a:pt x="40346" y="29965"/>
                  </a:lnTo>
                  <a:lnTo>
                    <a:pt x="37202" y="50567"/>
                  </a:lnTo>
                  <a:lnTo>
                    <a:pt x="36385" y="59931"/>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3" name="object 2009">
              <a:extLst>
                <a:ext uri="{FF2B5EF4-FFF2-40B4-BE49-F238E27FC236}">
                  <a16:creationId xmlns:a16="http://schemas.microsoft.com/office/drawing/2014/main" id="{128A4D3D-6BB3-A176-3CDA-7F91A980D871}"/>
                </a:ext>
              </a:extLst>
            </p:cNvPr>
            <p:cNvSpPr/>
            <p:nvPr/>
          </p:nvSpPr>
          <p:spPr>
            <a:xfrm>
              <a:off x="14066763" y="7116944"/>
              <a:ext cx="277495" cy="141605"/>
            </a:xfrm>
            <a:custGeom>
              <a:avLst/>
              <a:gdLst/>
              <a:ahLst/>
              <a:cxnLst/>
              <a:rect l="l" t="t" r="r" b="b"/>
              <a:pathLst>
                <a:path w="277494" h="141604">
                  <a:moveTo>
                    <a:pt x="0" y="141446"/>
                  </a:moveTo>
                  <a:lnTo>
                    <a:pt x="3984" y="70005"/>
                  </a:lnTo>
                  <a:lnTo>
                    <a:pt x="12495" y="33742"/>
                  </a:lnTo>
                  <a:lnTo>
                    <a:pt x="31995" y="21450"/>
                  </a:lnTo>
                  <a:lnTo>
                    <a:pt x="68948" y="21926"/>
                  </a:lnTo>
                  <a:lnTo>
                    <a:pt x="93903" y="6291"/>
                  </a:lnTo>
                  <a:lnTo>
                    <a:pt x="129522" y="0"/>
                  </a:lnTo>
                  <a:lnTo>
                    <a:pt x="170373" y="2081"/>
                  </a:lnTo>
                  <a:lnTo>
                    <a:pt x="211023" y="11563"/>
                  </a:lnTo>
                  <a:lnTo>
                    <a:pt x="251080" y="41726"/>
                  </a:lnTo>
                  <a:lnTo>
                    <a:pt x="270510" y="85277"/>
                  </a:lnTo>
                  <a:lnTo>
                    <a:pt x="276727" y="124441"/>
                  </a:lnTo>
                  <a:lnTo>
                    <a:pt x="277152" y="141446"/>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4" name="object 2010">
              <a:extLst>
                <a:ext uri="{FF2B5EF4-FFF2-40B4-BE49-F238E27FC236}">
                  <a16:creationId xmlns:a16="http://schemas.microsoft.com/office/drawing/2014/main" id="{3723A183-D977-FBEA-5876-160924F4DC55}"/>
                </a:ext>
              </a:extLst>
            </p:cNvPr>
            <p:cNvSpPr/>
            <p:nvPr/>
          </p:nvSpPr>
          <p:spPr>
            <a:xfrm>
              <a:off x="13921223" y="7518434"/>
              <a:ext cx="571500" cy="222885"/>
            </a:xfrm>
            <a:custGeom>
              <a:avLst/>
              <a:gdLst/>
              <a:ahLst/>
              <a:cxnLst/>
              <a:rect l="l" t="t" r="r" b="b"/>
              <a:pathLst>
                <a:path w="571500" h="222884">
                  <a:moveTo>
                    <a:pt x="571436" y="222580"/>
                  </a:moveTo>
                  <a:lnTo>
                    <a:pt x="557922" y="161164"/>
                  </a:lnTo>
                  <a:lnTo>
                    <a:pt x="535319" y="103379"/>
                  </a:lnTo>
                  <a:lnTo>
                    <a:pt x="486803" y="52169"/>
                  </a:lnTo>
                  <a:lnTo>
                    <a:pt x="452391" y="26287"/>
                  </a:lnTo>
                  <a:lnTo>
                    <a:pt x="416776" y="7347"/>
                  </a:lnTo>
                  <a:lnTo>
                    <a:pt x="384174" y="0"/>
                  </a:lnTo>
                  <a:lnTo>
                    <a:pt x="188340" y="0"/>
                  </a:lnTo>
                  <a:lnTo>
                    <a:pt x="116778" y="24712"/>
                  </a:lnTo>
                  <a:lnTo>
                    <a:pt x="80743" y="51461"/>
                  </a:lnTo>
                  <a:lnTo>
                    <a:pt x="49225" y="84124"/>
                  </a:lnTo>
                  <a:lnTo>
                    <a:pt x="25733" y="125271"/>
                  </a:lnTo>
                  <a:lnTo>
                    <a:pt x="10567" y="170697"/>
                  </a:lnTo>
                  <a:lnTo>
                    <a:pt x="2424" y="207450"/>
                  </a:lnTo>
                  <a:lnTo>
                    <a:pt x="0" y="22258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5" name="object 2011">
              <a:extLst>
                <a:ext uri="{FF2B5EF4-FFF2-40B4-BE49-F238E27FC236}">
                  <a16:creationId xmlns:a16="http://schemas.microsoft.com/office/drawing/2014/main" id="{3E8ACADC-7BB4-0A4E-B438-25757D574EBE}"/>
                </a:ext>
              </a:extLst>
            </p:cNvPr>
            <p:cNvSpPr/>
            <p:nvPr/>
          </p:nvSpPr>
          <p:spPr>
            <a:xfrm>
              <a:off x="14109563" y="7518431"/>
              <a:ext cx="196215" cy="210820"/>
            </a:xfrm>
            <a:custGeom>
              <a:avLst/>
              <a:gdLst/>
              <a:ahLst/>
              <a:cxnLst/>
              <a:rect l="l" t="t" r="r" b="b"/>
              <a:pathLst>
                <a:path w="196215" h="210820">
                  <a:moveTo>
                    <a:pt x="0" y="0"/>
                  </a:moveTo>
                  <a:lnTo>
                    <a:pt x="97383" y="210807"/>
                  </a:lnTo>
                  <a:lnTo>
                    <a:pt x="195834"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6" name="object 2012">
              <a:extLst>
                <a:ext uri="{FF2B5EF4-FFF2-40B4-BE49-F238E27FC236}">
                  <a16:creationId xmlns:a16="http://schemas.microsoft.com/office/drawing/2014/main" id="{C18509B2-21EA-5CFB-7C68-41B02E31102A}"/>
                </a:ext>
              </a:extLst>
            </p:cNvPr>
            <p:cNvSpPr/>
            <p:nvPr/>
          </p:nvSpPr>
          <p:spPr>
            <a:xfrm>
              <a:off x="14181267" y="7518431"/>
              <a:ext cx="53975" cy="66040"/>
            </a:xfrm>
            <a:custGeom>
              <a:avLst/>
              <a:gdLst/>
              <a:ahLst/>
              <a:cxnLst/>
              <a:rect l="l" t="t" r="r" b="b"/>
              <a:pathLst>
                <a:path w="53975" h="66040">
                  <a:moveTo>
                    <a:pt x="25679" y="0"/>
                  </a:moveTo>
                  <a:lnTo>
                    <a:pt x="0" y="33159"/>
                  </a:lnTo>
                  <a:lnTo>
                    <a:pt x="26212" y="65836"/>
                  </a:lnTo>
                  <a:lnTo>
                    <a:pt x="53492" y="31026"/>
                  </a:lnTo>
                  <a:lnTo>
                    <a:pt x="25679" y="0"/>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7" name="object 2013">
              <a:extLst>
                <a:ext uri="{FF2B5EF4-FFF2-40B4-BE49-F238E27FC236}">
                  <a16:creationId xmlns:a16="http://schemas.microsoft.com/office/drawing/2014/main" id="{C0EF3BF6-1AAC-D081-73A7-20D53AC55B54}"/>
                </a:ext>
              </a:extLst>
            </p:cNvPr>
            <p:cNvSpPr/>
            <p:nvPr/>
          </p:nvSpPr>
          <p:spPr>
            <a:xfrm>
              <a:off x="14175891" y="7584262"/>
              <a:ext cx="62865" cy="78105"/>
            </a:xfrm>
            <a:custGeom>
              <a:avLst/>
              <a:gdLst/>
              <a:ahLst/>
              <a:cxnLst/>
              <a:rect l="l" t="t" r="r" b="b"/>
              <a:pathLst>
                <a:path w="62865" h="78104">
                  <a:moveTo>
                    <a:pt x="62445" y="77762"/>
                  </a:moveTo>
                  <a:lnTo>
                    <a:pt x="55812" y="64256"/>
                  </a:lnTo>
                  <a:lnTo>
                    <a:pt x="45405" y="37676"/>
                  </a:lnTo>
                  <a:lnTo>
                    <a:pt x="35803" y="11698"/>
                  </a:lnTo>
                  <a:lnTo>
                    <a:pt x="31584" y="0"/>
                  </a:lnTo>
                  <a:lnTo>
                    <a:pt x="0" y="7776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8" name="object 2014">
              <a:extLst>
                <a:ext uri="{FF2B5EF4-FFF2-40B4-BE49-F238E27FC236}">
                  <a16:creationId xmlns:a16="http://schemas.microsoft.com/office/drawing/2014/main" id="{098D9AA3-6010-F2C7-48C3-8222FE1AD51B}"/>
                </a:ext>
              </a:extLst>
            </p:cNvPr>
            <p:cNvSpPr/>
            <p:nvPr/>
          </p:nvSpPr>
          <p:spPr>
            <a:xfrm>
              <a:off x="14113160" y="7479076"/>
              <a:ext cx="20955" cy="39370"/>
            </a:xfrm>
            <a:custGeom>
              <a:avLst/>
              <a:gdLst/>
              <a:ahLst/>
              <a:cxnLst/>
              <a:rect l="l" t="t" r="r" b="b"/>
              <a:pathLst>
                <a:path w="20955" h="39370">
                  <a:moveTo>
                    <a:pt x="20675" y="0"/>
                  </a:moveTo>
                  <a:lnTo>
                    <a:pt x="17487" y="15381"/>
                  </a:lnTo>
                  <a:lnTo>
                    <a:pt x="14271" y="24607"/>
                  </a:lnTo>
                  <a:lnTo>
                    <a:pt x="9088" y="31369"/>
                  </a:lnTo>
                  <a:lnTo>
                    <a:pt x="0" y="39357"/>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609" name="object 2015">
              <a:extLst>
                <a:ext uri="{FF2B5EF4-FFF2-40B4-BE49-F238E27FC236}">
                  <a16:creationId xmlns:a16="http://schemas.microsoft.com/office/drawing/2014/main" id="{34D3BD59-D48E-9A75-0E39-A04522DE9E65}"/>
                </a:ext>
              </a:extLst>
            </p:cNvPr>
            <p:cNvSpPr/>
            <p:nvPr/>
          </p:nvSpPr>
          <p:spPr>
            <a:xfrm>
              <a:off x="14277441" y="7475927"/>
              <a:ext cx="22860" cy="42545"/>
            </a:xfrm>
            <a:custGeom>
              <a:avLst/>
              <a:gdLst/>
              <a:ahLst/>
              <a:cxnLst/>
              <a:rect l="l" t="t" r="r" b="b"/>
              <a:pathLst>
                <a:path w="22859" h="42545">
                  <a:moveTo>
                    <a:pt x="0" y="0"/>
                  </a:moveTo>
                  <a:lnTo>
                    <a:pt x="3449" y="16616"/>
                  </a:lnTo>
                  <a:lnTo>
                    <a:pt x="6924" y="26582"/>
                  </a:lnTo>
                  <a:lnTo>
                    <a:pt x="12519" y="33884"/>
                  </a:lnTo>
                  <a:lnTo>
                    <a:pt x="22326" y="42506"/>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nvGrpSpPr>
          <p:cNvPr id="480" name="Group 479">
            <a:extLst>
              <a:ext uri="{FF2B5EF4-FFF2-40B4-BE49-F238E27FC236}">
                <a16:creationId xmlns:a16="http://schemas.microsoft.com/office/drawing/2014/main" id="{5B95980D-577B-E359-136C-5A18385188D6}"/>
              </a:ext>
            </a:extLst>
          </p:cNvPr>
          <p:cNvGrpSpPr/>
          <p:nvPr/>
        </p:nvGrpSpPr>
        <p:grpSpPr>
          <a:xfrm rot="3737713">
            <a:off x="4385903" y="3053656"/>
            <a:ext cx="1430892" cy="670952"/>
            <a:chOff x="2251123" y="3755619"/>
            <a:chExt cx="1595297" cy="748042"/>
          </a:xfrm>
        </p:grpSpPr>
        <p:cxnSp>
          <p:nvCxnSpPr>
            <p:cNvPr id="481" name="Straight Connector 480">
              <a:extLst>
                <a:ext uri="{FF2B5EF4-FFF2-40B4-BE49-F238E27FC236}">
                  <a16:creationId xmlns:a16="http://schemas.microsoft.com/office/drawing/2014/main" id="{5EB72E9E-D565-688F-0383-7458C9FBBE76}"/>
                </a:ext>
              </a:extLst>
            </p:cNvPr>
            <p:cNvCxnSpPr/>
            <p:nvPr/>
          </p:nvCxnSpPr>
          <p:spPr>
            <a:xfrm flipV="1">
              <a:off x="2999232" y="4129640"/>
              <a:ext cx="740448" cy="0"/>
            </a:xfrm>
            <a:prstGeom prst="line">
              <a:avLst/>
            </a:prstGeom>
            <a:ln>
              <a:solidFill>
                <a:srgbClr val="888B8D"/>
              </a:solidFill>
              <a:prstDash val="dash"/>
            </a:ln>
          </p:spPr>
          <p:style>
            <a:lnRef idx="1">
              <a:schemeClr val="accent1"/>
            </a:lnRef>
            <a:fillRef idx="0">
              <a:schemeClr val="accent1"/>
            </a:fillRef>
            <a:effectRef idx="0">
              <a:schemeClr val="accent1"/>
            </a:effectRef>
            <a:fontRef idx="minor">
              <a:schemeClr val="tx1"/>
            </a:fontRef>
          </p:style>
        </p:cxnSp>
        <p:sp>
          <p:nvSpPr>
            <p:cNvPr id="482" name="Oval 481">
              <a:extLst>
                <a:ext uri="{FF2B5EF4-FFF2-40B4-BE49-F238E27FC236}">
                  <a16:creationId xmlns:a16="http://schemas.microsoft.com/office/drawing/2014/main" id="{60EF2AFF-EBB1-B0A5-F910-F272680A5851}"/>
                </a:ext>
              </a:extLst>
            </p:cNvPr>
            <p:cNvSpPr/>
            <p:nvPr/>
          </p:nvSpPr>
          <p:spPr>
            <a:xfrm>
              <a:off x="2251123" y="3755619"/>
              <a:ext cx="749808" cy="74804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83" name="Oval 482">
              <a:extLst>
                <a:ext uri="{FF2B5EF4-FFF2-40B4-BE49-F238E27FC236}">
                  <a16:creationId xmlns:a16="http://schemas.microsoft.com/office/drawing/2014/main" id="{F537F492-68CB-8D20-6A86-1E97B825F45A}"/>
                </a:ext>
              </a:extLst>
            </p:cNvPr>
            <p:cNvSpPr/>
            <p:nvPr/>
          </p:nvSpPr>
          <p:spPr>
            <a:xfrm>
              <a:off x="3572100" y="3992480"/>
              <a:ext cx="274320" cy="274320"/>
            </a:xfrm>
            <a:prstGeom prst="ellipse">
              <a:avLst/>
            </a:prstGeom>
            <a:solidFill>
              <a:schemeClr val="bg1"/>
            </a:solidFill>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84" name="Oval 483">
              <a:extLst>
                <a:ext uri="{FF2B5EF4-FFF2-40B4-BE49-F238E27FC236}">
                  <a16:creationId xmlns:a16="http://schemas.microsoft.com/office/drawing/2014/main" id="{63F4AF8D-6981-F2CB-DA9A-439AA38063B8}"/>
                </a:ext>
              </a:extLst>
            </p:cNvPr>
            <p:cNvSpPr/>
            <p:nvPr/>
          </p:nvSpPr>
          <p:spPr>
            <a:xfrm>
              <a:off x="3617820" y="4038200"/>
              <a:ext cx="182880" cy="182880"/>
            </a:xfrm>
            <a:prstGeom prst="ellipse">
              <a:avLst/>
            </a:prstGeom>
            <a:ln>
              <a:solidFill>
                <a:srgbClr val="888B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525" name="Group 524">
            <a:extLst>
              <a:ext uri="{FF2B5EF4-FFF2-40B4-BE49-F238E27FC236}">
                <a16:creationId xmlns:a16="http://schemas.microsoft.com/office/drawing/2014/main" id="{47C235AA-600D-D0E5-CB46-37FEAB009D92}"/>
              </a:ext>
            </a:extLst>
          </p:cNvPr>
          <p:cNvGrpSpPr>
            <a:grpSpLocks noChangeAspect="1"/>
          </p:cNvGrpSpPr>
          <p:nvPr/>
        </p:nvGrpSpPr>
        <p:grpSpPr>
          <a:xfrm>
            <a:off x="4754063" y="2819565"/>
            <a:ext cx="365760" cy="446010"/>
            <a:chOff x="7804392" y="8249089"/>
            <a:chExt cx="726440" cy="885825"/>
          </a:xfrm>
        </p:grpSpPr>
        <p:sp>
          <p:nvSpPr>
            <p:cNvPr id="526" name="object 2360">
              <a:extLst>
                <a:ext uri="{FF2B5EF4-FFF2-40B4-BE49-F238E27FC236}">
                  <a16:creationId xmlns:a16="http://schemas.microsoft.com/office/drawing/2014/main" id="{DC1FC3C3-7444-119F-AD4C-6914DF18BC84}"/>
                </a:ext>
              </a:extLst>
            </p:cNvPr>
            <p:cNvSpPr/>
            <p:nvPr/>
          </p:nvSpPr>
          <p:spPr>
            <a:xfrm>
              <a:off x="7804392" y="8249089"/>
              <a:ext cx="726440" cy="885825"/>
            </a:xfrm>
            <a:custGeom>
              <a:avLst/>
              <a:gdLst/>
              <a:ahLst/>
              <a:cxnLst/>
              <a:rect l="l" t="t" r="r" b="b"/>
              <a:pathLst>
                <a:path w="726440" h="885825">
                  <a:moveTo>
                    <a:pt x="726236" y="885812"/>
                  </a:moveTo>
                  <a:lnTo>
                    <a:pt x="0" y="885786"/>
                  </a:lnTo>
                  <a:lnTo>
                    <a:pt x="25" y="0"/>
                  </a:lnTo>
                  <a:lnTo>
                    <a:pt x="726262" y="12"/>
                  </a:lnTo>
                  <a:lnTo>
                    <a:pt x="726236" y="885812"/>
                  </a:lnTo>
                  <a:close/>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7" name="object 2361">
              <a:extLst>
                <a:ext uri="{FF2B5EF4-FFF2-40B4-BE49-F238E27FC236}">
                  <a16:creationId xmlns:a16="http://schemas.microsoft.com/office/drawing/2014/main" id="{73C05489-A846-17DA-290B-A075FE18ED32}"/>
                </a:ext>
              </a:extLst>
            </p:cNvPr>
            <p:cNvSpPr/>
            <p:nvPr/>
          </p:nvSpPr>
          <p:spPr>
            <a:xfrm>
              <a:off x="7858298" y="8403647"/>
              <a:ext cx="612140" cy="635"/>
            </a:xfrm>
            <a:custGeom>
              <a:avLst/>
              <a:gdLst/>
              <a:ahLst/>
              <a:cxnLst/>
              <a:rect l="l" t="t" r="r" b="b"/>
              <a:pathLst>
                <a:path w="612140" h="634">
                  <a:moveTo>
                    <a:pt x="0" y="0"/>
                  </a:moveTo>
                  <a:lnTo>
                    <a:pt x="611759" y="25"/>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8" name="object 2362">
              <a:extLst>
                <a:ext uri="{FF2B5EF4-FFF2-40B4-BE49-F238E27FC236}">
                  <a16:creationId xmlns:a16="http://schemas.microsoft.com/office/drawing/2014/main" id="{81618C70-DECE-520C-2B54-35310A048E5C}"/>
                </a:ext>
              </a:extLst>
            </p:cNvPr>
            <p:cNvSpPr/>
            <p:nvPr/>
          </p:nvSpPr>
          <p:spPr>
            <a:xfrm>
              <a:off x="8239955" y="8329630"/>
              <a:ext cx="635" cy="757555"/>
            </a:xfrm>
            <a:custGeom>
              <a:avLst/>
              <a:gdLst/>
              <a:ahLst/>
              <a:cxnLst/>
              <a:rect l="l" t="t" r="r" b="b"/>
              <a:pathLst>
                <a:path w="634" h="757554">
                  <a:moveTo>
                    <a:pt x="25" y="0"/>
                  </a:moveTo>
                  <a:lnTo>
                    <a:pt x="0" y="757135"/>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29" name="object 2363">
              <a:extLst>
                <a:ext uri="{FF2B5EF4-FFF2-40B4-BE49-F238E27FC236}">
                  <a16:creationId xmlns:a16="http://schemas.microsoft.com/office/drawing/2014/main" id="{3E1AE0B5-B542-5254-3F3F-BD8C209936B4}"/>
                </a:ext>
              </a:extLst>
            </p:cNvPr>
            <p:cNvSpPr/>
            <p:nvPr/>
          </p:nvSpPr>
          <p:spPr>
            <a:xfrm>
              <a:off x="8380858" y="8329630"/>
              <a:ext cx="635" cy="757555"/>
            </a:xfrm>
            <a:custGeom>
              <a:avLst/>
              <a:gdLst/>
              <a:ahLst/>
              <a:cxnLst/>
              <a:rect l="l" t="t" r="r" b="b"/>
              <a:pathLst>
                <a:path w="634" h="757554">
                  <a:moveTo>
                    <a:pt x="25" y="0"/>
                  </a:moveTo>
                  <a:lnTo>
                    <a:pt x="0" y="757135"/>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0" name="object 2364">
              <a:extLst>
                <a:ext uri="{FF2B5EF4-FFF2-40B4-BE49-F238E27FC236}">
                  <a16:creationId xmlns:a16="http://schemas.microsoft.com/office/drawing/2014/main" id="{85921431-A512-A5B7-1434-0BF814E27BD0}"/>
                </a:ext>
              </a:extLst>
            </p:cNvPr>
            <p:cNvSpPr/>
            <p:nvPr/>
          </p:nvSpPr>
          <p:spPr>
            <a:xfrm>
              <a:off x="7858298" y="8474874"/>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1" name="object 2365">
              <a:extLst>
                <a:ext uri="{FF2B5EF4-FFF2-40B4-BE49-F238E27FC236}">
                  <a16:creationId xmlns:a16="http://schemas.microsoft.com/office/drawing/2014/main" id="{068400ED-117C-C83F-5B81-70518523E18B}"/>
                </a:ext>
              </a:extLst>
            </p:cNvPr>
            <p:cNvSpPr/>
            <p:nvPr/>
          </p:nvSpPr>
          <p:spPr>
            <a:xfrm>
              <a:off x="7858286" y="8548804"/>
              <a:ext cx="306070" cy="635"/>
            </a:xfrm>
            <a:custGeom>
              <a:avLst/>
              <a:gdLst/>
              <a:ahLst/>
              <a:cxnLst/>
              <a:rect l="l" t="t" r="r" b="b"/>
              <a:pathLst>
                <a:path w="306070" h="634">
                  <a:moveTo>
                    <a:pt x="0" y="0"/>
                  </a:moveTo>
                  <a:lnTo>
                    <a:pt x="305892"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2" name="object 2366">
              <a:extLst>
                <a:ext uri="{FF2B5EF4-FFF2-40B4-BE49-F238E27FC236}">
                  <a16:creationId xmlns:a16="http://schemas.microsoft.com/office/drawing/2014/main" id="{13A7E22E-E43F-A9E2-4849-32F8F33B7E28}"/>
                </a:ext>
              </a:extLst>
            </p:cNvPr>
            <p:cNvSpPr/>
            <p:nvPr/>
          </p:nvSpPr>
          <p:spPr>
            <a:xfrm>
              <a:off x="7858286" y="8617749"/>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3" name="object 2367">
              <a:extLst>
                <a:ext uri="{FF2B5EF4-FFF2-40B4-BE49-F238E27FC236}">
                  <a16:creationId xmlns:a16="http://schemas.microsoft.com/office/drawing/2014/main" id="{92472C35-D36F-2206-865A-1FECE014F114}"/>
                </a:ext>
              </a:extLst>
            </p:cNvPr>
            <p:cNvSpPr/>
            <p:nvPr/>
          </p:nvSpPr>
          <p:spPr>
            <a:xfrm>
              <a:off x="7858286" y="8684820"/>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4" name="object 2368">
              <a:extLst>
                <a:ext uri="{FF2B5EF4-FFF2-40B4-BE49-F238E27FC236}">
                  <a16:creationId xmlns:a16="http://schemas.microsoft.com/office/drawing/2014/main" id="{A92C52F5-AF19-8A56-E578-0A78FB69B019}"/>
                </a:ext>
              </a:extLst>
            </p:cNvPr>
            <p:cNvSpPr/>
            <p:nvPr/>
          </p:nvSpPr>
          <p:spPr>
            <a:xfrm>
              <a:off x="7858286" y="8758750"/>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5" name="object 2369">
              <a:extLst>
                <a:ext uri="{FF2B5EF4-FFF2-40B4-BE49-F238E27FC236}">
                  <a16:creationId xmlns:a16="http://schemas.microsoft.com/office/drawing/2014/main" id="{B1DB555C-EF4D-E9FC-F22D-B86F99A647AE}"/>
                </a:ext>
              </a:extLst>
            </p:cNvPr>
            <p:cNvSpPr/>
            <p:nvPr/>
          </p:nvSpPr>
          <p:spPr>
            <a:xfrm>
              <a:off x="7858286" y="8827695"/>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6" name="object 2370">
              <a:extLst>
                <a:ext uri="{FF2B5EF4-FFF2-40B4-BE49-F238E27FC236}">
                  <a16:creationId xmlns:a16="http://schemas.microsoft.com/office/drawing/2014/main" id="{DCB16B21-8829-CA1F-FC06-05706F5BF478}"/>
                </a:ext>
              </a:extLst>
            </p:cNvPr>
            <p:cNvSpPr/>
            <p:nvPr/>
          </p:nvSpPr>
          <p:spPr>
            <a:xfrm>
              <a:off x="7858286" y="8892275"/>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7" name="object 2371">
              <a:extLst>
                <a:ext uri="{FF2B5EF4-FFF2-40B4-BE49-F238E27FC236}">
                  <a16:creationId xmlns:a16="http://schemas.microsoft.com/office/drawing/2014/main" id="{A19AF10F-1568-679C-E0E0-B9292066B1D2}"/>
                </a:ext>
              </a:extLst>
            </p:cNvPr>
            <p:cNvSpPr/>
            <p:nvPr/>
          </p:nvSpPr>
          <p:spPr>
            <a:xfrm>
              <a:off x="7858273" y="8966205"/>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8" name="object 2372">
              <a:extLst>
                <a:ext uri="{FF2B5EF4-FFF2-40B4-BE49-F238E27FC236}">
                  <a16:creationId xmlns:a16="http://schemas.microsoft.com/office/drawing/2014/main" id="{354E5B7F-E7DC-64D5-9ADD-AA6D60F18B21}"/>
                </a:ext>
              </a:extLst>
            </p:cNvPr>
            <p:cNvSpPr/>
            <p:nvPr/>
          </p:nvSpPr>
          <p:spPr>
            <a:xfrm>
              <a:off x="7858273" y="9035150"/>
              <a:ext cx="306070" cy="635"/>
            </a:xfrm>
            <a:custGeom>
              <a:avLst/>
              <a:gdLst/>
              <a:ahLst/>
              <a:cxnLst/>
              <a:rect l="l" t="t" r="r" b="b"/>
              <a:pathLst>
                <a:path w="306070" h="634">
                  <a:moveTo>
                    <a:pt x="0" y="0"/>
                  </a:moveTo>
                  <a:lnTo>
                    <a:pt x="305879"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39" name="object 2373">
              <a:extLst>
                <a:ext uri="{FF2B5EF4-FFF2-40B4-BE49-F238E27FC236}">
                  <a16:creationId xmlns:a16="http://schemas.microsoft.com/office/drawing/2014/main" id="{16E8F35E-D105-7AE5-403B-9F1E6AA11875}"/>
                </a:ext>
              </a:extLst>
            </p:cNvPr>
            <p:cNvSpPr/>
            <p:nvPr/>
          </p:nvSpPr>
          <p:spPr>
            <a:xfrm>
              <a:off x="8287580" y="8474886"/>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0" name="object 2374">
              <a:extLst>
                <a:ext uri="{FF2B5EF4-FFF2-40B4-BE49-F238E27FC236}">
                  <a16:creationId xmlns:a16="http://schemas.microsoft.com/office/drawing/2014/main" id="{57CD34D5-DC7D-0E6D-799C-70639DFD3965}"/>
                </a:ext>
              </a:extLst>
            </p:cNvPr>
            <p:cNvSpPr/>
            <p:nvPr/>
          </p:nvSpPr>
          <p:spPr>
            <a:xfrm>
              <a:off x="8287569" y="8548816"/>
              <a:ext cx="52705" cy="0"/>
            </a:xfrm>
            <a:custGeom>
              <a:avLst/>
              <a:gdLst/>
              <a:ahLst/>
              <a:cxnLst/>
              <a:rect l="l" t="t" r="r" b="b"/>
              <a:pathLst>
                <a:path w="52704">
                  <a:moveTo>
                    <a:pt x="0" y="0"/>
                  </a:moveTo>
                  <a:lnTo>
                    <a:pt x="52577"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1" name="object 2375">
              <a:extLst>
                <a:ext uri="{FF2B5EF4-FFF2-40B4-BE49-F238E27FC236}">
                  <a16:creationId xmlns:a16="http://schemas.microsoft.com/office/drawing/2014/main" id="{F1F1D46D-9640-C16B-C80E-A833BBFEB16C}"/>
                </a:ext>
              </a:extLst>
            </p:cNvPr>
            <p:cNvSpPr/>
            <p:nvPr/>
          </p:nvSpPr>
          <p:spPr>
            <a:xfrm>
              <a:off x="8287569" y="8617761"/>
              <a:ext cx="52705" cy="0"/>
            </a:xfrm>
            <a:custGeom>
              <a:avLst/>
              <a:gdLst/>
              <a:ahLst/>
              <a:cxnLst/>
              <a:rect l="l" t="t" r="r" b="b"/>
              <a:pathLst>
                <a:path w="52704">
                  <a:moveTo>
                    <a:pt x="0" y="0"/>
                  </a:moveTo>
                  <a:lnTo>
                    <a:pt x="52577"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2" name="object 2376">
              <a:extLst>
                <a:ext uri="{FF2B5EF4-FFF2-40B4-BE49-F238E27FC236}">
                  <a16:creationId xmlns:a16="http://schemas.microsoft.com/office/drawing/2014/main" id="{BEE910C9-5F34-9FAD-091E-44E1871F0322}"/>
                </a:ext>
              </a:extLst>
            </p:cNvPr>
            <p:cNvSpPr/>
            <p:nvPr/>
          </p:nvSpPr>
          <p:spPr>
            <a:xfrm>
              <a:off x="8287569" y="8684832"/>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3" name="object 2377">
              <a:extLst>
                <a:ext uri="{FF2B5EF4-FFF2-40B4-BE49-F238E27FC236}">
                  <a16:creationId xmlns:a16="http://schemas.microsoft.com/office/drawing/2014/main" id="{37A51E69-260D-798E-89B8-F6268C8F63FC}"/>
                </a:ext>
              </a:extLst>
            </p:cNvPr>
            <p:cNvSpPr/>
            <p:nvPr/>
          </p:nvSpPr>
          <p:spPr>
            <a:xfrm>
              <a:off x="8287569" y="8758763"/>
              <a:ext cx="52705" cy="635"/>
            </a:xfrm>
            <a:custGeom>
              <a:avLst/>
              <a:gdLst/>
              <a:ahLst/>
              <a:cxnLst/>
              <a:rect l="l" t="t" r="r" b="b"/>
              <a:pathLst>
                <a:path w="52704" h="634">
                  <a:moveTo>
                    <a:pt x="0" y="0"/>
                  </a:moveTo>
                  <a:lnTo>
                    <a:pt x="52565"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4" name="object 2378">
              <a:extLst>
                <a:ext uri="{FF2B5EF4-FFF2-40B4-BE49-F238E27FC236}">
                  <a16:creationId xmlns:a16="http://schemas.microsoft.com/office/drawing/2014/main" id="{31B92564-A1F2-EDCF-F05F-406FE17957EC}"/>
                </a:ext>
              </a:extLst>
            </p:cNvPr>
            <p:cNvSpPr/>
            <p:nvPr/>
          </p:nvSpPr>
          <p:spPr>
            <a:xfrm>
              <a:off x="8287569" y="8827707"/>
              <a:ext cx="52705" cy="635"/>
            </a:xfrm>
            <a:custGeom>
              <a:avLst/>
              <a:gdLst/>
              <a:ahLst/>
              <a:cxnLst/>
              <a:rect l="l" t="t" r="r" b="b"/>
              <a:pathLst>
                <a:path w="52704" h="634">
                  <a:moveTo>
                    <a:pt x="0" y="0"/>
                  </a:moveTo>
                  <a:lnTo>
                    <a:pt x="52565"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5" name="object 2379">
              <a:extLst>
                <a:ext uri="{FF2B5EF4-FFF2-40B4-BE49-F238E27FC236}">
                  <a16:creationId xmlns:a16="http://schemas.microsoft.com/office/drawing/2014/main" id="{02675C2B-BE8C-ADE9-A125-A07CB4CAA144}"/>
                </a:ext>
              </a:extLst>
            </p:cNvPr>
            <p:cNvSpPr/>
            <p:nvPr/>
          </p:nvSpPr>
          <p:spPr>
            <a:xfrm>
              <a:off x="8287556" y="8892287"/>
              <a:ext cx="52705" cy="0"/>
            </a:xfrm>
            <a:custGeom>
              <a:avLst/>
              <a:gdLst/>
              <a:ahLst/>
              <a:cxnLst/>
              <a:rect l="l" t="t" r="r" b="b"/>
              <a:pathLst>
                <a:path w="52704">
                  <a:moveTo>
                    <a:pt x="0" y="0"/>
                  </a:moveTo>
                  <a:lnTo>
                    <a:pt x="52577"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6" name="object 2380">
              <a:extLst>
                <a:ext uri="{FF2B5EF4-FFF2-40B4-BE49-F238E27FC236}">
                  <a16:creationId xmlns:a16="http://schemas.microsoft.com/office/drawing/2014/main" id="{98041A43-1668-B853-512D-B55071FC4DA7}"/>
                </a:ext>
              </a:extLst>
            </p:cNvPr>
            <p:cNvSpPr/>
            <p:nvPr/>
          </p:nvSpPr>
          <p:spPr>
            <a:xfrm>
              <a:off x="8287556" y="8966231"/>
              <a:ext cx="52705" cy="0"/>
            </a:xfrm>
            <a:custGeom>
              <a:avLst/>
              <a:gdLst/>
              <a:ahLst/>
              <a:cxnLst/>
              <a:rect l="l" t="t" r="r" b="b"/>
              <a:pathLst>
                <a:path w="52704">
                  <a:moveTo>
                    <a:pt x="0" y="0"/>
                  </a:moveTo>
                  <a:lnTo>
                    <a:pt x="52577"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7" name="object 2381">
              <a:extLst>
                <a:ext uri="{FF2B5EF4-FFF2-40B4-BE49-F238E27FC236}">
                  <a16:creationId xmlns:a16="http://schemas.microsoft.com/office/drawing/2014/main" id="{779C804C-0F94-62C6-E38D-D2FE8E880B8B}"/>
                </a:ext>
              </a:extLst>
            </p:cNvPr>
            <p:cNvSpPr/>
            <p:nvPr/>
          </p:nvSpPr>
          <p:spPr>
            <a:xfrm>
              <a:off x="8287556" y="9035174"/>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8" name="object 2382">
              <a:extLst>
                <a:ext uri="{FF2B5EF4-FFF2-40B4-BE49-F238E27FC236}">
                  <a16:creationId xmlns:a16="http://schemas.microsoft.com/office/drawing/2014/main" id="{9DFBC5EE-ADEE-047A-6CBD-0F0BC4C6C830}"/>
                </a:ext>
              </a:extLst>
            </p:cNvPr>
            <p:cNvSpPr/>
            <p:nvPr/>
          </p:nvSpPr>
          <p:spPr>
            <a:xfrm>
              <a:off x="8417495" y="8474886"/>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49" name="object 2383">
              <a:extLst>
                <a:ext uri="{FF2B5EF4-FFF2-40B4-BE49-F238E27FC236}">
                  <a16:creationId xmlns:a16="http://schemas.microsoft.com/office/drawing/2014/main" id="{CFAF3F5C-D9DE-9BD1-262D-FA45A83DDE38}"/>
                </a:ext>
              </a:extLst>
            </p:cNvPr>
            <p:cNvSpPr/>
            <p:nvPr/>
          </p:nvSpPr>
          <p:spPr>
            <a:xfrm>
              <a:off x="8417482" y="8548816"/>
              <a:ext cx="52705" cy="635"/>
            </a:xfrm>
            <a:custGeom>
              <a:avLst/>
              <a:gdLst/>
              <a:ahLst/>
              <a:cxnLst/>
              <a:rect l="l" t="t" r="r" b="b"/>
              <a:pathLst>
                <a:path w="52704" h="634">
                  <a:moveTo>
                    <a:pt x="0" y="0"/>
                  </a:moveTo>
                  <a:lnTo>
                    <a:pt x="52577"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0" name="object 2384">
              <a:extLst>
                <a:ext uri="{FF2B5EF4-FFF2-40B4-BE49-F238E27FC236}">
                  <a16:creationId xmlns:a16="http://schemas.microsoft.com/office/drawing/2014/main" id="{F3457012-D047-01B0-9661-04889837CD09}"/>
                </a:ext>
              </a:extLst>
            </p:cNvPr>
            <p:cNvSpPr/>
            <p:nvPr/>
          </p:nvSpPr>
          <p:spPr>
            <a:xfrm>
              <a:off x="8417482" y="8617761"/>
              <a:ext cx="52705" cy="635"/>
            </a:xfrm>
            <a:custGeom>
              <a:avLst/>
              <a:gdLst/>
              <a:ahLst/>
              <a:cxnLst/>
              <a:rect l="l" t="t" r="r" b="b"/>
              <a:pathLst>
                <a:path w="52704" h="634">
                  <a:moveTo>
                    <a:pt x="0" y="0"/>
                  </a:moveTo>
                  <a:lnTo>
                    <a:pt x="52577" y="12"/>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1" name="object 2385">
              <a:extLst>
                <a:ext uri="{FF2B5EF4-FFF2-40B4-BE49-F238E27FC236}">
                  <a16:creationId xmlns:a16="http://schemas.microsoft.com/office/drawing/2014/main" id="{4E101E6C-75FB-119C-E99D-5254CB1FA467}"/>
                </a:ext>
              </a:extLst>
            </p:cNvPr>
            <p:cNvSpPr/>
            <p:nvPr/>
          </p:nvSpPr>
          <p:spPr>
            <a:xfrm>
              <a:off x="8417482" y="8684845"/>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2" name="object 2386">
              <a:extLst>
                <a:ext uri="{FF2B5EF4-FFF2-40B4-BE49-F238E27FC236}">
                  <a16:creationId xmlns:a16="http://schemas.microsoft.com/office/drawing/2014/main" id="{B24DDC63-4EB6-8A43-1865-5E05E392CA7B}"/>
                </a:ext>
              </a:extLst>
            </p:cNvPr>
            <p:cNvSpPr/>
            <p:nvPr/>
          </p:nvSpPr>
          <p:spPr>
            <a:xfrm>
              <a:off x="8417482" y="8758776"/>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3" name="object 2387">
              <a:extLst>
                <a:ext uri="{FF2B5EF4-FFF2-40B4-BE49-F238E27FC236}">
                  <a16:creationId xmlns:a16="http://schemas.microsoft.com/office/drawing/2014/main" id="{019F6551-45CF-D12B-F2E7-57FE30B0BE9E}"/>
                </a:ext>
              </a:extLst>
            </p:cNvPr>
            <p:cNvSpPr/>
            <p:nvPr/>
          </p:nvSpPr>
          <p:spPr>
            <a:xfrm>
              <a:off x="8417482" y="8827720"/>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4" name="object 2388">
              <a:extLst>
                <a:ext uri="{FF2B5EF4-FFF2-40B4-BE49-F238E27FC236}">
                  <a16:creationId xmlns:a16="http://schemas.microsoft.com/office/drawing/2014/main" id="{BD756AC3-D38D-E0DC-30F3-40559FF67527}"/>
                </a:ext>
              </a:extLst>
            </p:cNvPr>
            <p:cNvSpPr/>
            <p:nvPr/>
          </p:nvSpPr>
          <p:spPr>
            <a:xfrm>
              <a:off x="8417471" y="8892299"/>
              <a:ext cx="52705" cy="0"/>
            </a:xfrm>
            <a:custGeom>
              <a:avLst/>
              <a:gdLst/>
              <a:ahLst/>
              <a:cxnLst/>
              <a:rect l="l" t="t" r="r" b="b"/>
              <a:pathLst>
                <a:path w="52704">
                  <a:moveTo>
                    <a:pt x="0" y="0"/>
                  </a:moveTo>
                  <a:lnTo>
                    <a:pt x="52577"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5" name="object 2389">
              <a:extLst>
                <a:ext uri="{FF2B5EF4-FFF2-40B4-BE49-F238E27FC236}">
                  <a16:creationId xmlns:a16="http://schemas.microsoft.com/office/drawing/2014/main" id="{9CCBE7FD-1337-4D8E-B554-1DB0A108AE3B}"/>
                </a:ext>
              </a:extLst>
            </p:cNvPr>
            <p:cNvSpPr/>
            <p:nvPr/>
          </p:nvSpPr>
          <p:spPr>
            <a:xfrm>
              <a:off x="8417471" y="8966231"/>
              <a:ext cx="52705" cy="0"/>
            </a:xfrm>
            <a:custGeom>
              <a:avLst/>
              <a:gdLst/>
              <a:ahLst/>
              <a:cxnLst/>
              <a:rect l="l" t="t" r="r" b="b"/>
              <a:pathLst>
                <a:path w="52704">
                  <a:moveTo>
                    <a:pt x="0" y="0"/>
                  </a:moveTo>
                  <a:lnTo>
                    <a:pt x="52577"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556" name="object 2390">
              <a:extLst>
                <a:ext uri="{FF2B5EF4-FFF2-40B4-BE49-F238E27FC236}">
                  <a16:creationId xmlns:a16="http://schemas.microsoft.com/office/drawing/2014/main" id="{95B398B4-77B1-A636-56D1-93ACD6AF5156}"/>
                </a:ext>
              </a:extLst>
            </p:cNvPr>
            <p:cNvSpPr/>
            <p:nvPr/>
          </p:nvSpPr>
          <p:spPr>
            <a:xfrm>
              <a:off x="8417471" y="9035174"/>
              <a:ext cx="52705" cy="0"/>
            </a:xfrm>
            <a:custGeom>
              <a:avLst/>
              <a:gdLst/>
              <a:ahLst/>
              <a:cxnLst/>
              <a:rect l="l" t="t" r="r" b="b"/>
              <a:pathLst>
                <a:path w="52704">
                  <a:moveTo>
                    <a:pt x="0" y="0"/>
                  </a:moveTo>
                  <a:lnTo>
                    <a:pt x="52565" y="0"/>
                  </a:lnTo>
                </a:path>
              </a:pathLst>
            </a:custGeom>
            <a:ln w="9525">
              <a:solidFill>
                <a:srgbClr val="8789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sp>
        <p:nvSpPr>
          <p:cNvPr id="2" name="Slide Number Placeholder 4">
            <a:extLst>
              <a:ext uri="{FF2B5EF4-FFF2-40B4-BE49-F238E27FC236}">
                <a16:creationId xmlns:a16="http://schemas.microsoft.com/office/drawing/2014/main" id="{06681664-17B8-15D2-8A47-23D217E0CD01}"/>
              </a:ext>
            </a:extLst>
          </p:cNvPr>
          <p:cNvSpPr txBox="1">
            <a:spLocks/>
          </p:cNvSpPr>
          <p:nvPr/>
        </p:nvSpPr>
        <p:spPr>
          <a:xfrm>
            <a:off x="11451612" y="6680830"/>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RSM | </a:t>
            </a:r>
            <a:fld id="{D3664AF6-26E3-4378-990F-C4F4E21208D6}" type="slidenum">
              <a:rPr smtClean="0"/>
              <a:pPr/>
              <a:t>32</a:t>
            </a:fld>
            <a:endParaRPr lang="en-US"/>
          </a:p>
        </p:txBody>
      </p:sp>
      <p:sp>
        <p:nvSpPr>
          <p:cNvPr id="4" name="Oval 63">
            <a:extLst>
              <a:ext uri="{FF2B5EF4-FFF2-40B4-BE49-F238E27FC236}">
                <a16:creationId xmlns:a16="http://schemas.microsoft.com/office/drawing/2014/main" id="{C35BE198-6E0A-7032-98BE-D735360017EF}"/>
              </a:ext>
            </a:extLst>
          </p:cNvPr>
          <p:cNvSpPr/>
          <p:nvPr/>
        </p:nvSpPr>
        <p:spPr>
          <a:xfrm rot="10800000">
            <a:off x="4661873" y="4033809"/>
            <a:ext cx="2764923" cy="1331236"/>
          </a:xfrm>
          <a:custGeom>
            <a:avLst/>
            <a:gdLst>
              <a:gd name="connsiteX0" fmla="*/ 0 w 3195607"/>
              <a:gd name="connsiteY0" fmla="*/ 1597804 h 3195607"/>
              <a:gd name="connsiteX1" fmla="*/ 1597804 w 3195607"/>
              <a:gd name="connsiteY1" fmla="*/ 0 h 3195607"/>
              <a:gd name="connsiteX2" fmla="*/ 3195608 w 3195607"/>
              <a:gd name="connsiteY2" fmla="*/ 1597804 h 3195607"/>
              <a:gd name="connsiteX3" fmla="*/ 1597804 w 3195607"/>
              <a:gd name="connsiteY3" fmla="*/ 3195608 h 3195607"/>
              <a:gd name="connsiteX4" fmla="*/ 0 w 3195607"/>
              <a:gd name="connsiteY4" fmla="*/ 1597804 h 3195607"/>
              <a:gd name="connsiteX0" fmla="*/ 1597804 w 3195608"/>
              <a:gd name="connsiteY0" fmla="*/ 0 h 3195608"/>
              <a:gd name="connsiteX1" fmla="*/ 3195608 w 3195608"/>
              <a:gd name="connsiteY1" fmla="*/ 1597804 h 3195608"/>
              <a:gd name="connsiteX2" fmla="*/ 1597804 w 3195608"/>
              <a:gd name="connsiteY2" fmla="*/ 3195608 h 3195608"/>
              <a:gd name="connsiteX3" fmla="*/ 0 w 3195608"/>
              <a:gd name="connsiteY3" fmla="*/ 1597804 h 3195608"/>
              <a:gd name="connsiteX4" fmla="*/ 1689244 w 3195608"/>
              <a:gd name="connsiteY4" fmla="*/ 91440 h 3195608"/>
              <a:gd name="connsiteX0" fmla="*/ 1597804 w 3195608"/>
              <a:gd name="connsiteY0" fmla="*/ 0 h 3195608"/>
              <a:gd name="connsiteX1" fmla="*/ 3195608 w 3195608"/>
              <a:gd name="connsiteY1" fmla="*/ 1597804 h 3195608"/>
              <a:gd name="connsiteX2" fmla="*/ 1597804 w 3195608"/>
              <a:gd name="connsiteY2" fmla="*/ 3195608 h 3195608"/>
              <a:gd name="connsiteX3" fmla="*/ 0 w 3195608"/>
              <a:gd name="connsiteY3" fmla="*/ 1597804 h 3195608"/>
              <a:gd name="connsiteX0" fmla="*/ 3195608 w 3195608"/>
              <a:gd name="connsiteY0" fmla="*/ 0 h 1597804"/>
              <a:gd name="connsiteX1" fmla="*/ 1597804 w 3195608"/>
              <a:gd name="connsiteY1" fmla="*/ 1597804 h 1597804"/>
              <a:gd name="connsiteX2" fmla="*/ 0 w 3195608"/>
              <a:gd name="connsiteY2" fmla="*/ 0 h 1597804"/>
            </a:gdLst>
            <a:ahLst/>
            <a:cxnLst>
              <a:cxn ang="0">
                <a:pos x="connsiteX0" y="connsiteY0"/>
              </a:cxn>
              <a:cxn ang="0">
                <a:pos x="connsiteX1" y="connsiteY1"/>
              </a:cxn>
              <a:cxn ang="0">
                <a:pos x="connsiteX2" y="connsiteY2"/>
              </a:cxn>
            </a:cxnLst>
            <a:rect l="l" t="t" r="r" b="b"/>
            <a:pathLst>
              <a:path w="3195608" h="1597804">
                <a:moveTo>
                  <a:pt x="3195608" y="0"/>
                </a:moveTo>
                <a:cubicBezTo>
                  <a:pt x="3195608" y="882443"/>
                  <a:pt x="2480247" y="1597804"/>
                  <a:pt x="1597804" y="1597804"/>
                </a:cubicBezTo>
                <a:cubicBezTo>
                  <a:pt x="715361" y="1597804"/>
                  <a:pt x="0" y="882443"/>
                  <a:pt x="0" y="0"/>
                </a:cubicBezTo>
              </a:path>
            </a:pathLst>
          </a:cu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IN" sz="1800" b="0" i="0" u="none" strike="noStrike" kern="1200" cap="none" spc="0" normalizeH="0" baseline="0" noProof="0">
              <a:ln>
                <a:noFill/>
              </a:ln>
              <a:solidFill>
                <a:srgbClr val="FFFFFF"/>
              </a:solidFill>
              <a:effectLst/>
              <a:uLnTx/>
              <a:uFillTx/>
              <a:latin typeface="Arial" panose="020B0604020202020204"/>
              <a:ea typeface="+mn-ea"/>
              <a:cs typeface="Mangal" panose="02040503050203030202" pitchFamily="18" charset="0"/>
            </a:endParaRPr>
          </a:p>
        </p:txBody>
      </p:sp>
      <p:sp>
        <p:nvSpPr>
          <p:cNvPr id="10" name="TextBox 9">
            <a:extLst>
              <a:ext uri="{FF2B5EF4-FFF2-40B4-BE49-F238E27FC236}">
                <a16:creationId xmlns:a16="http://schemas.microsoft.com/office/drawing/2014/main" id="{A44490E5-A262-199A-16F3-1043ED5ADC44}"/>
              </a:ext>
            </a:extLst>
          </p:cNvPr>
          <p:cNvSpPr txBox="1"/>
          <p:nvPr/>
        </p:nvSpPr>
        <p:spPr>
          <a:xfrm>
            <a:off x="-33871" y="4463323"/>
            <a:ext cx="3601837"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cap="small">
                <a:solidFill>
                  <a:srgbClr val="009CDE"/>
                </a:solidFill>
                <a:latin typeface="Arial" panose="020B0604020202020204"/>
              </a:rPr>
              <a:t>Aging On-premises Infrastructure</a:t>
            </a:r>
            <a:endParaRPr lang="en-US" sz="1600">
              <a:solidFill>
                <a:srgbClr val="595959"/>
              </a:solidFill>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Legacy systems are costly to maintain and lack scal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Tackling aging on-prem infrastructure and data center renewal cycles</a:t>
            </a:r>
          </a:p>
        </p:txBody>
      </p:sp>
      <p:sp>
        <p:nvSpPr>
          <p:cNvPr id="11" name="TextBox 10">
            <a:extLst>
              <a:ext uri="{FF2B5EF4-FFF2-40B4-BE49-F238E27FC236}">
                <a16:creationId xmlns:a16="http://schemas.microsoft.com/office/drawing/2014/main" id="{641244EF-D953-7612-3790-229F93EE35D1}"/>
              </a:ext>
            </a:extLst>
          </p:cNvPr>
          <p:cNvSpPr txBox="1"/>
          <p:nvPr/>
        </p:nvSpPr>
        <p:spPr>
          <a:xfrm>
            <a:off x="1140690" y="2514665"/>
            <a:ext cx="355499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cap="small">
                <a:solidFill>
                  <a:srgbClr val="009CDE"/>
                </a:solidFill>
                <a:latin typeface="Arial" panose="020B0604020202020204"/>
              </a:rPr>
              <a:t>Increased Cybersecurity Threats</a:t>
            </a:r>
            <a:endParaRPr lang="en-US" sz="1600">
              <a:solidFill>
                <a:srgbClr val="595959"/>
              </a:solidFill>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Ransomware and data-breach risks drive the need for stronger security models (Zero Trust)</a:t>
            </a:r>
          </a:p>
        </p:txBody>
      </p:sp>
      <p:sp>
        <p:nvSpPr>
          <p:cNvPr id="12" name="TextBox 11">
            <a:extLst>
              <a:ext uri="{FF2B5EF4-FFF2-40B4-BE49-F238E27FC236}">
                <a16:creationId xmlns:a16="http://schemas.microsoft.com/office/drawing/2014/main" id="{7379852B-0A32-348D-601F-277720A33351}"/>
              </a:ext>
            </a:extLst>
          </p:cNvPr>
          <p:cNvSpPr txBox="1"/>
          <p:nvPr/>
        </p:nvSpPr>
        <p:spPr>
          <a:xfrm>
            <a:off x="3925602" y="1812525"/>
            <a:ext cx="501519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cap="small">
                <a:solidFill>
                  <a:srgbClr val="009CDE"/>
                </a:solidFill>
                <a:latin typeface="Arial" panose="020B0604020202020204"/>
              </a:rPr>
              <a:t>Leadership Mandate for Digital Transformation</a:t>
            </a:r>
            <a:endParaRPr lang="en-US" sz="1600">
              <a:solidFill>
                <a:srgbClr val="595959"/>
              </a:solidFill>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esidents, provosts, and boards are pushing for modernization to improve institutional competitiveness.</a:t>
            </a:r>
          </a:p>
        </p:txBody>
      </p:sp>
      <p:sp>
        <p:nvSpPr>
          <p:cNvPr id="14" name="TextBox 13">
            <a:extLst>
              <a:ext uri="{FF2B5EF4-FFF2-40B4-BE49-F238E27FC236}">
                <a16:creationId xmlns:a16="http://schemas.microsoft.com/office/drawing/2014/main" id="{6E1566A4-160E-0009-65B6-F1C7AF28049E}"/>
              </a:ext>
            </a:extLst>
          </p:cNvPr>
          <p:cNvSpPr txBox="1"/>
          <p:nvPr/>
        </p:nvSpPr>
        <p:spPr>
          <a:xfrm>
            <a:off x="7426796" y="2486651"/>
            <a:ext cx="46388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cap="small">
                <a:solidFill>
                  <a:srgbClr val="009CDE"/>
                </a:solidFill>
                <a:latin typeface="Arial" panose="020B0604020202020204"/>
              </a:rPr>
              <a:t>Vendor and Market Shifts </a:t>
            </a:r>
            <a:r>
              <a:rPr lang="en-US" sz="1100" cap="small">
                <a:solidFill>
                  <a:srgbClr val="009CDE"/>
                </a:solidFill>
                <a:latin typeface="Arial" panose="020B0604020202020204"/>
              </a:rPr>
              <a:t>(e.g., VMware–Broadcom)</a:t>
            </a:r>
          </a:p>
          <a:p>
            <a:pPr marL="171450" indent="-171450">
              <a:buFont typeface="Arial" panose="020B0604020202020204" pitchFamily="34" charset="0"/>
              <a:buChar char="•"/>
              <a:defRPr/>
            </a:pPr>
            <a:r>
              <a:rPr lang="en-US" sz="1000"/>
              <a:t>Licensing changes and uncertainty accelerate moves toward cloud alternatives like Az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a:p>
        </p:txBody>
      </p:sp>
      <p:sp>
        <p:nvSpPr>
          <p:cNvPr id="15" name="TextBox 14">
            <a:extLst>
              <a:ext uri="{FF2B5EF4-FFF2-40B4-BE49-F238E27FC236}">
                <a16:creationId xmlns:a16="http://schemas.microsoft.com/office/drawing/2014/main" id="{0AC6037B-41C1-8DE7-3AAB-B1515FC929D7}"/>
              </a:ext>
            </a:extLst>
          </p:cNvPr>
          <p:cNvSpPr txBox="1"/>
          <p:nvPr/>
        </p:nvSpPr>
        <p:spPr>
          <a:xfrm>
            <a:off x="8427564" y="3400943"/>
            <a:ext cx="3095569"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cap="small">
                <a:solidFill>
                  <a:srgbClr val="009CDE"/>
                </a:solidFill>
                <a:latin typeface="Arial" panose="020B0604020202020204"/>
              </a:rPr>
              <a:t>Compliance &amp; Governance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Grant-funding requirements demand traceability and secure data handling.</a:t>
            </a:r>
          </a:p>
        </p:txBody>
      </p:sp>
      <p:sp>
        <p:nvSpPr>
          <p:cNvPr id="16" name="TextBox 15">
            <a:extLst>
              <a:ext uri="{FF2B5EF4-FFF2-40B4-BE49-F238E27FC236}">
                <a16:creationId xmlns:a16="http://schemas.microsoft.com/office/drawing/2014/main" id="{5ADE71C2-18D5-36FB-300F-C9CBF757955A}"/>
              </a:ext>
            </a:extLst>
          </p:cNvPr>
          <p:cNvSpPr txBox="1"/>
          <p:nvPr/>
        </p:nvSpPr>
        <p:spPr>
          <a:xfrm>
            <a:off x="8878272" y="4400093"/>
            <a:ext cx="290110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cap="small">
                <a:solidFill>
                  <a:srgbClr val="009CDE"/>
                </a:solidFill>
                <a:latin typeface="Arial" panose="020B0604020202020204"/>
              </a:rPr>
              <a:t>Disaster Recovery Ga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Traditional DR solutions are expensive and insuffici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Maintaining physical DR data centers or co-locations is cost-prohibitive.</a:t>
            </a:r>
          </a:p>
        </p:txBody>
      </p:sp>
      <p:sp>
        <p:nvSpPr>
          <p:cNvPr id="20" name="Text Placeholder 19">
            <a:extLst>
              <a:ext uri="{FF2B5EF4-FFF2-40B4-BE49-F238E27FC236}">
                <a16:creationId xmlns:a16="http://schemas.microsoft.com/office/drawing/2014/main" id="{CDA5AB22-0C9A-C89E-5D0F-F55674096BE7}"/>
              </a:ext>
            </a:extLst>
          </p:cNvPr>
          <p:cNvSpPr>
            <a:spLocks noGrp="1"/>
          </p:cNvSpPr>
          <p:nvPr>
            <p:ph type="body" sz="quarter" idx="14"/>
          </p:nvPr>
        </p:nvSpPr>
        <p:spPr>
          <a:xfrm>
            <a:off x="355657" y="1118229"/>
            <a:ext cx="10621792" cy="330340"/>
          </a:xfrm>
        </p:spPr>
        <p:txBody>
          <a:bodyPr/>
          <a:lstStyle/>
          <a:p>
            <a:r>
              <a:rPr lang="en-US"/>
              <a:t>The pressures, motivations, or challenges that </a:t>
            </a:r>
            <a:r>
              <a:rPr lang="en-US" i="1"/>
              <a:t>trigger</a:t>
            </a:r>
            <a:r>
              <a:rPr lang="en-US"/>
              <a:t> cloud adoption</a:t>
            </a:r>
          </a:p>
        </p:txBody>
      </p:sp>
    </p:spTree>
    <p:extLst>
      <p:ext uri="{BB962C8B-B14F-4D97-AF65-F5344CB8AC3E}">
        <p14:creationId xmlns:p14="http://schemas.microsoft.com/office/powerpoint/2010/main" val="28971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00D1-B870-D3E7-6528-E5FFCADFF651}"/>
              </a:ext>
            </a:extLst>
          </p:cNvPr>
          <p:cNvSpPr>
            <a:spLocks noGrp="1"/>
          </p:cNvSpPr>
          <p:nvPr>
            <p:ph type="title"/>
          </p:nvPr>
        </p:nvSpPr>
        <p:spPr>
          <a:xfrm>
            <a:off x="605809" y="106378"/>
            <a:ext cx="10845800" cy="619221"/>
          </a:xfrm>
        </p:spPr>
        <p:txBody>
          <a:bodyPr>
            <a:normAutofit/>
          </a:bodyPr>
          <a:lstStyle/>
          <a:p>
            <a:r>
              <a:rPr lang="en-US"/>
              <a:t>Transformation Guiding Principles</a:t>
            </a:r>
          </a:p>
        </p:txBody>
      </p:sp>
      <p:sp>
        <p:nvSpPr>
          <p:cNvPr id="8" name="Left Brace 7">
            <a:extLst>
              <a:ext uri="{FF2B5EF4-FFF2-40B4-BE49-F238E27FC236}">
                <a16:creationId xmlns:a16="http://schemas.microsoft.com/office/drawing/2014/main" id="{0E5E329C-8E69-A8D7-C4BA-46F1AD95039C}"/>
              </a:ext>
            </a:extLst>
          </p:cNvPr>
          <p:cNvSpPr/>
          <p:nvPr/>
        </p:nvSpPr>
        <p:spPr>
          <a:xfrm>
            <a:off x="3824873" y="974959"/>
            <a:ext cx="550807" cy="5534999"/>
          </a:xfrm>
          <a:prstGeom prst="leftBrace">
            <a:avLst>
              <a:gd name="adj1" fmla="val 20907"/>
              <a:gd name="adj2" fmla="val 50000"/>
            </a:avLst>
          </a:prstGeom>
          <a:ln>
            <a:solidFill>
              <a:schemeClr val="accent3"/>
            </a:solidFill>
          </a:ln>
        </p:spPr>
        <p:style>
          <a:lnRef idx="3">
            <a:schemeClr val="dk1"/>
          </a:lnRef>
          <a:fillRef idx="0">
            <a:schemeClr val="dk1"/>
          </a:fillRef>
          <a:effectRef idx="2">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endParaRPr>
          </a:p>
        </p:txBody>
      </p:sp>
      <p:grpSp>
        <p:nvGrpSpPr>
          <p:cNvPr id="6" name="Group 5">
            <a:extLst>
              <a:ext uri="{FF2B5EF4-FFF2-40B4-BE49-F238E27FC236}">
                <a16:creationId xmlns:a16="http://schemas.microsoft.com/office/drawing/2014/main" id="{07DEF2B1-1D64-E4B1-E3FC-8ADB1F2E43C9}"/>
              </a:ext>
            </a:extLst>
          </p:cNvPr>
          <p:cNvGrpSpPr/>
          <p:nvPr/>
        </p:nvGrpSpPr>
        <p:grpSpPr>
          <a:xfrm>
            <a:off x="60966" y="2812163"/>
            <a:ext cx="3700130" cy="1833998"/>
            <a:chOff x="223284" y="2870791"/>
            <a:chExt cx="3700130" cy="1833998"/>
          </a:xfrm>
        </p:grpSpPr>
        <p:sp>
          <p:nvSpPr>
            <p:cNvPr id="9" name="Rectangle: Rounded Corners 8">
              <a:extLst>
                <a:ext uri="{FF2B5EF4-FFF2-40B4-BE49-F238E27FC236}">
                  <a16:creationId xmlns:a16="http://schemas.microsoft.com/office/drawing/2014/main" id="{AD8308B5-4364-2BB5-1216-3BA31BA1492F}"/>
                </a:ext>
              </a:extLst>
            </p:cNvPr>
            <p:cNvSpPr/>
            <p:nvPr/>
          </p:nvSpPr>
          <p:spPr>
            <a:xfrm>
              <a:off x="223284" y="2870791"/>
              <a:ext cx="3700130" cy="1833998"/>
            </a:xfrm>
            <a:prstGeom prst="roundRect">
              <a:avLst>
                <a:gd name="adj" fmla="val 7971"/>
              </a:avLst>
            </a:prstGeom>
            <a:solidFill>
              <a:srgbClr val="E0E0E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Demonstrate</a:t>
              </a:r>
              <a:r>
                <a:rPr kumimoji="0" lang="en-US" sz="1400" b="0"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joint commitment</a:t>
              </a:r>
              <a:r>
                <a:rPr kumimoji="0" lang="en-US" sz="1400" b="1" i="0" u="sng" strike="noStrike" kern="1200" cap="none" spc="0" normalizeH="0" baseline="0" noProof="0">
                  <a:ln>
                    <a:noFill/>
                  </a:ln>
                  <a:solidFill>
                    <a:srgbClr val="3F9C35"/>
                  </a:solidFill>
                  <a:effectLst/>
                  <a:uLnTx/>
                  <a:uFillTx/>
                  <a:latin typeface="Calibri" panose="020F0502020204030204" pitchFamily="34" charset="0"/>
                  <a:ea typeface="+mn-ea"/>
                  <a:cs typeface="Calibri" panose="020F0502020204030204" pitchFamily="34" charset="0"/>
                </a:rPr>
                <a:t> </a:t>
              </a: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to </a:t>
              </a:r>
              <a:r>
                <a:rPr kumimoji="0" lang="en-US" sz="1400" b="1"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proactive communication </a:t>
              </a: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and </a:t>
              </a:r>
              <a:r>
                <a:rPr kumimoji="0" lang="en-US" sz="1400" b="1"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project execution</a:t>
              </a:r>
            </a:p>
          </p:txBody>
        </p:sp>
        <p:sp>
          <p:nvSpPr>
            <p:cNvPr id="10" name="Freeform 22">
              <a:extLst>
                <a:ext uri="{FF2B5EF4-FFF2-40B4-BE49-F238E27FC236}">
                  <a16:creationId xmlns:a16="http://schemas.microsoft.com/office/drawing/2014/main" id="{38B24652-82BC-38C8-3AF4-88416184F10C}"/>
                </a:ext>
              </a:extLst>
            </p:cNvPr>
            <p:cNvSpPr/>
            <p:nvPr/>
          </p:nvSpPr>
          <p:spPr>
            <a:xfrm>
              <a:off x="230716" y="2870791"/>
              <a:ext cx="827617" cy="1833998"/>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18" name="Graphic 17" descr="Handshake with solid fill">
              <a:extLst>
                <a:ext uri="{FF2B5EF4-FFF2-40B4-BE49-F238E27FC236}">
                  <a16:creationId xmlns:a16="http://schemas.microsoft.com/office/drawing/2014/main" id="{E9CE0582-19ED-E205-C34F-765D4FA06D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268813" y="3422030"/>
              <a:ext cx="731520" cy="731520"/>
            </a:xfrm>
            <a:prstGeom prst="rect">
              <a:avLst/>
            </a:prstGeom>
          </p:spPr>
        </p:pic>
      </p:grpSp>
      <p:grpSp>
        <p:nvGrpSpPr>
          <p:cNvPr id="27" name="Group 26">
            <a:extLst>
              <a:ext uri="{FF2B5EF4-FFF2-40B4-BE49-F238E27FC236}">
                <a16:creationId xmlns:a16="http://schemas.microsoft.com/office/drawing/2014/main" id="{440AD6E4-9051-1643-9BA7-5EF49FA7AB23}"/>
              </a:ext>
            </a:extLst>
          </p:cNvPr>
          <p:cNvGrpSpPr/>
          <p:nvPr/>
        </p:nvGrpSpPr>
        <p:grpSpPr>
          <a:xfrm>
            <a:off x="4329016" y="974959"/>
            <a:ext cx="7122596" cy="5540324"/>
            <a:chOff x="4329016" y="860659"/>
            <a:chExt cx="7503240" cy="5540324"/>
          </a:xfrm>
        </p:grpSpPr>
        <p:grpSp>
          <p:nvGrpSpPr>
            <p:cNvPr id="67" name="Group 66">
              <a:extLst>
                <a:ext uri="{FF2B5EF4-FFF2-40B4-BE49-F238E27FC236}">
                  <a16:creationId xmlns:a16="http://schemas.microsoft.com/office/drawing/2014/main" id="{29D18E6D-F04D-AA91-5168-5FB1FB40440A}"/>
                </a:ext>
              </a:extLst>
            </p:cNvPr>
            <p:cNvGrpSpPr/>
            <p:nvPr/>
          </p:nvGrpSpPr>
          <p:grpSpPr>
            <a:xfrm>
              <a:off x="4329016" y="860659"/>
              <a:ext cx="7503240" cy="640080"/>
              <a:chOff x="2344380" y="860659"/>
              <a:chExt cx="7503240" cy="640080"/>
            </a:xfrm>
          </p:grpSpPr>
          <p:sp>
            <p:nvSpPr>
              <p:cNvPr id="11" name="Chevron 155">
                <a:extLst>
                  <a:ext uri="{FF2B5EF4-FFF2-40B4-BE49-F238E27FC236}">
                    <a16:creationId xmlns:a16="http://schemas.microsoft.com/office/drawing/2014/main" id="{66B47E5A-1A73-0DAE-9F5B-5F26E42E22E6}"/>
                  </a:ext>
                </a:extLst>
              </p:cNvPr>
              <p:cNvSpPr/>
              <p:nvPr/>
            </p:nvSpPr>
            <p:spPr>
              <a:xfrm>
                <a:off x="2344382" y="860659"/>
                <a:ext cx="7503238" cy="640080"/>
              </a:xfrm>
              <a:prstGeom prst="roundRect">
                <a:avLst>
                  <a:gd name="adj" fmla="val 10135"/>
                </a:avLst>
              </a:prstGeom>
              <a:solidFill>
                <a:srgbClr val="E7E8E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Reduce business complexity and make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process unification and simplification</a:t>
                </a:r>
                <a:r>
                  <a:rPr kumimoji="0" lang="en-US" sz="1400" b="1"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 </a:t>
                </a: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the driving heart of design</a:t>
                </a:r>
              </a:p>
            </p:txBody>
          </p:sp>
          <p:sp>
            <p:nvSpPr>
              <p:cNvPr id="7" name="Freeform 10">
                <a:extLst>
                  <a:ext uri="{FF2B5EF4-FFF2-40B4-BE49-F238E27FC236}">
                    <a16:creationId xmlns:a16="http://schemas.microsoft.com/office/drawing/2014/main" id="{7474DFC2-9954-8717-FAC7-818FBFAD5CEA}"/>
                  </a:ext>
                </a:extLst>
              </p:cNvPr>
              <p:cNvSpPr/>
              <p:nvPr/>
            </p:nvSpPr>
            <p:spPr>
              <a:xfrm>
                <a:off x="2344380" y="860659"/>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pic>
          <p:nvPicPr>
            <p:cNvPr id="43" name="Graphic 42" descr="Connected with solid fill">
              <a:extLst>
                <a:ext uri="{FF2B5EF4-FFF2-40B4-BE49-F238E27FC236}">
                  <a16:creationId xmlns:a16="http://schemas.microsoft.com/office/drawing/2014/main" id="{7045B99E-B877-7729-34A7-5F591258F7A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00600" y="861286"/>
              <a:ext cx="640080" cy="640080"/>
            </a:xfrm>
            <a:prstGeom prst="rect">
              <a:avLst/>
            </a:prstGeom>
          </p:spPr>
        </p:pic>
        <p:grpSp>
          <p:nvGrpSpPr>
            <p:cNvPr id="65" name="Group 64">
              <a:extLst>
                <a:ext uri="{FF2B5EF4-FFF2-40B4-BE49-F238E27FC236}">
                  <a16:creationId xmlns:a16="http://schemas.microsoft.com/office/drawing/2014/main" id="{84F075BC-7C98-A5E3-370D-314B2AED7187}"/>
                </a:ext>
              </a:extLst>
            </p:cNvPr>
            <p:cNvGrpSpPr/>
            <p:nvPr/>
          </p:nvGrpSpPr>
          <p:grpSpPr>
            <a:xfrm>
              <a:off x="4329019" y="2945908"/>
              <a:ext cx="7503235" cy="645908"/>
              <a:chOff x="2344381" y="2523503"/>
              <a:chExt cx="7503235" cy="645908"/>
            </a:xfrm>
          </p:grpSpPr>
          <p:sp>
            <p:nvSpPr>
              <p:cNvPr id="15" name="Chevron 155">
                <a:extLst>
                  <a:ext uri="{FF2B5EF4-FFF2-40B4-BE49-F238E27FC236}">
                    <a16:creationId xmlns:a16="http://schemas.microsoft.com/office/drawing/2014/main" id="{FB9539E5-BA75-CA41-4305-BC54327885C2}"/>
                  </a:ext>
                </a:extLst>
              </p:cNvPr>
              <p:cNvSpPr/>
              <p:nvPr/>
            </p:nvSpPr>
            <p:spPr>
              <a:xfrm>
                <a:off x="2344381" y="2523503"/>
                <a:ext cx="7503235" cy="640080"/>
              </a:xfrm>
              <a:prstGeom prst="roundRect">
                <a:avLst>
                  <a:gd name="adj" fmla="val 10135"/>
                </a:avLst>
              </a:prstGeom>
              <a:solidFill>
                <a:srgbClr val="E7E8E8">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Leverage out-of-the-box,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fit-for-purpose technology</a:t>
                </a:r>
                <a:r>
                  <a:rPr kumimoji="0" lang="en-US" sz="1400" b="1"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 </a:t>
                </a: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with minimal customizations, and defined exception processes for decision-making</a:t>
                </a:r>
              </a:p>
            </p:txBody>
          </p:sp>
          <p:sp>
            <p:nvSpPr>
              <p:cNvPr id="5" name="Freeform 8">
                <a:extLst>
                  <a:ext uri="{FF2B5EF4-FFF2-40B4-BE49-F238E27FC236}">
                    <a16:creationId xmlns:a16="http://schemas.microsoft.com/office/drawing/2014/main" id="{8E05DDD7-E24B-E543-A960-A654487A4E59}"/>
                  </a:ext>
                </a:extLst>
              </p:cNvPr>
              <p:cNvSpPr/>
              <p:nvPr/>
            </p:nvSpPr>
            <p:spPr>
              <a:xfrm>
                <a:off x="2348282" y="2523503"/>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45" name="Graphic 44" descr="Internet with solid fill">
                <a:extLst>
                  <a:ext uri="{FF2B5EF4-FFF2-40B4-BE49-F238E27FC236}">
                    <a16:creationId xmlns:a16="http://schemas.microsoft.com/office/drawing/2014/main" id="{79C48D24-8612-0E45-3F61-77000148A2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25050" y="2529331"/>
                <a:ext cx="640080" cy="640080"/>
              </a:xfrm>
              <a:prstGeom prst="rect">
                <a:avLst/>
              </a:prstGeom>
            </p:spPr>
          </p:pic>
        </p:grpSp>
        <p:grpSp>
          <p:nvGrpSpPr>
            <p:cNvPr id="64" name="Group 63">
              <a:extLst>
                <a:ext uri="{FF2B5EF4-FFF2-40B4-BE49-F238E27FC236}">
                  <a16:creationId xmlns:a16="http://schemas.microsoft.com/office/drawing/2014/main" id="{3A19234A-ADA0-A23B-E1A2-B5DCB22E0A21}"/>
                </a:ext>
              </a:extLst>
            </p:cNvPr>
            <p:cNvGrpSpPr/>
            <p:nvPr/>
          </p:nvGrpSpPr>
          <p:grpSpPr>
            <a:xfrm>
              <a:off x="4329020" y="3646819"/>
              <a:ext cx="7503233" cy="645444"/>
              <a:chOff x="2344381" y="3354925"/>
              <a:chExt cx="7503233" cy="645444"/>
            </a:xfrm>
          </p:grpSpPr>
          <p:sp>
            <p:nvSpPr>
              <p:cNvPr id="16" name="Chevron 155">
                <a:extLst>
                  <a:ext uri="{FF2B5EF4-FFF2-40B4-BE49-F238E27FC236}">
                    <a16:creationId xmlns:a16="http://schemas.microsoft.com/office/drawing/2014/main" id="{8C7609C3-8400-9661-CEC5-4CB908CF93C4}"/>
                  </a:ext>
                </a:extLst>
              </p:cNvPr>
              <p:cNvSpPr/>
              <p:nvPr/>
            </p:nvSpPr>
            <p:spPr>
              <a:xfrm>
                <a:off x="2344381" y="3354925"/>
                <a:ext cx="7503233" cy="640080"/>
              </a:xfrm>
              <a:prstGeom prst="roundRect">
                <a:avLst>
                  <a:gd name="adj" fmla="val 10135"/>
                </a:avLst>
              </a:prstGeom>
              <a:solidFill>
                <a:srgbClr val="E7E8E8">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Design solution with an eye towards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enterprise-wide business performance improvement</a:t>
                </a:r>
              </a:p>
            </p:txBody>
          </p:sp>
          <p:sp>
            <p:nvSpPr>
              <p:cNvPr id="3" name="Freeform 22">
                <a:extLst>
                  <a:ext uri="{FF2B5EF4-FFF2-40B4-BE49-F238E27FC236}">
                    <a16:creationId xmlns:a16="http://schemas.microsoft.com/office/drawing/2014/main" id="{E6F918D2-2F28-7608-0BB1-AD3CFFEB895B}"/>
                  </a:ext>
                </a:extLst>
              </p:cNvPr>
              <p:cNvSpPr/>
              <p:nvPr/>
            </p:nvSpPr>
            <p:spPr>
              <a:xfrm>
                <a:off x="2345619" y="3354925"/>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47" name="Graphic 46" descr="Checklist with solid fill">
                <a:extLst>
                  <a:ext uri="{FF2B5EF4-FFF2-40B4-BE49-F238E27FC236}">
                    <a16:creationId xmlns:a16="http://schemas.microsoft.com/office/drawing/2014/main" id="{CDB3B19C-16E3-6A06-A0F3-84C12EFC5E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25050" y="3360289"/>
                <a:ext cx="640080" cy="640080"/>
              </a:xfrm>
              <a:prstGeom prst="rect">
                <a:avLst/>
              </a:prstGeom>
            </p:spPr>
          </p:pic>
        </p:grpSp>
        <p:grpSp>
          <p:nvGrpSpPr>
            <p:cNvPr id="63" name="Group 62">
              <a:extLst>
                <a:ext uri="{FF2B5EF4-FFF2-40B4-BE49-F238E27FC236}">
                  <a16:creationId xmlns:a16="http://schemas.microsoft.com/office/drawing/2014/main" id="{05663C20-33D5-539D-FABE-C744FF8A7E36}"/>
                </a:ext>
              </a:extLst>
            </p:cNvPr>
            <p:cNvGrpSpPr/>
            <p:nvPr/>
          </p:nvGrpSpPr>
          <p:grpSpPr>
            <a:xfrm>
              <a:off x="4329019" y="5047249"/>
              <a:ext cx="7503235" cy="644980"/>
              <a:chOff x="2344380" y="4186347"/>
              <a:chExt cx="7503235" cy="644980"/>
            </a:xfrm>
          </p:grpSpPr>
          <p:sp>
            <p:nvSpPr>
              <p:cNvPr id="21" name="Chevron 155">
                <a:extLst>
                  <a:ext uri="{FF2B5EF4-FFF2-40B4-BE49-F238E27FC236}">
                    <a16:creationId xmlns:a16="http://schemas.microsoft.com/office/drawing/2014/main" id="{FE53441C-96DC-5B27-8E21-ED91080A7AB2}"/>
                  </a:ext>
                </a:extLst>
              </p:cNvPr>
              <p:cNvSpPr/>
              <p:nvPr/>
            </p:nvSpPr>
            <p:spPr>
              <a:xfrm>
                <a:off x="2344380" y="4186347"/>
                <a:ext cx="7503235" cy="640080"/>
              </a:xfrm>
              <a:prstGeom prst="roundRect">
                <a:avLst>
                  <a:gd name="adj" fmla="val 10135"/>
                </a:avLst>
              </a:prstGeom>
              <a:solidFill>
                <a:srgbClr val="E7E8E8">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Program decisions are made with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user experience as the priority</a:t>
                </a:r>
              </a:p>
            </p:txBody>
          </p:sp>
          <p:sp>
            <p:nvSpPr>
              <p:cNvPr id="19" name="Freeform 8">
                <a:extLst>
                  <a:ext uri="{FF2B5EF4-FFF2-40B4-BE49-F238E27FC236}">
                    <a16:creationId xmlns:a16="http://schemas.microsoft.com/office/drawing/2014/main" id="{8C08E81A-8224-51C4-CA3B-2934BEC8541D}"/>
                  </a:ext>
                </a:extLst>
              </p:cNvPr>
              <p:cNvSpPr/>
              <p:nvPr/>
            </p:nvSpPr>
            <p:spPr>
              <a:xfrm>
                <a:off x="2348281" y="4186347"/>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49" name="Graphic 48" descr="Target Audience with solid fill">
                <a:extLst>
                  <a:ext uri="{FF2B5EF4-FFF2-40B4-BE49-F238E27FC236}">
                    <a16:creationId xmlns:a16="http://schemas.microsoft.com/office/drawing/2014/main" id="{B75995A5-CC5B-0F69-215B-D02707BC149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525050" y="4191247"/>
                <a:ext cx="640080" cy="640080"/>
              </a:xfrm>
              <a:prstGeom prst="rect">
                <a:avLst/>
              </a:prstGeom>
            </p:spPr>
          </p:pic>
        </p:grpSp>
        <p:grpSp>
          <p:nvGrpSpPr>
            <p:cNvPr id="62" name="Group 61">
              <a:extLst>
                <a:ext uri="{FF2B5EF4-FFF2-40B4-BE49-F238E27FC236}">
                  <a16:creationId xmlns:a16="http://schemas.microsoft.com/office/drawing/2014/main" id="{4D7B0892-4A85-14F9-2FA3-96D154C174AC}"/>
                </a:ext>
              </a:extLst>
            </p:cNvPr>
            <p:cNvGrpSpPr/>
            <p:nvPr/>
          </p:nvGrpSpPr>
          <p:grpSpPr>
            <a:xfrm>
              <a:off x="4329020" y="5747231"/>
              <a:ext cx="7503233" cy="653752"/>
              <a:chOff x="2344380" y="5017769"/>
              <a:chExt cx="7503233" cy="653752"/>
            </a:xfrm>
          </p:grpSpPr>
          <p:sp>
            <p:nvSpPr>
              <p:cNvPr id="22" name="Chevron 155">
                <a:extLst>
                  <a:ext uri="{FF2B5EF4-FFF2-40B4-BE49-F238E27FC236}">
                    <a16:creationId xmlns:a16="http://schemas.microsoft.com/office/drawing/2014/main" id="{8E77DEE1-88F9-7BC1-5261-0EAD68FF9DE0}"/>
                  </a:ext>
                </a:extLst>
              </p:cNvPr>
              <p:cNvSpPr/>
              <p:nvPr/>
            </p:nvSpPr>
            <p:spPr>
              <a:xfrm>
                <a:off x="2344380" y="5017769"/>
                <a:ext cx="7503233" cy="640080"/>
              </a:xfrm>
              <a:prstGeom prst="roundRect">
                <a:avLst>
                  <a:gd name="adj" fmla="val 10135"/>
                </a:avLst>
              </a:prstGeom>
              <a:solidFill>
                <a:srgbClr val="E7E8E8">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Designing for the future in mind, driving the need for</a:t>
                </a:r>
                <a:r>
                  <a:rPr kumimoji="0" lang="en-US" sz="1400" b="0"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continuous growth and scalability</a:t>
                </a:r>
                <a:endParaRPr kumimoji="0" lang="en-US" sz="1400" b="0" i="0" u="none"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endParaRPr>
              </a:p>
            </p:txBody>
          </p:sp>
          <p:sp>
            <p:nvSpPr>
              <p:cNvPr id="17" name="Freeform 22">
                <a:extLst>
                  <a:ext uri="{FF2B5EF4-FFF2-40B4-BE49-F238E27FC236}">
                    <a16:creationId xmlns:a16="http://schemas.microsoft.com/office/drawing/2014/main" id="{A21ED4EC-3327-1C48-7999-1EFAB508B227}"/>
                  </a:ext>
                </a:extLst>
              </p:cNvPr>
              <p:cNvSpPr/>
              <p:nvPr/>
            </p:nvSpPr>
            <p:spPr>
              <a:xfrm>
                <a:off x="2345618" y="5017769"/>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51" name="Graphic 50" descr="Bar graph with upward trend with solid fill">
                <a:extLst>
                  <a:ext uri="{FF2B5EF4-FFF2-40B4-BE49-F238E27FC236}">
                    <a16:creationId xmlns:a16="http://schemas.microsoft.com/office/drawing/2014/main" id="{7804F8CE-AF5A-667D-2E94-2A3859EBDF7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25050" y="5031441"/>
                <a:ext cx="640080" cy="640080"/>
              </a:xfrm>
              <a:prstGeom prst="rect">
                <a:avLst/>
              </a:prstGeom>
            </p:spPr>
          </p:pic>
        </p:grpSp>
        <p:grpSp>
          <p:nvGrpSpPr>
            <p:cNvPr id="13" name="Group 12">
              <a:extLst>
                <a:ext uri="{FF2B5EF4-FFF2-40B4-BE49-F238E27FC236}">
                  <a16:creationId xmlns:a16="http://schemas.microsoft.com/office/drawing/2014/main" id="{3A083727-3312-0661-A646-71239628090F}"/>
                </a:ext>
              </a:extLst>
            </p:cNvPr>
            <p:cNvGrpSpPr/>
            <p:nvPr/>
          </p:nvGrpSpPr>
          <p:grpSpPr>
            <a:xfrm>
              <a:off x="4329018" y="2250825"/>
              <a:ext cx="7503236" cy="640080"/>
              <a:chOff x="4329018" y="2249374"/>
              <a:chExt cx="7503236" cy="640080"/>
            </a:xfrm>
          </p:grpSpPr>
          <p:sp>
            <p:nvSpPr>
              <p:cNvPr id="14" name="Chevron 155">
                <a:extLst>
                  <a:ext uri="{FF2B5EF4-FFF2-40B4-BE49-F238E27FC236}">
                    <a16:creationId xmlns:a16="http://schemas.microsoft.com/office/drawing/2014/main" id="{D22916AB-AF19-E62D-9828-B7C819EB7228}"/>
                  </a:ext>
                </a:extLst>
              </p:cNvPr>
              <p:cNvSpPr/>
              <p:nvPr/>
            </p:nvSpPr>
            <p:spPr>
              <a:xfrm>
                <a:off x="4329018" y="2249374"/>
                <a:ext cx="7503236" cy="640080"/>
              </a:xfrm>
              <a:prstGeom prst="roundRect">
                <a:avLst>
                  <a:gd name="adj" fmla="val 10135"/>
                </a:avLst>
              </a:prstGeom>
              <a:solidFill>
                <a:srgbClr val="E7E8E8">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Establish a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single source of truth </a:t>
                </a: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for key operational and financial data</a:t>
                </a:r>
              </a:p>
            </p:txBody>
          </p:sp>
          <p:sp>
            <p:nvSpPr>
              <p:cNvPr id="12" name="Freeform 22">
                <a:extLst>
                  <a:ext uri="{FF2B5EF4-FFF2-40B4-BE49-F238E27FC236}">
                    <a16:creationId xmlns:a16="http://schemas.microsoft.com/office/drawing/2014/main" id="{5273B0FF-B10D-5225-A888-69B82E59F87A}"/>
                  </a:ext>
                </a:extLst>
              </p:cNvPr>
              <p:cNvSpPr/>
              <p:nvPr/>
            </p:nvSpPr>
            <p:spPr>
              <a:xfrm>
                <a:off x="4330255" y="2249374"/>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61" name="Group 60">
              <a:extLst>
                <a:ext uri="{FF2B5EF4-FFF2-40B4-BE49-F238E27FC236}">
                  <a16:creationId xmlns:a16="http://schemas.microsoft.com/office/drawing/2014/main" id="{09CACA09-4AE6-6460-2FE4-B0298609901B}"/>
                </a:ext>
              </a:extLst>
            </p:cNvPr>
            <p:cNvGrpSpPr/>
            <p:nvPr/>
          </p:nvGrpSpPr>
          <p:grpSpPr>
            <a:xfrm>
              <a:off x="4329020" y="1555742"/>
              <a:ext cx="7503233" cy="640080"/>
              <a:chOff x="2344381" y="5849191"/>
              <a:chExt cx="7503233" cy="640080"/>
            </a:xfrm>
          </p:grpSpPr>
          <p:sp>
            <p:nvSpPr>
              <p:cNvPr id="53" name="Chevron 155">
                <a:extLst>
                  <a:ext uri="{FF2B5EF4-FFF2-40B4-BE49-F238E27FC236}">
                    <a16:creationId xmlns:a16="http://schemas.microsoft.com/office/drawing/2014/main" id="{C00A4EC7-024F-52A5-3265-731F1065EFB1}"/>
                  </a:ext>
                </a:extLst>
              </p:cNvPr>
              <p:cNvSpPr/>
              <p:nvPr/>
            </p:nvSpPr>
            <p:spPr>
              <a:xfrm>
                <a:off x="2344381" y="5849191"/>
                <a:ext cx="7503233" cy="640080"/>
              </a:xfrm>
              <a:prstGeom prst="roundRect">
                <a:avLst>
                  <a:gd name="adj" fmla="val 10135"/>
                </a:avLst>
              </a:prstGeom>
              <a:solidFill>
                <a:srgbClr val="E7E8E8">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Apply the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80/20 rule </a:t>
                </a: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as a guiding component of all elements of design</a:t>
                </a:r>
                <a:endParaRPr kumimoji="0" lang="en-US" sz="1400" b="1" i="0" u="sng"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endParaRPr>
              </a:p>
            </p:txBody>
          </p:sp>
          <p:sp>
            <p:nvSpPr>
              <p:cNvPr id="54" name="Freeform 22">
                <a:extLst>
                  <a:ext uri="{FF2B5EF4-FFF2-40B4-BE49-F238E27FC236}">
                    <a16:creationId xmlns:a16="http://schemas.microsoft.com/office/drawing/2014/main" id="{2F217B95-0015-F033-6264-2CDDB8123A97}"/>
                  </a:ext>
                </a:extLst>
              </p:cNvPr>
              <p:cNvSpPr/>
              <p:nvPr/>
            </p:nvSpPr>
            <p:spPr>
              <a:xfrm>
                <a:off x="2345619" y="5849191"/>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60" name="Group 59">
                <a:extLst>
                  <a:ext uri="{FF2B5EF4-FFF2-40B4-BE49-F238E27FC236}">
                    <a16:creationId xmlns:a16="http://schemas.microsoft.com/office/drawing/2014/main" id="{6F29A377-E22C-01DE-2200-7B02E15BA9C4}"/>
                  </a:ext>
                </a:extLst>
              </p:cNvPr>
              <p:cNvGrpSpPr/>
              <p:nvPr/>
            </p:nvGrpSpPr>
            <p:grpSpPr>
              <a:xfrm>
                <a:off x="2611918" y="5897709"/>
                <a:ext cx="466344" cy="548640"/>
                <a:chOff x="2611918" y="5897709"/>
                <a:chExt cx="466344" cy="548640"/>
              </a:xfrm>
            </p:grpSpPr>
            <p:sp>
              <p:nvSpPr>
                <p:cNvPr id="58" name="Isosceles Triangle 57">
                  <a:extLst>
                    <a:ext uri="{FF2B5EF4-FFF2-40B4-BE49-F238E27FC236}">
                      <a16:creationId xmlns:a16="http://schemas.microsoft.com/office/drawing/2014/main" id="{D257C52F-D5C2-D08C-76CF-9FE95F1D58F7}"/>
                    </a:ext>
                  </a:extLst>
                </p:cNvPr>
                <p:cNvSpPr/>
                <p:nvPr/>
              </p:nvSpPr>
              <p:spPr>
                <a:xfrm>
                  <a:off x="2611918" y="5897709"/>
                  <a:ext cx="466344" cy="548640"/>
                </a:xfrm>
                <a:prstGeom prst="triangle">
                  <a:avLst/>
                </a:prstGeom>
                <a:solidFill>
                  <a:schemeClr val="bg1"/>
                </a:solidFill>
                <a:ln w="5263" cap="flat">
                  <a:solidFill>
                    <a:schemeClr val="accent1"/>
                  </a:solid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9" name="Isosceles Triangle 58">
                  <a:extLst>
                    <a:ext uri="{FF2B5EF4-FFF2-40B4-BE49-F238E27FC236}">
                      <a16:creationId xmlns:a16="http://schemas.microsoft.com/office/drawing/2014/main" id="{B465191D-A5D5-6168-EBF5-9B887FF1D25A}"/>
                    </a:ext>
                  </a:extLst>
                </p:cNvPr>
                <p:cNvSpPr/>
                <p:nvPr/>
              </p:nvSpPr>
              <p:spPr>
                <a:xfrm>
                  <a:off x="2790226" y="5903510"/>
                  <a:ext cx="109728" cy="137160"/>
                </a:xfrm>
                <a:prstGeom prst="triangle">
                  <a:avLst/>
                </a:prstGeom>
                <a:solidFill>
                  <a:schemeClr val="bg1"/>
                </a:solidFill>
                <a:ln w="5263" cap="flat">
                  <a:solidFill>
                    <a:schemeClr val="accent1"/>
                  </a:solid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grpSp>
          <p:nvGrpSpPr>
            <p:cNvPr id="20" name="Group 19">
              <a:extLst>
                <a:ext uri="{FF2B5EF4-FFF2-40B4-BE49-F238E27FC236}">
                  <a16:creationId xmlns:a16="http://schemas.microsoft.com/office/drawing/2014/main" id="{816FE3D8-B6A5-1323-C0A4-D6ADF7624D8D}"/>
                </a:ext>
              </a:extLst>
            </p:cNvPr>
            <p:cNvGrpSpPr/>
            <p:nvPr/>
          </p:nvGrpSpPr>
          <p:grpSpPr>
            <a:xfrm>
              <a:off x="4329018" y="4347266"/>
              <a:ext cx="7503235" cy="644980"/>
              <a:chOff x="2344380" y="4186347"/>
              <a:chExt cx="7503235" cy="644980"/>
            </a:xfrm>
          </p:grpSpPr>
          <p:sp>
            <p:nvSpPr>
              <p:cNvPr id="23" name="Chevron 155">
                <a:extLst>
                  <a:ext uri="{FF2B5EF4-FFF2-40B4-BE49-F238E27FC236}">
                    <a16:creationId xmlns:a16="http://schemas.microsoft.com/office/drawing/2014/main" id="{0B6986E6-6363-12DB-A601-348DE928AB1B}"/>
                  </a:ext>
                </a:extLst>
              </p:cNvPr>
              <p:cNvSpPr/>
              <p:nvPr/>
            </p:nvSpPr>
            <p:spPr>
              <a:xfrm>
                <a:off x="2344380" y="4186347"/>
                <a:ext cx="7503235" cy="640080"/>
              </a:xfrm>
              <a:prstGeom prst="roundRect">
                <a:avLst>
                  <a:gd name="adj" fmla="val 10135"/>
                </a:avLst>
              </a:prstGeom>
              <a:solidFill>
                <a:srgbClr val="E7E8E8">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marL="128016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Ensure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seamless transition to future state solution </a:t>
                </a:r>
                <a:r>
                  <a:rPr kumimoji="0" lang="en-US" sz="1400" b="0" i="0" u="none" strike="noStrike" kern="1200" cap="none" spc="0" normalizeH="0" baseline="0" noProof="0">
                    <a:ln>
                      <a:noFill/>
                    </a:ln>
                    <a:solidFill>
                      <a:srgbClr val="595959"/>
                    </a:solidFill>
                    <a:effectLst/>
                    <a:uLnTx/>
                    <a:uFillTx/>
                    <a:latin typeface="Calibri" panose="020F0502020204030204" pitchFamily="34" charset="0"/>
                    <a:ea typeface="+mn-ea"/>
                    <a:cs typeface="Calibri" panose="020F0502020204030204" pitchFamily="34" charset="0"/>
                  </a:rPr>
                  <a:t>and maintenance of operational integrity through </a:t>
                </a:r>
                <a:r>
                  <a:rPr kumimoji="0" lang="en-US" sz="1400" b="1" i="0" u="sng" strike="noStrike" kern="1200" cap="none" spc="0" normalizeH="0" baseline="0" noProof="0">
                    <a:ln>
                      <a:noFill/>
                    </a:ln>
                    <a:solidFill>
                      <a:srgbClr val="009CDE"/>
                    </a:solidFill>
                    <a:effectLst/>
                    <a:uLnTx/>
                    <a:uFillTx/>
                    <a:latin typeface="Calibri" panose="020F0502020204030204" pitchFamily="34" charset="0"/>
                    <a:ea typeface="+mn-ea"/>
                    <a:cs typeface="Calibri" panose="020F0502020204030204" pitchFamily="34" charset="0"/>
                  </a:rPr>
                  <a:t>tactical interim state planning</a:t>
                </a:r>
              </a:p>
            </p:txBody>
          </p:sp>
          <p:sp>
            <p:nvSpPr>
              <p:cNvPr id="24" name="Freeform 8">
                <a:extLst>
                  <a:ext uri="{FF2B5EF4-FFF2-40B4-BE49-F238E27FC236}">
                    <a16:creationId xmlns:a16="http://schemas.microsoft.com/office/drawing/2014/main" id="{078EF61E-A0CD-30B3-520E-62972F7A4EC7}"/>
                  </a:ext>
                </a:extLst>
              </p:cNvPr>
              <p:cNvSpPr/>
              <p:nvPr/>
            </p:nvSpPr>
            <p:spPr>
              <a:xfrm>
                <a:off x="2348281" y="4186347"/>
                <a:ext cx="1097280" cy="640080"/>
              </a:xfrm>
              <a:custGeom>
                <a:avLst/>
                <a:gdLst>
                  <a:gd name="connsiteX0" fmla="*/ 101942 w 1364695"/>
                  <a:gd name="connsiteY0" fmla="*/ 0 h 1005840"/>
                  <a:gd name="connsiteX1" fmla="*/ 132160 w 1364695"/>
                  <a:gd name="connsiteY1" fmla="*/ 0 h 1005840"/>
                  <a:gd name="connsiteX2" fmla="*/ 657862 w 1364695"/>
                  <a:gd name="connsiteY2" fmla="*/ 0 h 1005840"/>
                  <a:gd name="connsiteX3" fmla="*/ 1038519 w 1364695"/>
                  <a:gd name="connsiteY3" fmla="*/ 0 h 1005840"/>
                  <a:gd name="connsiteX4" fmla="*/ 1111334 w 1364695"/>
                  <a:gd name="connsiteY4" fmla="*/ 0 h 1005840"/>
                  <a:gd name="connsiteX5" fmla="*/ 1112522 w 1364695"/>
                  <a:gd name="connsiteY5" fmla="*/ 0 h 1005840"/>
                  <a:gd name="connsiteX6" fmla="*/ 1112522 w 1364695"/>
                  <a:gd name="connsiteY6" fmla="*/ 2358 h 1005840"/>
                  <a:gd name="connsiteX7" fmla="*/ 1364695 w 1364695"/>
                  <a:gd name="connsiteY7" fmla="*/ 502920 h 1005840"/>
                  <a:gd name="connsiteX8" fmla="*/ 1112522 w 1364695"/>
                  <a:gd name="connsiteY8" fmla="*/ 1003482 h 1005840"/>
                  <a:gd name="connsiteX9" fmla="*/ 1112522 w 1364695"/>
                  <a:gd name="connsiteY9" fmla="*/ 1005840 h 1005840"/>
                  <a:gd name="connsiteX10" fmla="*/ 1111334 w 1364695"/>
                  <a:gd name="connsiteY10" fmla="*/ 1005840 h 1005840"/>
                  <a:gd name="connsiteX11" fmla="*/ 1038519 w 1364695"/>
                  <a:gd name="connsiteY11" fmla="*/ 1005840 h 1005840"/>
                  <a:gd name="connsiteX12" fmla="*/ 657862 w 1364695"/>
                  <a:gd name="connsiteY12" fmla="*/ 1005840 h 1005840"/>
                  <a:gd name="connsiteX13" fmla="*/ 132160 w 1364695"/>
                  <a:gd name="connsiteY13" fmla="*/ 1005840 h 1005840"/>
                  <a:gd name="connsiteX14" fmla="*/ 101942 w 1364695"/>
                  <a:gd name="connsiteY14" fmla="*/ 1005840 h 1005840"/>
                  <a:gd name="connsiteX15" fmla="*/ 0 w 1364695"/>
                  <a:gd name="connsiteY15" fmla="*/ 903898 h 1005840"/>
                  <a:gd name="connsiteX16" fmla="*/ 0 w 1364695"/>
                  <a:gd name="connsiteY16" fmla="*/ 101942 h 1005840"/>
                  <a:gd name="connsiteX17" fmla="*/ 101942 w 1364695"/>
                  <a:gd name="connsiteY17"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4695" h="1005840">
                    <a:moveTo>
                      <a:pt x="101942" y="0"/>
                    </a:moveTo>
                    <a:lnTo>
                      <a:pt x="132160" y="0"/>
                    </a:lnTo>
                    <a:lnTo>
                      <a:pt x="657862" y="0"/>
                    </a:lnTo>
                    <a:lnTo>
                      <a:pt x="1038519" y="0"/>
                    </a:lnTo>
                    <a:lnTo>
                      <a:pt x="1111334" y="0"/>
                    </a:lnTo>
                    <a:lnTo>
                      <a:pt x="1112522" y="0"/>
                    </a:lnTo>
                    <a:lnTo>
                      <a:pt x="1112522" y="2358"/>
                    </a:lnTo>
                    <a:lnTo>
                      <a:pt x="1364695" y="502920"/>
                    </a:lnTo>
                    <a:lnTo>
                      <a:pt x="1112522" y="1003482"/>
                    </a:lnTo>
                    <a:lnTo>
                      <a:pt x="1112522" y="1005840"/>
                    </a:lnTo>
                    <a:lnTo>
                      <a:pt x="1111334" y="1005840"/>
                    </a:lnTo>
                    <a:lnTo>
                      <a:pt x="1038519" y="1005840"/>
                    </a:lnTo>
                    <a:lnTo>
                      <a:pt x="657862" y="1005840"/>
                    </a:lnTo>
                    <a:lnTo>
                      <a:pt x="132160" y="1005840"/>
                    </a:lnTo>
                    <a:lnTo>
                      <a:pt x="101942" y="1005840"/>
                    </a:lnTo>
                    <a:cubicBezTo>
                      <a:pt x="45641" y="1005840"/>
                      <a:pt x="0" y="960199"/>
                      <a:pt x="0" y="903898"/>
                    </a:cubicBezTo>
                    <a:lnTo>
                      <a:pt x="0" y="101942"/>
                    </a:lnTo>
                    <a:cubicBezTo>
                      <a:pt x="0" y="45641"/>
                      <a:pt x="45641" y="0"/>
                      <a:pt x="101942" y="0"/>
                    </a:cubicBezTo>
                    <a:close/>
                  </a:path>
                </a:pathLst>
              </a:custGeom>
              <a:solidFill>
                <a:srgbClr val="33B0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25" name="Graphic 24" descr="Move with solid fill">
                <a:extLst>
                  <a:ext uri="{FF2B5EF4-FFF2-40B4-BE49-F238E27FC236}">
                    <a16:creationId xmlns:a16="http://schemas.microsoft.com/office/drawing/2014/main" id="{B87EA04D-9154-7DC7-B370-CBB5BB6CCBA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2525050" y="4191247"/>
                <a:ext cx="640080" cy="640080"/>
              </a:xfrm>
              <a:prstGeom prst="rect">
                <a:avLst/>
              </a:prstGeom>
            </p:spPr>
          </p:pic>
        </p:grpSp>
      </p:grpSp>
      <p:grpSp>
        <p:nvGrpSpPr>
          <p:cNvPr id="26" name="Group 25">
            <a:extLst>
              <a:ext uri="{FF2B5EF4-FFF2-40B4-BE49-F238E27FC236}">
                <a16:creationId xmlns:a16="http://schemas.microsoft.com/office/drawing/2014/main" id="{7A99A5D9-0FC7-2839-9B0C-3DFD94A86767}"/>
              </a:ext>
            </a:extLst>
          </p:cNvPr>
          <p:cNvGrpSpPr/>
          <p:nvPr/>
        </p:nvGrpSpPr>
        <p:grpSpPr>
          <a:xfrm rot="18899205">
            <a:off x="4326807" y="2195117"/>
            <a:ext cx="1005840" cy="1005841"/>
            <a:chOff x="1593829" y="1051693"/>
            <a:chExt cx="1005840" cy="1005839"/>
          </a:xfrm>
        </p:grpSpPr>
        <p:grpSp>
          <p:nvGrpSpPr>
            <p:cNvPr id="30" name="Group 29">
              <a:extLst>
                <a:ext uri="{FF2B5EF4-FFF2-40B4-BE49-F238E27FC236}">
                  <a16:creationId xmlns:a16="http://schemas.microsoft.com/office/drawing/2014/main" id="{973C7345-C327-D1C1-876D-1A133AB987EC}"/>
                </a:ext>
              </a:extLst>
            </p:cNvPr>
            <p:cNvGrpSpPr/>
            <p:nvPr/>
          </p:nvGrpSpPr>
          <p:grpSpPr>
            <a:xfrm>
              <a:off x="1593829" y="1051693"/>
              <a:ext cx="1005840" cy="1005839"/>
              <a:chOff x="1593829" y="1051693"/>
              <a:chExt cx="1005840" cy="1005839"/>
            </a:xfrm>
          </p:grpSpPr>
          <p:pic>
            <p:nvPicPr>
              <p:cNvPr id="42" name="Graphic 41" descr="Merger with solid fill">
                <a:extLst>
                  <a:ext uri="{FF2B5EF4-FFF2-40B4-BE49-F238E27FC236}">
                    <a16:creationId xmlns:a16="http://schemas.microsoft.com/office/drawing/2014/main" id="{8705976B-7097-F905-D867-F5C5F84906A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6200000">
                <a:off x="1850170" y="1052623"/>
                <a:ext cx="493157" cy="491298"/>
              </a:xfrm>
              <a:prstGeom prst="rect">
                <a:avLst/>
              </a:prstGeom>
            </p:spPr>
          </p:pic>
          <p:pic>
            <p:nvPicPr>
              <p:cNvPr id="44" name="Graphic 43" descr="Merger with solid fill">
                <a:extLst>
                  <a:ext uri="{FF2B5EF4-FFF2-40B4-BE49-F238E27FC236}">
                    <a16:creationId xmlns:a16="http://schemas.microsoft.com/office/drawing/2014/main" id="{43E1A6AE-FECA-FD1B-45E3-BD3A5D6D8F1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1850170" y="1565305"/>
                <a:ext cx="493157" cy="491298"/>
              </a:xfrm>
              <a:prstGeom prst="rect">
                <a:avLst/>
              </a:prstGeom>
            </p:spPr>
          </p:pic>
          <p:pic>
            <p:nvPicPr>
              <p:cNvPr id="46" name="Graphic 45" descr="Merger with solid fill">
                <a:extLst>
                  <a:ext uri="{FF2B5EF4-FFF2-40B4-BE49-F238E27FC236}">
                    <a16:creationId xmlns:a16="http://schemas.microsoft.com/office/drawing/2014/main" id="{56DA0F4A-FF5B-DDAB-3955-006857B2DB2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0800000">
                <a:off x="1593829" y="1308034"/>
                <a:ext cx="491298" cy="493157"/>
              </a:xfrm>
              <a:prstGeom prst="rect">
                <a:avLst/>
              </a:prstGeom>
            </p:spPr>
          </p:pic>
          <p:pic>
            <p:nvPicPr>
              <p:cNvPr id="48" name="Graphic 47" descr="Merger with solid fill">
                <a:extLst>
                  <a:ext uri="{FF2B5EF4-FFF2-40B4-BE49-F238E27FC236}">
                    <a16:creationId xmlns:a16="http://schemas.microsoft.com/office/drawing/2014/main" id="{261C5EA8-6AC6-C96C-8693-EDB0105D83B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08371" y="1308034"/>
                <a:ext cx="491298" cy="493157"/>
              </a:xfrm>
              <a:prstGeom prst="rect">
                <a:avLst/>
              </a:prstGeom>
            </p:spPr>
          </p:pic>
        </p:grpSp>
        <p:sp>
          <p:nvSpPr>
            <p:cNvPr id="39" name="Oval 38">
              <a:extLst>
                <a:ext uri="{FF2B5EF4-FFF2-40B4-BE49-F238E27FC236}">
                  <a16:creationId xmlns:a16="http://schemas.microsoft.com/office/drawing/2014/main" id="{B96C085F-7EB5-537C-4D8B-BDCC8052FE50}"/>
                </a:ext>
              </a:extLst>
            </p:cNvPr>
            <p:cNvSpPr/>
            <p:nvPr/>
          </p:nvSpPr>
          <p:spPr>
            <a:xfrm rot="19054132">
              <a:off x="2046672" y="1504127"/>
              <a:ext cx="91440" cy="91440"/>
            </a:xfrm>
            <a:prstGeom prst="ellipse">
              <a:avLst/>
            </a:prstGeom>
            <a:solidFill>
              <a:schemeClr val="bg1"/>
            </a:solidFill>
            <a:ln w="5061" cap="flat">
              <a:solidFill>
                <a:schemeClr val="accent1"/>
              </a:solid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sp>
        <p:nvSpPr>
          <p:cNvPr id="31" name="Slide Number Placeholder 4">
            <a:extLst>
              <a:ext uri="{FF2B5EF4-FFF2-40B4-BE49-F238E27FC236}">
                <a16:creationId xmlns:a16="http://schemas.microsoft.com/office/drawing/2014/main" id="{671319A4-6A2A-C470-8100-AF5EDAC942CC}"/>
              </a:ext>
            </a:extLst>
          </p:cNvPr>
          <p:cNvSpPr txBox="1">
            <a:spLocks/>
          </p:cNvSpPr>
          <p:nvPr/>
        </p:nvSpPr>
        <p:spPr>
          <a:xfrm>
            <a:off x="11451612" y="66469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888B8D"/>
              </a:solidFill>
              <a:effectLst/>
              <a:uLnTx/>
              <a:uFillTx/>
              <a:latin typeface="Arial"/>
              <a:ea typeface="+mn-ea"/>
              <a:cs typeface="+mn-cs"/>
            </a:endParaRPr>
          </a:p>
        </p:txBody>
      </p:sp>
    </p:spTree>
    <p:custDataLst>
      <p:custData r:id="rId1"/>
    </p:custDataLst>
    <p:extLst>
      <p:ext uri="{BB962C8B-B14F-4D97-AF65-F5344CB8AC3E}">
        <p14:creationId xmlns:p14="http://schemas.microsoft.com/office/powerpoint/2010/main" val="1755153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898" y="238294"/>
            <a:ext cx="10007498" cy="430887"/>
          </a:xfrm>
        </p:spPr>
        <p:txBody>
          <a:bodyPr/>
          <a:lstStyle/>
          <a:p>
            <a:r>
              <a:rPr lang="en-US"/>
              <a:t>Key Benefits &amp; Outcomes</a:t>
            </a:r>
          </a:p>
        </p:txBody>
      </p:sp>
      <p:sp>
        <p:nvSpPr>
          <p:cNvPr id="33" name="Oval 32"/>
          <p:cNvSpPr/>
          <p:nvPr/>
        </p:nvSpPr>
        <p:spPr>
          <a:xfrm>
            <a:off x="6055773" y="3261314"/>
            <a:ext cx="719666" cy="7196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73924" y="3296245"/>
            <a:ext cx="719666" cy="719666"/>
          </a:xfrm>
          <a:prstGeom prst="ellipse">
            <a:avLst/>
          </a:prstGeom>
          <a:solidFill>
            <a:schemeClr val="accent1"/>
          </a:solidFill>
          <a:ln>
            <a:solidFill>
              <a:srgbClr val="54B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373924" y="5371847"/>
            <a:ext cx="719666" cy="7196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6958373" y="3138998"/>
            <a:ext cx="4982615" cy="1997983"/>
          </a:xfrm>
          <a:prstGeom prst="rect">
            <a:avLst/>
          </a:prstGeom>
          <a:noFill/>
        </p:spPr>
        <p:txBody>
          <a:bodyPr wrap="square" rtlCol="0">
            <a:spAutoFit/>
          </a:bodyPr>
          <a:lstStyle/>
          <a:p>
            <a:r>
              <a:rPr lang="en-US" sz="1600" b="1">
                <a:solidFill>
                  <a:schemeClr val="accent1"/>
                </a:solidFill>
              </a:rPr>
              <a:t>Innovation and Modernization</a:t>
            </a:r>
          </a:p>
          <a:p>
            <a:pPr marL="171450" indent="-171450">
              <a:spcAft>
                <a:spcPts val="400"/>
              </a:spcAft>
              <a:buFont typeface="Arial" panose="020B0604020202020204" pitchFamily="34" charset="0"/>
              <a:buChar char="•"/>
            </a:pPr>
            <a:r>
              <a:rPr lang="en-US" sz="1050"/>
              <a:t>Presidents, provosts, and boards are pushing for modernization  to improve institutional competitiveness.</a:t>
            </a:r>
          </a:p>
          <a:p>
            <a:pPr marL="171450" indent="-171450">
              <a:spcAft>
                <a:spcPts val="400"/>
              </a:spcAft>
              <a:buFont typeface="Arial" panose="020B0604020202020204" pitchFamily="34" charset="0"/>
              <a:buChar char="•"/>
            </a:pPr>
            <a:r>
              <a:rPr lang="en-US" sz="1050"/>
              <a:t>The need for AI, data analytics, and machine learning support advanced research and institutional planning</a:t>
            </a:r>
          </a:p>
          <a:p>
            <a:pPr marL="171450" indent="-171450">
              <a:spcAft>
                <a:spcPts val="400"/>
              </a:spcAft>
              <a:buFont typeface="Arial" panose="020B0604020202020204" pitchFamily="34" charset="0"/>
              <a:buChar char="•"/>
            </a:pPr>
            <a:r>
              <a:rPr lang="en-US" sz="1050"/>
              <a:t>Cloud-based HPC environments without on-campus infrastructure</a:t>
            </a:r>
          </a:p>
          <a:p>
            <a:pPr marL="171450" indent="-171450">
              <a:spcAft>
                <a:spcPts val="400"/>
              </a:spcAft>
              <a:buFont typeface="Arial" panose="020B0604020202020204" pitchFamily="34" charset="0"/>
              <a:buChar char="•"/>
            </a:pPr>
            <a:r>
              <a:rPr lang="en-US" sz="1050"/>
              <a:t>Future-ready infrastructure: Stay ahead of technology shifts without major reinvestment cycles.</a:t>
            </a:r>
          </a:p>
          <a:p>
            <a:pPr marL="171450" indent="-171450">
              <a:spcAft>
                <a:spcPts val="400"/>
              </a:spcAft>
              <a:buFont typeface="Arial" panose="020B0604020202020204" pitchFamily="34" charset="0"/>
              <a:buChar char="•"/>
            </a:pPr>
            <a:r>
              <a:rPr lang="en-US" sz="1050"/>
              <a:t>Modern app development: Build or modernize apps with low-code tools, APIs, and serverless services.</a:t>
            </a:r>
          </a:p>
        </p:txBody>
      </p:sp>
      <p:sp>
        <p:nvSpPr>
          <p:cNvPr id="41" name="TextBox 40"/>
          <p:cNvSpPr txBox="1"/>
          <p:nvPr/>
        </p:nvSpPr>
        <p:spPr>
          <a:xfrm>
            <a:off x="1157256" y="5180250"/>
            <a:ext cx="4756786" cy="1015663"/>
          </a:xfrm>
          <a:prstGeom prst="rect">
            <a:avLst/>
          </a:prstGeom>
          <a:noFill/>
        </p:spPr>
        <p:txBody>
          <a:bodyPr wrap="square" rtlCol="0">
            <a:spAutoFit/>
          </a:bodyPr>
          <a:lstStyle/>
          <a:p>
            <a:r>
              <a:rPr lang="en-US" sz="1600" b="1">
                <a:solidFill>
                  <a:schemeClr val="accent1"/>
                </a:solidFill>
              </a:rPr>
              <a:t>Agility, Scalability, and Resilience</a:t>
            </a:r>
          </a:p>
          <a:p>
            <a:pPr marL="171450" indent="-171450">
              <a:buFont typeface="Arial" panose="020B0604020202020204" pitchFamily="34" charset="0"/>
              <a:buChar char="•"/>
            </a:pPr>
            <a:r>
              <a:rPr lang="en-US" sz="1050"/>
              <a:t>Enrollment surges, research spikes, and hybrid instruction all create unpredictable demand</a:t>
            </a:r>
          </a:p>
          <a:p>
            <a:pPr marL="171450" indent="-171450">
              <a:buFont typeface="Arial" panose="020B0604020202020204" pitchFamily="34" charset="0"/>
              <a:buChar char="•"/>
            </a:pPr>
            <a:r>
              <a:rPr lang="en-US" sz="1050"/>
              <a:t>Scale resources on demand, avoiding overprovisioned or underutilized hardware</a:t>
            </a:r>
          </a:p>
        </p:txBody>
      </p:sp>
      <p:sp>
        <p:nvSpPr>
          <p:cNvPr id="43" name="TextBox 42"/>
          <p:cNvSpPr txBox="1"/>
          <p:nvPr/>
        </p:nvSpPr>
        <p:spPr>
          <a:xfrm>
            <a:off x="1179103" y="1261164"/>
            <a:ext cx="4876669" cy="1623521"/>
          </a:xfrm>
          <a:prstGeom prst="rect">
            <a:avLst/>
          </a:prstGeom>
          <a:noFill/>
        </p:spPr>
        <p:txBody>
          <a:bodyPr wrap="square" rtlCol="0">
            <a:spAutoFit/>
          </a:bodyPr>
          <a:lstStyle/>
          <a:p>
            <a:r>
              <a:rPr lang="en-US" sz="1600" b="1">
                <a:solidFill>
                  <a:schemeClr val="accent1"/>
                </a:solidFill>
              </a:rPr>
              <a:t>The AI Journey: AI &amp; Data Modernization</a:t>
            </a:r>
          </a:p>
          <a:p>
            <a:pPr marL="171450" indent="-171450">
              <a:spcAft>
                <a:spcPts val="400"/>
              </a:spcAft>
              <a:buFont typeface="Arial" panose="020B0604020202020204" pitchFamily="34" charset="0"/>
              <a:buChar char="•"/>
            </a:pPr>
            <a:r>
              <a:rPr lang="en-US" sz="1050"/>
              <a:t>Establish a secure, compliant foundation for responsible AI adoption.</a:t>
            </a:r>
          </a:p>
          <a:p>
            <a:pPr marL="171450" indent="-171450">
              <a:spcAft>
                <a:spcPts val="400"/>
              </a:spcAft>
              <a:buFont typeface="Arial" panose="020B0604020202020204" pitchFamily="34" charset="0"/>
              <a:buChar char="•"/>
            </a:pPr>
            <a:r>
              <a:rPr lang="en-US" sz="1050"/>
              <a:t>Unify Data: Modernize data estates to enable AI-driven insights, research, and automation.</a:t>
            </a:r>
          </a:p>
          <a:p>
            <a:pPr marL="171450" indent="-171450">
              <a:spcAft>
                <a:spcPts val="400"/>
              </a:spcAft>
              <a:buFont typeface="Arial" panose="020B0604020202020204" pitchFamily="34" charset="0"/>
              <a:buChar char="•"/>
            </a:pPr>
            <a:r>
              <a:rPr lang="en-US" sz="1050"/>
              <a:t>Build AI-powered intelligent apps and enhance your institutional solutions with generative AI.</a:t>
            </a:r>
          </a:p>
          <a:p>
            <a:pPr marL="171450" indent="-171450">
              <a:spcAft>
                <a:spcPts val="400"/>
              </a:spcAft>
              <a:buFont typeface="Arial" panose="020B0604020202020204" pitchFamily="34" charset="0"/>
              <a:buChar char="•"/>
            </a:pPr>
            <a:r>
              <a:rPr lang="en-US" sz="1050"/>
              <a:t>Scalability and integration unlock machine learning, analytics, and cognitive services.</a:t>
            </a:r>
          </a:p>
        </p:txBody>
      </p:sp>
      <p:sp>
        <p:nvSpPr>
          <p:cNvPr id="15" name="TextBox 14"/>
          <p:cNvSpPr txBox="1"/>
          <p:nvPr/>
        </p:nvSpPr>
        <p:spPr>
          <a:xfrm>
            <a:off x="1145375" y="3138998"/>
            <a:ext cx="4790131" cy="1485022"/>
          </a:xfrm>
          <a:prstGeom prst="rect">
            <a:avLst/>
          </a:prstGeom>
          <a:noFill/>
        </p:spPr>
        <p:txBody>
          <a:bodyPr wrap="square" rtlCol="0">
            <a:spAutoFit/>
          </a:bodyPr>
          <a:lstStyle/>
          <a:p>
            <a:r>
              <a:rPr lang="en-US" sz="1600" b="1">
                <a:solidFill>
                  <a:schemeClr val="accent1"/>
                </a:solidFill>
              </a:rPr>
              <a:t>Security, Privacy, and Compliance </a:t>
            </a:r>
          </a:p>
          <a:p>
            <a:pPr marL="171450" indent="-171450">
              <a:spcAft>
                <a:spcPts val="400"/>
              </a:spcAft>
              <a:buFont typeface="Arial" panose="020B0604020202020204" pitchFamily="34" charset="0"/>
              <a:buChar char="•"/>
            </a:pPr>
            <a:r>
              <a:rPr lang="en-US" sz="1050"/>
              <a:t>Provide enterprise-grade protection, built-in Zero Trust architectures, and compliance.</a:t>
            </a:r>
          </a:p>
          <a:p>
            <a:pPr marL="171450" indent="-171450">
              <a:spcAft>
                <a:spcPts val="400"/>
              </a:spcAft>
              <a:buFont typeface="Arial" panose="020B0604020202020204" pitchFamily="34" charset="0"/>
              <a:buChar char="•"/>
            </a:pPr>
            <a:r>
              <a:rPr lang="en-US" sz="1050"/>
              <a:t>Strong identity governance (AD / Entra ID) protects against unauthorized access and data breaches.</a:t>
            </a:r>
          </a:p>
          <a:p>
            <a:pPr marL="171450" indent="-171450">
              <a:spcAft>
                <a:spcPts val="400"/>
              </a:spcAft>
              <a:buFont typeface="Arial" panose="020B0604020202020204" pitchFamily="34" charset="0"/>
              <a:buChar char="•"/>
            </a:pPr>
            <a:r>
              <a:rPr lang="en-US" sz="1050"/>
              <a:t>Ease of access security tools </a:t>
            </a:r>
          </a:p>
          <a:p>
            <a:endParaRPr lang="en-US" sz="1200"/>
          </a:p>
        </p:txBody>
      </p:sp>
      <p:sp>
        <p:nvSpPr>
          <p:cNvPr id="16" name="Oval 15"/>
          <p:cNvSpPr/>
          <p:nvPr/>
        </p:nvSpPr>
        <p:spPr>
          <a:xfrm>
            <a:off x="373924" y="1508024"/>
            <a:ext cx="719666" cy="7196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biLevel thresh="25000"/>
          </a:blip>
          <a:stretch>
            <a:fillRect/>
          </a:stretch>
        </p:blipFill>
        <p:spPr>
          <a:xfrm>
            <a:off x="6089118" y="3311613"/>
            <a:ext cx="652975" cy="652975"/>
          </a:xfrm>
          <a:prstGeom prst="rect">
            <a:avLst/>
          </a:prstGeom>
          <a:ln>
            <a:noFill/>
          </a:ln>
        </p:spPr>
      </p:pic>
      <p:grpSp>
        <p:nvGrpSpPr>
          <p:cNvPr id="13" name="Group 12">
            <a:extLst>
              <a:ext uri="{FF2B5EF4-FFF2-40B4-BE49-F238E27FC236}">
                <a16:creationId xmlns:a16="http://schemas.microsoft.com/office/drawing/2014/main" id="{8D7238CF-880F-8753-5C5D-49F6CF279E7E}"/>
              </a:ext>
            </a:extLst>
          </p:cNvPr>
          <p:cNvGrpSpPr/>
          <p:nvPr/>
        </p:nvGrpSpPr>
        <p:grpSpPr>
          <a:xfrm>
            <a:off x="6073750" y="5168710"/>
            <a:ext cx="6118250" cy="1087477"/>
            <a:chOff x="6184197" y="1358323"/>
            <a:chExt cx="6118250" cy="1087477"/>
          </a:xfrm>
        </p:grpSpPr>
        <p:sp>
          <p:nvSpPr>
            <p:cNvPr id="44" name="TextBox 43"/>
            <p:cNvSpPr txBox="1"/>
            <p:nvPr/>
          </p:nvSpPr>
          <p:spPr>
            <a:xfrm>
              <a:off x="7027945" y="1358323"/>
              <a:ext cx="5274502" cy="1087477"/>
            </a:xfrm>
            <a:prstGeom prst="rect">
              <a:avLst/>
            </a:prstGeom>
            <a:noFill/>
          </p:spPr>
          <p:txBody>
            <a:bodyPr wrap="square" rtlCol="0">
              <a:spAutoFit/>
            </a:bodyPr>
            <a:lstStyle/>
            <a:p>
              <a:r>
                <a:rPr lang="en-US" sz="1600" b="1">
                  <a:solidFill>
                    <a:schemeClr val="accent1"/>
                  </a:solidFill>
                </a:rPr>
                <a:t>Budget Constraints and Cost Volatility</a:t>
              </a:r>
            </a:p>
            <a:p>
              <a:pPr marL="171450" indent="-171450">
                <a:spcAft>
                  <a:spcPts val="400"/>
                </a:spcAft>
                <a:buFont typeface="Arial" panose="020B0604020202020204" pitchFamily="34" charset="0"/>
                <a:buChar char="•"/>
              </a:pPr>
              <a:r>
                <a:rPr lang="en-US" sz="1050"/>
                <a:t>Replace capital expenditures with predictable operational costs.</a:t>
              </a:r>
            </a:p>
            <a:p>
              <a:pPr marL="171450" indent="-171450">
                <a:spcAft>
                  <a:spcPts val="400"/>
                </a:spcAft>
                <a:buFont typeface="Arial" panose="020B0604020202020204" pitchFamily="34" charset="0"/>
                <a:buChar char="•"/>
              </a:pPr>
              <a:r>
                <a:rPr lang="en-US" sz="1050"/>
                <a:t>Embrace Microsoft’s Education pricing and incentives programs </a:t>
              </a:r>
            </a:p>
            <a:p>
              <a:pPr marL="171450" indent="-171450">
                <a:spcAft>
                  <a:spcPts val="400"/>
                </a:spcAft>
                <a:buFont typeface="Arial" panose="020B0604020202020204" pitchFamily="34" charset="0"/>
                <a:buChar char="•"/>
              </a:pPr>
              <a:r>
                <a:rPr lang="en-US" sz="1050"/>
                <a:t>Licensing &amp; cost uncertainty: VMware’s Broadcom acquisition and pricing increases, licensing complexity, and support uncertainty.</a:t>
              </a:r>
            </a:p>
          </p:txBody>
        </p:sp>
        <p:sp>
          <p:nvSpPr>
            <p:cNvPr id="17" name="Oval 16"/>
            <p:cNvSpPr/>
            <p:nvPr/>
          </p:nvSpPr>
          <p:spPr>
            <a:xfrm>
              <a:off x="6184197" y="1589397"/>
              <a:ext cx="719666" cy="719666"/>
            </a:xfrm>
            <a:prstGeom prst="ellipse">
              <a:avLst/>
            </a:prstGeom>
            <a:solidFill>
              <a:schemeClr val="accent1"/>
            </a:solidFill>
            <a:ln>
              <a:solidFill>
                <a:srgbClr val="54B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54" descr="Puzzle">
              <a:extLst>
                <a:ext uri="{FF2B5EF4-FFF2-40B4-BE49-F238E27FC236}">
                  <a16:creationId xmlns:a16="http://schemas.microsoft.com/office/drawing/2014/main" id="{6192EAF5-77A1-43B8-9CA1-449BD56CC74C}"/>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252090" y="1657290"/>
              <a:ext cx="583879" cy="583879"/>
            </a:xfrm>
            <a:prstGeom prst="rect">
              <a:avLst/>
            </a:prstGeom>
          </p:spPr>
        </p:pic>
      </p:grpSp>
      <p:grpSp>
        <p:nvGrpSpPr>
          <p:cNvPr id="12" name="Group 11">
            <a:extLst>
              <a:ext uri="{FF2B5EF4-FFF2-40B4-BE49-F238E27FC236}">
                <a16:creationId xmlns:a16="http://schemas.microsoft.com/office/drawing/2014/main" id="{1F0B2AE6-8A1C-F8CB-6B6F-63D1ED99ECAA}"/>
              </a:ext>
            </a:extLst>
          </p:cNvPr>
          <p:cNvGrpSpPr/>
          <p:nvPr/>
        </p:nvGrpSpPr>
        <p:grpSpPr>
          <a:xfrm>
            <a:off x="6078132" y="1248878"/>
            <a:ext cx="5588936" cy="1846659"/>
            <a:chOff x="6221924" y="5155580"/>
            <a:chExt cx="5588936" cy="1846659"/>
          </a:xfrm>
        </p:grpSpPr>
        <p:sp>
          <p:nvSpPr>
            <p:cNvPr id="45" name="TextBox 44"/>
            <p:cNvSpPr txBox="1"/>
            <p:nvPr/>
          </p:nvSpPr>
          <p:spPr>
            <a:xfrm>
              <a:off x="7102166" y="5155580"/>
              <a:ext cx="4708694" cy="1846659"/>
            </a:xfrm>
            <a:prstGeom prst="rect">
              <a:avLst/>
            </a:prstGeom>
            <a:noFill/>
          </p:spPr>
          <p:txBody>
            <a:bodyPr wrap="square" rtlCol="0">
              <a:spAutoFit/>
            </a:bodyPr>
            <a:lstStyle/>
            <a:p>
              <a:r>
                <a:rPr lang="en-US" sz="1600" b="1">
                  <a:solidFill>
                    <a:schemeClr val="accent1"/>
                  </a:solidFill>
                </a:rPr>
                <a:t>Disaster Recovery and Business Continuity</a:t>
              </a:r>
            </a:p>
            <a:p>
              <a:pPr marL="171450" indent="-171450">
                <a:spcAft>
                  <a:spcPts val="400"/>
                </a:spcAft>
                <a:buFont typeface="Arial" panose="020B0604020202020204" pitchFamily="34" charset="0"/>
                <a:buChar char="•"/>
              </a:pPr>
              <a:r>
                <a:rPr lang="en-US" sz="1050"/>
                <a:t>Maintain uninterrupted learning, research, and operations even in the face of unplanned disruptions.</a:t>
              </a:r>
            </a:p>
            <a:p>
              <a:pPr marL="171450" indent="-171450">
                <a:spcAft>
                  <a:spcPts val="400"/>
                </a:spcAft>
                <a:buFont typeface="Arial" panose="020B0604020202020204" pitchFamily="34" charset="0"/>
                <a:buChar char="•"/>
              </a:pPr>
              <a:r>
                <a:rPr lang="en-US" sz="1050"/>
                <a:t>Enables geo-redundant backups, failover replication, and automated recovery for mission-critical workloads.</a:t>
              </a:r>
            </a:p>
            <a:p>
              <a:pPr marL="171450" indent="-171450">
                <a:spcAft>
                  <a:spcPts val="400"/>
                </a:spcAft>
                <a:buFont typeface="Arial" panose="020B0604020202020204" pitchFamily="34" charset="0"/>
                <a:buChar char="•"/>
              </a:pPr>
              <a:r>
                <a:rPr lang="en-US" sz="1050"/>
                <a:t>Safeguard data and ensure minimal disruption during outages or cyber incidents.</a:t>
              </a:r>
            </a:p>
            <a:p>
              <a:pPr marL="171450" indent="-171450">
                <a:spcAft>
                  <a:spcPts val="400"/>
                </a:spcAft>
                <a:buFont typeface="Arial" panose="020B0604020202020204" pitchFamily="34" charset="0"/>
                <a:buChar char="•"/>
              </a:pPr>
              <a:r>
                <a:rPr lang="en-US" sz="1050"/>
                <a:t>Cloud-based DR plans allow IT teams to test and recover systems without impacting production environments.</a:t>
              </a:r>
            </a:p>
          </p:txBody>
        </p:sp>
        <p:sp>
          <p:nvSpPr>
            <p:cNvPr id="18" name="Oval 17"/>
            <p:cNvSpPr/>
            <p:nvPr/>
          </p:nvSpPr>
          <p:spPr>
            <a:xfrm>
              <a:off x="6221924" y="5388142"/>
              <a:ext cx="719666" cy="719666"/>
            </a:xfrm>
            <a:prstGeom prst="ellipse">
              <a:avLst/>
            </a:prstGeom>
            <a:solidFill>
              <a:schemeClr val="accent1"/>
            </a:solidFill>
            <a:ln>
              <a:solidFill>
                <a:srgbClr val="54B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Graphic 13" descr="Bar graph with upward trend with solid fill">
            <a:extLst>
              <a:ext uri="{FF2B5EF4-FFF2-40B4-BE49-F238E27FC236}">
                <a16:creationId xmlns:a16="http://schemas.microsoft.com/office/drawing/2014/main" id="{EF961546-693F-E3AF-C517-D6FEADFDECA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34359" y="5444821"/>
            <a:ext cx="573718" cy="573718"/>
          </a:xfrm>
          <a:prstGeom prst="rect">
            <a:avLst/>
          </a:prstGeom>
        </p:spPr>
      </p:pic>
      <p:pic>
        <p:nvPicPr>
          <p:cNvPr id="19" name="Graphic 18">
            <a:extLst>
              <a:ext uri="{FF2B5EF4-FFF2-40B4-BE49-F238E27FC236}">
                <a16:creationId xmlns:a16="http://schemas.microsoft.com/office/drawing/2014/main" id="{7F79A5FA-5F70-9861-E773-CE452CD6E2F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157718" y="1498181"/>
            <a:ext cx="640080" cy="640080"/>
          </a:xfrm>
          <a:prstGeom prst="rect">
            <a:avLst/>
          </a:prstGeom>
        </p:spPr>
      </p:pic>
      <p:pic>
        <p:nvPicPr>
          <p:cNvPr id="21" name="Graphic 20" descr="Shield Tick with solid fill">
            <a:extLst>
              <a:ext uri="{FF2B5EF4-FFF2-40B4-BE49-F238E27FC236}">
                <a16:creationId xmlns:a16="http://schemas.microsoft.com/office/drawing/2014/main" id="{E2A38DF8-6AC1-8CA5-918B-F0957DA9D63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25709" y="3383005"/>
            <a:ext cx="640080" cy="640080"/>
          </a:xfrm>
          <a:prstGeom prst="rect">
            <a:avLst/>
          </a:prstGeom>
        </p:spPr>
      </p:pic>
      <p:pic>
        <p:nvPicPr>
          <p:cNvPr id="22" name="Graphic 54" descr="Puzzle">
            <a:extLst>
              <a:ext uri="{FF2B5EF4-FFF2-40B4-BE49-F238E27FC236}">
                <a16:creationId xmlns:a16="http://schemas.microsoft.com/office/drawing/2014/main" id="{63D1EFA4-054F-7B5A-207A-7B23746B4CC5}"/>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25709" y="1575917"/>
            <a:ext cx="583879" cy="583879"/>
          </a:xfrm>
          <a:prstGeom prst="rect">
            <a:avLst/>
          </a:prstGeom>
        </p:spPr>
      </p:pic>
    </p:spTree>
    <p:extLst>
      <p:ext uri="{BB962C8B-B14F-4D97-AF65-F5344CB8AC3E}">
        <p14:creationId xmlns:p14="http://schemas.microsoft.com/office/powerpoint/2010/main" val="2333665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CBC82D59-98EF-263F-6A1A-23B65E23225B}"/>
              </a:ext>
            </a:extLst>
          </p:cNvPr>
          <p:cNvSpPr>
            <a:spLocks noChangeAspect="1"/>
          </p:cNvSpPr>
          <p:nvPr>
            <p:custDataLst>
              <p:tags r:id="rId2"/>
            </p:custDataLst>
          </p:nvPr>
        </p:nvSpPr>
        <p:spPr>
          <a:xfrm>
            <a:off x="1024395" y="3531574"/>
            <a:ext cx="567771" cy="5677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ED34E4B2-55D5-E0F0-74FD-C2297C74A32A}"/>
              </a:ext>
            </a:extLst>
          </p:cNvPr>
          <p:cNvGrpSpPr/>
          <p:nvPr>
            <p:custDataLst>
              <p:tags r:id="rId3"/>
            </p:custDataLst>
          </p:nvPr>
        </p:nvGrpSpPr>
        <p:grpSpPr>
          <a:xfrm>
            <a:off x="205042" y="2057295"/>
            <a:ext cx="1465113" cy="2107691"/>
            <a:chOff x="2434202" y="1829227"/>
            <a:chExt cx="1465113" cy="2107691"/>
          </a:xfrm>
        </p:grpSpPr>
        <p:sp>
          <p:nvSpPr>
            <p:cNvPr id="25" name="Arc 24">
              <a:extLst>
                <a:ext uri="{FF2B5EF4-FFF2-40B4-BE49-F238E27FC236}">
                  <a16:creationId xmlns:a16="http://schemas.microsoft.com/office/drawing/2014/main" id="{28C5D8B3-621A-AD18-6B77-603F46CF663B}"/>
                </a:ext>
              </a:extLst>
            </p:cNvPr>
            <p:cNvSpPr/>
            <p:nvPr/>
          </p:nvSpPr>
          <p:spPr>
            <a:xfrm rot="16200000">
              <a:off x="3179315" y="3216918"/>
              <a:ext cx="720000" cy="720000"/>
            </a:xfrm>
            <a:prstGeom prst="arc">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391E1727-030C-FE43-2456-2A535479ED85}"/>
                </a:ext>
              </a:extLst>
            </p:cNvPr>
            <p:cNvCxnSpPr>
              <a:endCxn id="25" idx="0"/>
            </p:cNvCxnSpPr>
            <p:nvPr/>
          </p:nvCxnSpPr>
          <p:spPr>
            <a:xfrm>
              <a:off x="2471189" y="3576918"/>
              <a:ext cx="70812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541EA6D4-842D-12BB-5A19-05EC77959E6F}"/>
                </a:ext>
              </a:extLst>
            </p:cNvPr>
            <p:cNvSpPr>
              <a:spLocks noChangeAspect="1"/>
            </p:cNvSpPr>
            <p:nvPr/>
          </p:nvSpPr>
          <p:spPr>
            <a:xfrm>
              <a:off x="3128963" y="3521273"/>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8" name="Oval 27">
              <a:extLst>
                <a:ext uri="{FF2B5EF4-FFF2-40B4-BE49-F238E27FC236}">
                  <a16:creationId xmlns:a16="http://schemas.microsoft.com/office/drawing/2014/main" id="{9E83829A-934E-F0D4-EC2D-77AB101F64B2}"/>
                </a:ext>
              </a:extLst>
            </p:cNvPr>
            <p:cNvSpPr>
              <a:spLocks noChangeAspect="1"/>
            </p:cNvSpPr>
            <p:nvPr/>
          </p:nvSpPr>
          <p:spPr>
            <a:xfrm>
              <a:off x="3495243" y="3174719"/>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C17999D5-2D3B-8D1B-C2CF-BA75AFCF60EC}"/>
                </a:ext>
              </a:extLst>
            </p:cNvPr>
            <p:cNvSpPr>
              <a:spLocks noChangeAspect="1"/>
            </p:cNvSpPr>
            <p:nvPr/>
          </p:nvSpPr>
          <p:spPr>
            <a:xfrm>
              <a:off x="2434202" y="3521273"/>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30" name="Straight Connector 29">
              <a:extLst>
                <a:ext uri="{FF2B5EF4-FFF2-40B4-BE49-F238E27FC236}">
                  <a16:creationId xmlns:a16="http://schemas.microsoft.com/office/drawing/2014/main" id="{6F462079-0CA1-1E7A-3681-943A1FE27C80}"/>
                </a:ext>
              </a:extLst>
            </p:cNvPr>
            <p:cNvCxnSpPr/>
            <p:nvPr/>
          </p:nvCxnSpPr>
          <p:spPr>
            <a:xfrm>
              <a:off x="3537440" y="1909482"/>
              <a:ext cx="0" cy="130143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80E33D5C-25E7-5C51-A191-78FB3139BA97}"/>
                </a:ext>
              </a:extLst>
            </p:cNvPr>
            <p:cNvSpPr>
              <a:spLocks noChangeAspect="1"/>
            </p:cNvSpPr>
            <p:nvPr/>
          </p:nvSpPr>
          <p:spPr>
            <a:xfrm>
              <a:off x="3495242" y="1829227"/>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AA7D0F09-3A2A-FB19-2F7A-585497A54B5F}"/>
              </a:ext>
            </a:extLst>
          </p:cNvPr>
          <p:cNvGrpSpPr/>
          <p:nvPr>
            <p:custDataLst>
              <p:tags r:id="rId4"/>
            </p:custDataLst>
          </p:nvPr>
        </p:nvGrpSpPr>
        <p:grpSpPr>
          <a:xfrm rot="10800000" flipH="1">
            <a:off x="950154" y="3473402"/>
            <a:ext cx="2148126" cy="2107691"/>
            <a:chOff x="1751189" y="1829227"/>
            <a:chExt cx="2148126" cy="2107691"/>
          </a:xfrm>
        </p:grpSpPr>
        <p:sp>
          <p:nvSpPr>
            <p:cNvPr id="33" name="Arc 32">
              <a:extLst>
                <a:ext uri="{FF2B5EF4-FFF2-40B4-BE49-F238E27FC236}">
                  <a16:creationId xmlns:a16="http://schemas.microsoft.com/office/drawing/2014/main" id="{9C1D0661-9135-A5EA-0E3E-D362CB48CB50}"/>
                </a:ext>
              </a:extLst>
            </p:cNvPr>
            <p:cNvSpPr/>
            <p:nvPr/>
          </p:nvSpPr>
          <p:spPr>
            <a:xfrm>
              <a:off x="1751189"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34" name="Arc 33">
              <a:extLst>
                <a:ext uri="{FF2B5EF4-FFF2-40B4-BE49-F238E27FC236}">
                  <a16:creationId xmlns:a16="http://schemas.microsoft.com/office/drawing/2014/main" id="{9D9506C3-EF6B-3974-7D52-590702E8B00D}"/>
                </a:ext>
              </a:extLst>
            </p:cNvPr>
            <p:cNvSpPr/>
            <p:nvPr/>
          </p:nvSpPr>
          <p:spPr>
            <a:xfrm rot="16200000">
              <a:off x="3179315"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35" name="Straight Connector 34">
              <a:extLst>
                <a:ext uri="{FF2B5EF4-FFF2-40B4-BE49-F238E27FC236}">
                  <a16:creationId xmlns:a16="http://schemas.microsoft.com/office/drawing/2014/main" id="{23AE0C7A-CDD3-C0CE-0DD8-D1ABE5CD09C9}"/>
                </a:ext>
              </a:extLst>
            </p:cNvPr>
            <p:cNvCxnSpPr>
              <a:endCxn id="34" idx="0"/>
            </p:cNvCxnSpPr>
            <p:nvPr/>
          </p:nvCxnSpPr>
          <p:spPr>
            <a:xfrm>
              <a:off x="2471189" y="3576918"/>
              <a:ext cx="70812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F9B3B242-72C6-3386-5D26-C5B1192F70BF}"/>
                </a:ext>
              </a:extLst>
            </p:cNvPr>
            <p:cNvSpPr>
              <a:spLocks noChangeAspect="1"/>
            </p:cNvSpPr>
            <p:nvPr/>
          </p:nvSpPr>
          <p:spPr>
            <a:xfrm>
              <a:off x="3128963"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37" name="Oval 36">
              <a:extLst>
                <a:ext uri="{FF2B5EF4-FFF2-40B4-BE49-F238E27FC236}">
                  <a16:creationId xmlns:a16="http://schemas.microsoft.com/office/drawing/2014/main" id="{63FEAE12-CA16-21E1-6548-7226BD7C9661}"/>
                </a:ext>
              </a:extLst>
            </p:cNvPr>
            <p:cNvSpPr>
              <a:spLocks noChangeAspect="1"/>
            </p:cNvSpPr>
            <p:nvPr/>
          </p:nvSpPr>
          <p:spPr>
            <a:xfrm>
              <a:off x="3495243" y="3174719"/>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38" name="Oval 37">
              <a:extLst>
                <a:ext uri="{FF2B5EF4-FFF2-40B4-BE49-F238E27FC236}">
                  <a16:creationId xmlns:a16="http://schemas.microsoft.com/office/drawing/2014/main" id="{9BCC0959-192E-2B6C-2877-C41C8FE42216}"/>
                </a:ext>
              </a:extLst>
            </p:cNvPr>
            <p:cNvSpPr>
              <a:spLocks noChangeAspect="1"/>
            </p:cNvSpPr>
            <p:nvPr/>
          </p:nvSpPr>
          <p:spPr>
            <a:xfrm>
              <a:off x="2068991" y="3170580"/>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39" name="Oval 38">
              <a:extLst>
                <a:ext uri="{FF2B5EF4-FFF2-40B4-BE49-F238E27FC236}">
                  <a16:creationId xmlns:a16="http://schemas.microsoft.com/office/drawing/2014/main" id="{7C67F634-A804-BCA2-8836-AE857C023992}"/>
                </a:ext>
              </a:extLst>
            </p:cNvPr>
            <p:cNvSpPr>
              <a:spLocks noChangeAspect="1"/>
            </p:cNvSpPr>
            <p:nvPr/>
          </p:nvSpPr>
          <p:spPr>
            <a:xfrm>
              <a:off x="2434202"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6D65FD2E-44E7-D8A5-E753-69741505DD34}"/>
                </a:ext>
              </a:extLst>
            </p:cNvPr>
            <p:cNvCxnSpPr/>
            <p:nvPr/>
          </p:nvCxnSpPr>
          <p:spPr>
            <a:xfrm>
              <a:off x="3537440" y="1909482"/>
              <a:ext cx="0" cy="13014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7EB134E6-89A6-40D5-817C-67DD76649C81}"/>
                </a:ext>
              </a:extLst>
            </p:cNvPr>
            <p:cNvSpPr>
              <a:spLocks noChangeAspect="1"/>
            </p:cNvSpPr>
            <p:nvPr/>
          </p:nvSpPr>
          <p:spPr>
            <a:xfrm>
              <a:off x="3495242" y="1829227"/>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EC2334FB-0595-D6F0-760C-99783892DC35}"/>
              </a:ext>
            </a:extLst>
          </p:cNvPr>
          <p:cNvGrpSpPr/>
          <p:nvPr>
            <p:custDataLst>
              <p:tags r:id="rId5"/>
            </p:custDataLst>
          </p:nvPr>
        </p:nvGrpSpPr>
        <p:grpSpPr>
          <a:xfrm>
            <a:off x="2378215" y="2057295"/>
            <a:ext cx="2148126" cy="2107691"/>
            <a:chOff x="1751189" y="1829227"/>
            <a:chExt cx="2148126" cy="2107691"/>
          </a:xfrm>
        </p:grpSpPr>
        <p:sp>
          <p:nvSpPr>
            <p:cNvPr id="43" name="Arc 42">
              <a:extLst>
                <a:ext uri="{FF2B5EF4-FFF2-40B4-BE49-F238E27FC236}">
                  <a16:creationId xmlns:a16="http://schemas.microsoft.com/office/drawing/2014/main" id="{3D3E6A2A-C48D-FB1F-F24F-7657B9F5B8EA}"/>
                </a:ext>
              </a:extLst>
            </p:cNvPr>
            <p:cNvSpPr/>
            <p:nvPr/>
          </p:nvSpPr>
          <p:spPr>
            <a:xfrm>
              <a:off x="1751189"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44" name="Arc 43">
              <a:extLst>
                <a:ext uri="{FF2B5EF4-FFF2-40B4-BE49-F238E27FC236}">
                  <a16:creationId xmlns:a16="http://schemas.microsoft.com/office/drawing/2014/main" id="{2C4B359E-9624-31DA-C054-3630FA2949B8}"/>
                </a:ext>
              </a:extLst>
            </p:cNvPr>
            <p:cNvSpPr/>
            <p:nvPr/>
          </p:nvSpPr>
          <p:spPr>
            <a:xfrm rot="16200000">
              <a:off x="3179315"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45" name="Straight Connector 44">
              <a:extLst>
                <a:ext uri="{FF2B5EF4-FFF2-40B4-BE49-F238E27FC236}">
                  <a16:creationId xmlns:a16="http://schemas.microsoft.com/office/drawing/2014/main" id="{90C9E6AC-A51D-AC28-E20D-BE2BFA19F964}"/>
                </a:ext>
              </a:extLst>
            </p:cNvPr>
            <p:cNvCxnSpPr>
              <a:endCxn id="44" idx="0"/>
            </p:cNvCxnSpPr>
            <p:nvPr/>
          </p:nvCxnSpPr>
          <p:spPr>
            <a:xfrm>
              <a:off x="2471189" y="3576918"/>
              <a:ext cx="708126"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7B26CCAC-F4EF-3125-01AD-D1980E383437}"/>
                </a:ext>
              </a:extLst>
            </p:cNvPr>
            <p:cNvSpPr>
              <a:spLocks noChangeAspect="1"/>
            </p:cNvSpPr>
            <p:nvPr/>
          </p:nvSpPr>
          <p:spPr>
            <a:xfrm>
              <a:off x="3128963"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316F18BC-D742-0038-317C-041E5D635910}"/>
                </a:ext>
              </a:extLst>
            </p:cNvPr>
            <p:cNvSpPr>
              <a:spLocks noChangeAspect="1"/>
            </p:cNvSpPr>
            <p:nvPr/>
          </p:nvSpPr>
          <p:spPr>
            <a:xfrm>
              <a:off x="3495243" y="3174719"/>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48" name="Oval 47">
              <a:extLst>
                <a:ext uri="{FF2B5EF4-FFF2-40B4-BE49-F238E27FC236}">
                  <a16:creationId xmlns:a16="http://schemas.microsoft.com/office/drawing/2014/main" id="{64D94C66-E03A-77CC-C3EC-4FC7DA3B67E8}"/>
                </a:ext>
              </a:extLst>
            </p:cNvPr>
            <p:cNvSpPr>
              <a:spLocks noChangeAspect="1"/>
            </p:cNvSpPr>
            <p:nvPr/>
          </p:nvSpPr>
          <p:spPr>
            <a:xfrm>
              <a:off x="2068991" y="3170580"/>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49" name="Oval 48">
              <a:extLst>
                <a:ext uri="{FF2B5EF4-FFF2-40B4-BE49-F238E27FC236}">
                  <a16:creationId xmlns:a16="http://schemas.microsoft.com/office/drawing/2014/main" id="{D4E09283-E392-2DBC-A01A-B10555896F2E}"/>
                </a:ext>
              </a:extLst>
            </p:cNvPr>
            <p:cNvSpPr>
              <a:spLocks noChangeAspect="1"/>
            </p:cNvSpPr>
            <p:nvPr/>
          </p:nvSpPr>
          <p:spPr>
            <a:xfrm>
              <a:off x="2434202"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50" name="Straight Connector 49">
              <a:extLst>
                <a:ext uri="{FF2B5EF4-FFF2-40B4-BE49-F238E27FC236}">
                  <a16:creationId xmlns:a16="http://schemas.microsoft.com/office/drawing/2014/main" id="{5558E440-E6C7-92AE-4097-81A39A110A88}"/>
                </a:ext>
              </a:extLst>
            </p:cNvPr>
            <p:cNvCxnSpPr/>
            <p:nvPr/>
          </p:nvCxnSpPr>
          <p:spPr>
            <a:xfrm>
              <a:off x="3537440" y="1909482"/>
              <a:ext cx="0" cy="130143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2A197E67-6DE0-3361-0929-8CE69B4F1C7A}"/>
                </a:ext>
              </a:extLst>
            </p:cNvPr>
            <p:cNvSpPr>
              <a:spLocks noChangeAspect="1"/>
            </p:cNvSpPr>
            <p:nvPr/>
          </p:nvSpPr>
          <p:spPr>
            <a:xfrm>
              <a:off x="3495242" y="1829227"/>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grpSp>
        <p:nvGrpSpPr>
          <p:cNvPr id="52" name="Group 51">
            <a:extLst>
              <a:ext uri="{FF2B5EF4-FFF2-40B4-BE49-F238E27FC236}">
                <a16:creationId xmlns:a16="http://schemas.microsoft.com/office/drawing/2014/main" id="{89433020-17F1-E86A-52D2-F373BAC49527}"/>
              </a:ext>
            </a:extLst>
          </p:cNvPr>
          <p:cNvGrpSpPr/>
          <p:nvPr>
            <p:custDataLst>
              <p:tags r:id="rId6"/>
            </p:custDataLst>
          </p:nvPr>
        </p:nvGrpSpPr>
        <p:grpSpPr>
          <a:xfrm rot="10800000" flipH="1">
            <a:off x="3798186" y="3473402"/>
            <a:ext cx="2148126" cy="2107691"/>
            <a:chOff x="1751189" y="1829227"/>
            <a:chExt cx="2148126" cy="2107691"/>
          </a:xfrm>
        </p:grpSpPr>
        <p:sp>
          <p:nvSpPr>
            <p:cNvPr id="53" name="Arc 52">
              <a:extLst>
                <a:ext uri="{FF2B5EF4-FFF2-40B4-BE49-F238E27FC236}">
                  <a16:creationId xmlns:a16="http://schemas.microsoft.com/office/drawing/2014/main" id="{89FE5F6C-33DF-DDFF-17C8-73E5F3FFDA18}"/>
                </a:ext>
              </a:extLst>
            </p:cNvPr>
            <p:cNvSpPr/>
            <p:nvPr/>
          </p:nvSpPr>
          <p:spPr>
            <a:xfrm>
              <a:off x="1751189" y="3216918"/>
              <a:ext cx="720000" cy="720000"/>
            </a:xfrm>
            <a:prstGeom prst="arc">
              <a:avLst/>
            </a:prstGeom>
            <a:ln w="28575">
              <a:solidFill>
                <a:srgbClr val="888B8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4" name="Arc 53">
              <a:extLst>
                <a:ext uri="{FF2B5EF4-FFF2-40B4-BE49-F238E27FC236}">
                  <a16:creationId xmlns:a16="http://schemas.microsoft.com/office/drawing/2014/main" id="{5D681311-89B3-3CE4-A65D-0D109C2F1DD9}"/>
                </a:ext>
              </a:extLst>
            </p:cNvPr>
            <p:cNvSpPr/>
            <p:nvPr/>
          </p:nvSpPr>
          <p:spPr>
            <a:xfrm rot="16200000">
              <a:off x="3179315" y="3216918"/>
              <a:ext cx="720000" cy="720000"/>
            </a:xfrm>
            <a:prstGeom prst="arc">
              <a:avLst/>
            </a:prstGeom>
            <a:ln w="28575">
              <a:solidFill>
                <a:srgbClr val="888B8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F17E371-53A5-33F6-AD94-F6C345F78887}"/>
                </a:ext>
              </a:extLst>
            </p:cNvPr>
            <p:cNvCxnSpPr>
              <a:endCxn id="54" idx="0"/>
            </p:cNvCxnSpPr>
            <p:nvPr/>
          </p:nvCxnSpPr>
          <p:spPr>
            <a:xfrm>
              <a:off x="2471189" y="3576918"/>
              <a:ext cx="708126" cy="0"/>
            </a:xfrm>
            <a:prstGeom prst="line">
              <a:avLst/>
            </a:prstGeom>
            <a:ln w="28575">
              <a:solidFill>
                <a:srgbClr val="888B8D"/>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5F3C143D-FC0B-8230-FA18-0C2C1DE8C2D6}"/>
                </a:ext>
              </a:extLst>
            </p:cNvPr>
            <p:cNvSpPr>
              <a:spLocks noChangeAspect="1"/>
            </p:cNvSpPr>
            <p:nvPr/>
          </p:nvSpPr>
          <p:spPr>
            <a:xfrm>
              <a:off x="3128963"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7" name="Oval 56">
              <a:extLst>
                <a:ext uri="{FF2B5EF4-FFF2-40B4-BE49-F238E27FC236}">
                  <a16:creationId xmlns:a16="http://schemas.microsoft.com/office/drawing/2014/main" id="{672709A8-7910-EEFF-B3D3-AC7503151CC5}"/>
                </a:ext>
              </a:extLst>
            </p:cNvPr>
            <p:cNvSpPr>
              <a:spLocks noChangeAspect="1"/>
            </p:cNvSpPr>
            <p:nvPr/>
          </p:nvSpPr>
          <p:spPr>
            <a:xfrm>
              <a:off x="3495243" y="3174719"/>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8" name="Oval 57">
              <a:extLst>
                <a:ext uri="{FF2B5EF4-FFF2-40B4-BE49-F238E27FC236}">
                  <a16:creationId xmlns:a16="http://schemas.microsoft.com/office/drawing/2014/main" id="{D8121F91-304E-6FC6-BACB-2493C83D72D7}"/>
                </a:ext>
              </a:extLst>
            </p:cNvPr>
            <p:cNvSpPr>
              <a:spLocks noChangeAspect="1"/>
            </p:cNvSpPr>
            <p:nvPr/>
          </p:nvSpPr>
          <p:spPr>
            <a:xfrm>
              <a:off x="2068991" y="3170580"/>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9" name="Oval 58">
              <a:extLst>
                <a:ext uri="{FF2B5EF4-FFF2-40B4-BE49-F238E27FC236}">
                  <a16:creationId xmlns:a16="http://schemas.microsoft.com/office/drawing/2014/main" id="{4A172826-A9C8-57A6-1ABE-E4C61BCF703A}"/>
                </a:ext>
              </a:extLst>
            </p:cNvPr>
            <p:cNvSpPr>
              <a:spLocks noChangeAspect="1"/>
            </p:cNvSpPr>
            <p:nvPr/>
          </p:nvSpPr>
          <p:spPr>
            <a:xfrm>
              <a:off x="2434202"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60" name="Straight Connector 59">
              <a:extLst>
                <a:ext uri="{FF2B5EF4-FFF2-40B4-BE49-F238E27FC236}">
                  <a16:creationId xmlns:a16="http://schemas.microsoft.com/office/drawing/2014/main" id="{D0A68E5A-7A0E-E6C0-E841-366EF9BED03B}"/>
                </a:ext>
              </a:extLst>
            </p:cNvPr>
            <p:cNvCxnSpPr/>
            <p:nvPr/>
          </p:nvCxnSpPr>
          <p:spPr>
            <a:xfrm>
              <a:off x="3537440" y="1909482"/>
              <a:ext cx="0" cy="1301439"/>
            </a:xfrm>
            <a:prstGeom prst="line">
              <a:avLst/>
            </a:prstGeom>
            <a:ln w="28575">
              <a:solidFill>
                <a:srgbClr val="888B8D"/>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954E1E15-A9DB-11A4-720B-242882F3B2FD}"/>
                </a:ext>
              </a:extLst>
            </p:cNvPr>
            <p:cNvSpPr>
              <a:spLocks noChangeAspect="1"/>
            </p:cNvSpPr>
            <p:nvPr/>
          </p:nvSpPr>
          <p:spPr>
            <a:xfrm>
              <a:off x="3495242" y="1829227"/>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62" name="Oval 61">
            <a:extLst>
              <a:ext uri="{FF2B5EF4-FFF2-40B4-BE49-F238E27FC236}">
                <a16:creationId xmlns:a16="http://schemas.microsoft.com/office/drawing/2014/main" id="{BCE59057-29E1-434C-79B4-43915B41BB77}"/>
              </a:ext>
            </a:extLst>
          </p:cNvPr>
          <p:cNvSpPr>
            <a:spLocks noChangeAspect="1"/>
          </p:cNvSpPr>
          <p:nvPr>
            <p:custDataLst>
              <p:tags r:id="rId7"/>
            </p:custDataLst>
          </p:nvPr>
        </p:nvSpPr>
        <p:spPr>
          <a:xfrm>
            <a:off x="2450487" y="3531574"/>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63" name="Oval 62">
            <a:extLst>
              <a:ext uri="{FF2B5EF4-FFF2-40B4-BE49-F238E27FC236}">
                <a16:creationId xmlns:a16="http://schemas.microsoft.com/office/drawing/2014/main" id="{B299781C-BE97-B35A-71DC-B10719E93038}"/>
              </a:ext>
            </a:extLst>
          </p:cNvPr>
          <p:cNvSpPr>
            <a:spLocks noChangeAspect="1"/>
          </p:cNvSpPr>
          <p:nvPr>
            <p:custDataLst>
              <p:tags r:id="rId8"/>
            </p:custDataLst>
          </p:nvPr>
        </p:nvSpPr>
        <p:spPr>
          <a:xfrm>
            <a:off x="3874427" y="3531574"/>
            <a:ext cx="567771" cy="567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64" name="Oval 63">
            <a:extLst>
              <a:ext uri="{FF2B5EF4-FFF2-40B4-BE49-F238E27FC236}">
                <a16:creationId xmlns:a16="http://schemas.microsoft.com/office/drawing/2014/main" id="{829B9FBB-6B41-0373-E965-DCA52679CD68}"/>
              </a:ext>
            </a:extLst>
          </p:cNvPr>
          <p:cNvSpPr>
            <a:spLocks noChangeAspect="1"/>
          </p:cNvSpPr>
          <p:nvPr>
            <p:custDataLst>
              <p:tags r:id="rId9"/>
            </p:custDataLst>
          </p:nvPr>
        </p:nvSpPr>
        <p:spPr>
          <a:xfrm>
            <a:off x="5288859" y="3521101"/>
            <a:ext cx="567771" cy="567771"/>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65" name="TextBox 64">
            <a:extLst>
              <a:ext uri="{FF2B5EF4-FFF2-40B4-BE49-F238E27FC236}">
                <a16:creationId xmlns:a16="http://schemas.microsoft.com/office/drawing/2014/main" id="{D812D832-23F5-B659-2CB7-E8C18251A892}"/>
              </a:ext>
            </a:extLst>
          </p:cNvPr>
          <p:cNvSpPr txBox="1"/>
          <p:nvPr>
            <p:custDataLst>
              <p:tags r:id="rId10"/>
            </p:custDataLst>
          </p:nvPr>
        </p:nvSpPr>
        <p:spPr>
          <a:xfrm>
            <a:off x="1361730" y="1898586"/>
            <a:ext cx="265176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Security program manag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Strategy and governanc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Metrics and reporting</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Training and develop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Business enabl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Project portfolio manag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Budgeting and operational planning</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Talent manag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Sourcing and contracts management</a:t>
            </a:r>
            <a:endParaRPr kumimoji="0" lang="en-US" sz="1400" b="0" i="1" u="none" strike="noStrike" kern="0" cap="none" spc="0" normalizeH="0" baseline="0" noProof="0">
              <a:ln>
                <a:noFill/>
              </a:ln>
              <a:solidFill>
                <a:srgbClr val="63666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0" cap="none" spc="0" normalizeH="0" baseline="0" noProof="0">
              <a:ln>
                <a:noFill/>
              </a:ln>
              <a:solidFill>
                <a:srgbClr val="63666A"/>
              </a:solidFill>
              <a:effectLst/>
              <a:uLnTx/>
              <a:uFillTx/>
              <a:latin typeface="Arial"/>
              <a:ea typeface="+mn-ea"/>
              <a:cs typeface="+mn-cs"/>
            </a:endParaRP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63666A"/>
              </a:solidFill>
              <a:effectLst/>
              <a:uLnTx/>
              <a:uFillTx/>
              <a:latin typeface="Arial"/>
              <a:ea typeface="+mn-ea"/>
              <a:cs typeface="+mn-cs"/>
            </a:endParaRPr>
          </a:p>
        </p:txBody>
      </p:sp>
      <p:sp>
        <p:nvSpPr>
          <p:cNvPr id="66" name="TextBox 65">
            <a:extLst>
              <a:ext uri="{FF2B5EF4-FFF2-40B4-BE49-F238E27FC236}">
                <a16:creationId xmlns:a16="http://schemas.microsoft.com/office/drawing/2014/main" id="{F0FD00D5-CBA0-1CD2-0CF9-E5B173E5B765}"/>
              </a:ext>
            </a:extLst>
          </p:cNvPr>
          <p:cNvSpPr txBox="1"/>
          <p:nvPr>
            <p:custDataLst>
              <p:tags r:id="rId11"/>
            </p:custDataLst>
          </p:nvPr>
        </p:nvSpPr>
        <p:spPr>
          <a:xfrm>
            <a:off x="535966" y="4358238"/>
            <a:ext cx="2143236"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Risk and complianc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Policies and procedure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Third-party risk</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Continuous compliance evalu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Cybersecurity risk manag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Assurance and certification</a:t>
            </a:r>
          </a:p>
        </p:txBody>
      </p:sp>
      <p:grpSp>
        <p:nvGrpSpPr>
          <p:cNvPr id="67" name="Group 66">
            <a:extLst>
              <a:ext uri="{FF2B5EF4-FFF2-40B4-BE49-F238E27FC236}">
                <a16:creationId xmlns:a16="http://schemas.microsoft.com/office/drawing/2014/main" id="{88E9DE0A-E443-69C7-2527-CC3B81632625}"/>
              </a:ext>
            </a:extLst>
          </p:cNvPr>
          <p:cNvGrpSpPr/>
          <p:nvPr>
            <p:custDataLst>
              <p:tags r:id="rId12"/>
            </p:custDataLst>
          </p:nvPr>
        </p:nvGrpSpPr>
        <p:grpSpPr>
          <a:xfrm>
            <a:off x="5213102" y="2057295"/>
            <a:ext cx="2148126" cy="2107691"/>
            <a:chOff x="1751189" y="1829227"/>
            <a:chExt cx="2148126" cy="2107691"/>
          </a:xfrm>
        </p:grpSpPr>
        <p:sp>
          <p:nvSpPr>
            <p:cNvPr id="68" name="Arc 67">
              <a:extLst>
                <a:ext uri="{FF2B5EF4-FFF2-40B4-BE49-F238E27FC236}">
                  <a16:creationId xmlns:a16="http://schemas.microsoft.com/office/drawing/2014/main" id="{CDB95E79-33DB-187E-A6AB-AE14FBBCB3D7}"/>
                </a:ext>
              </a:extLst>
            </p:cNvPr>
            <p:cNvSpPr/>
            <p:nvPr/>
          </p:nvSpPr>
          <p:spPr>
            <a:xfrm>
              <a:off x="1751189"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69" name="Arc 68">
              <a:extLst>
                <a:ext uri="{FF2B5EF4-FFF2-40B4-BE49-F238E27FC236}">
                  <a16:creationId xmlns:a16="http://schemas.microsoft.com/office/drawing/2014/main" id="{4010F8E2-CB95-3163-92D1-5D6E59F7326D}"/>
                </a:ext>
              </a:extLst>
            </p:cNvPr>
            <p:cNvSpPr/>
            <p:nvPr/>
          </p:nvSpPr>
          <p:spPr>
            <a:xfrm rot="16200000">
              <a:off x="3179315"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70" name="Straight Connector 69">
              <a:extLst>
                <a:ext uri="{FF2B5EF4-FFF2-40B4-BE49-F238E27FC236}">
                  <a16:creationId xmlns:a16="http://schemas.microsoft.com/office/drawing/2014/main" id="{28F110E8-5746-3B54-E041-3E70DD675CD2}"/>
                </a:ext>
              </a:extLst>
            </p:cNvPr>
            <p:cNvCxnSpPr>
              <a:endCxn id="69" idx="0"/>
            </p:cNvCxnSpPr>
            <p:nvPr/>
          </p:nvCxnSpPr>
          <p:spPr>
            <a:xfrm>
              <a:off x="2471189" y="3576918"/>
              <a:ext cx="70812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4EA6C968-D9C0-9EF0-FD00-967864BAE3DB}"/>
                </a:ext>
              </a:extLst>
            </p:cNvPr>
            <p:cNvSpPr>
              <a:spLocks noChangeAspect="1"/>
            </p:cNvSpPr>
            <p:nvPr/>
          </p:nvSpPr>
          <p:spPr>
            <a:xfrm>
              <a:off x="3128963"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2" name="Oval 71">
              <a:extLst>
                <a:ext uri="{FF2B5EF4-FFF2-40B4-BE49-F238E27FC236}">
                  <a16:creationId xmlns:a16="http://schemas.microsoft.com/office/drawing/2014/main" id="{37C46971-D5FB-823F-AB4D-CA69A44A1565}"/>
                </a:ext>
              </a:extLst>
            </p:cNvPr>
            <p:cNvSpPr>
              <a:spLocks noChangeAspect="1"/>
            </p:cNvSpPr>
            <p:nvPr/>
          </p:nvSpPr>
          <p:spPr>
            <a:xfrm>
              <a:off x="3495243" y="3174719"/>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3" name="Oval 72">
              <a:extLst>
                <a:ext uri="{FF2B5EF4-FFF2-40B4-BE49-F238E27FC236}">
                  <a16:creationId xmlns:a16="http://schemas.microsoft.com/office/drawing/2014/main" id="{88739514-53FF-E769-7869-E200B60C6471}"/>
                </a:ext>
              </a:extLst>
            </p:cNvPr>
            <p:cNvSpPr>
              <a:spLocks noChangeAspect="1"/>
            </p:cNvSpPr>
            <p:nvPr/>
          </p:nvSpPr>
          <p:spPr>
            <a:xfrm>
              <a:off x="2068991" y="3170580"/>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4" name="Oval 73">
              <a:extLst>
                <a:ext uri="{FF2B5EF4-FFF2-40B4-BE49-F238E27FC236}">
                  <a16:creationId xmlns:a16="http://schemas.microsoft.com/office/drawing/2014/main" id="{ECD7BD32-0383-6A30-BF00-2A8E6EC0C709}"/>
                </a:ext>
              </a:extLst>
            </p:cNvPr>
            <p:cNvSpPr>
              <a:spLocks noChangeAspect="1"/>
            </p:cNvSpPr>
            <p:nvPr/>
          </p:nvSpPr>
          <p:spPr>
            <a:xfrm>
              <a:off x="2434202"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75" name="Straight Connector 74">
              <a:extLst>
                <a:ext uri="{FF2B5EF4-FFF2-40B4-BE49-F238E27FC236}">
                  <a16:creationId xmlns:a16="http://schemas.microsoft.com/office/drawing/2014/main" id="{706494B0-975B-1BB8-DF0A-7E0C2B39D31F}"/>
                </a:ext>
              </a:extLst>
            </p:cNvPr>
            <p:cNvCxnSpPr/>
            <p:nvPr/>
          </p:nvCxnSpPr>
          <p:spPr>
            <a:xfrm>
              <a:off x="3537440" y="1909482"/>
              <a:ext cx="0" cy="13014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7E355BF7-F622-B49E-5C6F-C8451D0CEA06}"/>
                </a:ext>
              </a:extLst>
            </p:cNvPr>
            <p:cNvSpPr>
              <a:spLocks noChangeAspect="1"/>
            </p:cNvSpPr>
            <p:nvPr/>
          </p:nvSpPr>
          <p:spPr>
            <a:xfrm>
              <a:off x="3495242" y="1829227"/>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grpSp>
        <p:nvGrpSpPr>
          <p:cNvPr id="77" name="Group 76">
            <a:extLst>
              <a:ext uri="{FF2B5EF4-FFF2-40B4-BE49-F238E27FC236}">
                <a16:creationId xmlns:a16="http://schemas.microsoft.com/office/drawing/2014/main" id="{1AD7B513-3913-505F-69EA-D22113AA0F6D}"/>
              </a:ext>
            </a:extLst>
          </p:cNvPr>
          <p:cNvGrpSpPr/>
          <p:nvPr>
            <p:custDataLst>
              <p:tags r:id="rId13"/>
            </p:custDataLst>
          </p:nvPr>
        </p:nvGrpSpPr>
        <p:grpSpPr>
          <a:xfrm rot="10800000" flipH="1">
            <a:off x="6661029" y="3473401"/>
            <a:ext cx="2148126" cy="2107691"/>
            <a:chOff x="1751189" y="1829227"/>
            <a:chExt cx="2148126" cy="2107691"/>
          </a:xfrm>
        </p:grpSpPr>
        <p:sp>
          <p:nvSpPr>
            <p:cNvPr id="78" name="Arc 77">
              <a:extLst>
                <a:ext uri="{FF2B5EF4-FFF2-40B4-BE49-F238E27FC236}">
                  <a16:creationId xmlns:a16="http://schemas.microsoft.com/office/drawing/2014/main" id="{9CC35B80-6D4B-82B9-B696-FCC4B14703DF}"/>
                </a:ext>
              </a:extLst>
            </p:cNvPr>
            <p:cNvSpPr/>
            <p:nvPr/>
          </p:nvSpPr>
          <p:spPr>
            <a:xfrm>
              <a:off x="1751189"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9" name="Arc 78">
              <a:extLst>
                <a:ext uri="{FF2B5EF4-FFF2-40B4-BE49-F238E27FC236}">
                  <a16:creationId xmlns:a16="http://schemas.microsoft.com/office/drawing/2014/main" id="{F1F4DD6F-FABF-0F11-EE39-39E38918998A}"/>
                </a:ext>
              </a:extLst>
            </p:cNvPr>
            <p:cNvSpPr/>
            <p:nvPr/>
          </p:nvSpPr>
          <p:spPr>
            <a:xfrm rot="16200000">
              <a:off x="3179315" y="3216918"/>
              <a:ext cx="720000" cy="720000"/>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80" name="Straight Connector 79">
              <a:extLst>
                <a:ext uri="{FF2B5EF4-FFF2-40B4-BE49-F238E27FC236}">
                  <a16:creationId xmlns:a16="http://schemas.microsoft.com/office/drawing/2014/main" id="{57D57ADC-4537-5DF1-E9BC-4DB1ABB81282}"/>
                </a:ext>
              </a:extLst>
            </p:cNvPr>
            <p:cNvCxnSpPr>
              <a:endCxn id="79" idx="0"/>
            </p:cNvCxnSpPr>
            <p:nvPr/>
          </p:nvCxnSpPr>
          <p:spPr>
            <a:xfrm>
              <a:off x="2471189" y="3576918"/>
              <a:ext cx="708126"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206FCD2C-4B0E-44C8-931D-590D6B24605D}"/>
                </a:ext>
              </a:extLst>
            </p:cNvPr>
            <p:cNvSpPr>
              <a:spLocks noChangeAspect="1"/>
            </p:cNvSpPr>
            <p:nvPr/>
          </p:nvSpPr>
          <p:spPr>
            <a:xfrm>
              <a:off x="3128963"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2" name="Oval 81">
              <a:extLst>
                <a:ext uri="{FF2B5EF4-FFF2-40B4-BE49-F238E27FC236}">
                  <a16:creationId xmlns:a16="http://schemas.microsoft.com/office/drawing/2014/main" id="{51686A9D-74A8-67EA-86BD-66B526D6EA54}"/>
                </a:ext>
              </a:extLst>
            </p:cNvPr>
            <p:cNvSpPr>
              <a:spLocks noChangeAspect="1"/>
            </p:cNvSpPr>
            <p:nvPr/>
          </p:nvSpPr>
          <p:spPr>
            <a:xfrm>
              <a:off x="3495243" y="3174719"/>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3" name="Oval 82">
              <a:extLst>
                <a:ext uri="{FF2B5EF4-FFF2-40B4-BE49-F238E27FC236}">
                  <a16:creationId xmlns:a16="http://schemas.microsoft.com/office/drawing/2014/main" id="{1BEA3803-82F1-D2EF-4134-DB439BFCFAE3}"/>
                </a:ext>
              </a:extLst>
            </p:cNvPr>
            <p:cNvSpPr>
              <a:spLocks noChangeAspect="1"/>
            </p:cNvSpPr>
            <p:nvPr/>
          </p:nvSpPr>
          <p:spPr>
            <a:xfrm>
              <a:off x="2068991" y="3170580"/>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4" name="Oval 83">
              <a:extLst>
                <a:ext uri="{FF2B5EF4-FFF2-40B4-BE49-F238E27FC236}">
                  <a16:creationId xmlns:a16="http://schemas.microsoft.com/office/drawing/2014/main" id="{77C4DD70-50AD-1709-8623-82650603F960}"/>
                </a:ext>
              </a:extLst>
            </p:cNvPr>
            <p:cNvSpPr>
              <a:spLocks noChangeAspect="1"/>
            </p:cNvSpPr>
            <p:nvPr/>
          </p:nvSpPr>
          <p:spPr>
            <a:xfrm>
              <a:off x="2434202" y="3521273"/>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85" name="Straight Connector 84">
              <a:extLst>
                <a:ext uri="{FF2B5EF4-FFF2-40B4-BE49-F238E27FC236}">
                  <a16:creationId xmlns:a16="http://schemas.microsoft.com/office/drawing/2014/main" id="{8C32E4AF-1327-ABC6-0FD0-5341C5C55C16}"/>
                </a:ext>
              </a:extLst>
            </p:cNvPr>
            <p:cNvCxnSpPr/>
            <p:nvPr/>
          </p:nvCxnSpPr>
          <p:spPr>
            <a:xfrm>
              <a:off x="3537440" y="1909482"/>
              <a:ext cx="0" cy="130143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3D2ED77E-7402-B5AE-9585-61886988A4EC}"/>
                </a:ext>
              </a:extLst>
            </p:cNvPr>
            <p:cNvSpPr>
              <a:spLocks noChangeAspect="1"/>
            </p:cNvSpPr>
            <p:nvPr/>
          </p:nvSpPr>
          <p:spPr>
            <a:xfrm>
              <a:off x="3495242" y="1829227"/>
              <a:ext cx="84395" cy="843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87" name="Oval 86">
            <a:extLst>
              <a:ext uri="{FF2B5EF4-FFF2-40B4-BE49-F238E27FC236}">
                <a16:creationId xmlns:a16="http://schemas.microsoft.com/office/drawing/2014/main" id="{418C2CBC-177F-6127-F117-43D361253E20}"/>
              </a:ext>
            </a:extLst>
          </p:cNvPr>
          <p:cNvSpPr>
            <a:spLocks noChangeAspect="1"/>
          </p:cNvSpPr>
          <p:nvPr>
            <p:custDataLst>
              <p:tags r:id="rId14"/>
            </p:custDataLst>
          </p:nvPr>
        </p:nvSpPr>
        <p:spPr>
          <a:xfrm flipH="1">
            <a:off x="6721741" y="3536708"/>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88" name="Oval 87">
            <a:extLst>
              <a:ext uri="{FF2B5EF4-FFF2-40B4-BE49-F238E27FC236}">
                <a16:creationId xmlns:a16="http://schemas.microsoft.com/office/drawing/2014/main" id="{E033664A-3F11-A03E-C65D-8566FB707B14}"/>
              </a:ext>
            </a:extLst>
          </p:cNvPr>
          <p:cNvSpPr>
            <a:spLocks noChangeAspect="1"/>
          </p:cNvSpPr>
          <p:nvPr>
            <p:custDataLst>
              <p:tags r:id="rId15"/>
            </p:custDataLst>
          </p:nvPr>
        </p:nvSpPr>
        <p:spPr>
          <a:xfrm>
            <a:off x="8171143" y="3540023"/>
            <a:ext cx="567771" cy="567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grpSp>
        <p:nvGrpSpPr>
          <p:cNvPr id="89" name="Group 88">
            <a:extLst>
              <a:ext uri="{FF2B5EF4-FFF2-40B4-BE49-F238E27FC236}">
                <a16:creationId xmlns:a16="http://schemas.microsoft.com/office/drawing/2014/main" id="{1D10AEF9-9FE6-218C-5C4B-22349B03CCE9}"/>
              </a:ext>
            </a:extLst>
          </p:cNvPr>
          <p:cNvGrpSpPr/>
          <p:nvPr>
            <p:custDataLst>
              <p:tags r:id="rId16"/>
            </p:custDataLst>
          </p:nvPr>
        </p:nvGrpSpPr>
        <p:grpSpPr>
          <a:xfrm rot="10800000" flipH="1" flipV="1">
            <a:off x="8087371" y="2073834"/>
            <a:ext cx="2148126" cy="2107691"/>
            <a:chOff x="1751189" y="1829227"/>
            <a:chExt cx="2148126" cy="2107691"/>
          </a:xfrm>
        </p:grpSpPr>
        <p:sp>
          <p:nvSpPr>
            <p:cNvPr id="90" name="Arc 89">
              <a:extLst>
                <a:ext uri="{FF2B5EF4-FFF2-40B4-BE49-F238E27FC236}">
                  <a16:creationId xmlns:a16="http://schemas.microsoft.com/office/drawing/2014/main" id="{E36D57B5-4BC5-04F3-1FC5-991A3F8B0A28}"/>
                </a:ext>
              </a:extLst>
            </p:cNvPr>
            <p:cNvSpPr/>
            <p:nvPr/>
          </p:nvSpPr>
          <p:spPr>
            <a:xfrm>
              <a:off x="1751189" y="3216918"/>
              <a:ext cx="720000" cy="720000"/>
            </a:xfrm>
            <a:prstGeom prst="arc">
              <a:avLst/>
            </a:prstGeom>
            <a:ln w="28575">
              <a:solidFill>
                <a:srgbClr val="888B8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1" name="Arc 90">
              <a:extLst>
                <a:ext uri="{FF2B5EF4-FFF2-40B4-BE49-F238E27FC236}">
                  <a16:creationId xmlns:a16="http://schemas.microsoft.com/office/drawing/2014/main" id="{D829705B-56DA-E775-C4A5-1ED2979C28CF}"/>
                </a:ext>
              </a:extLst>
            </p:cNvPr>
            <p:cNvSpPr/>
            <p:nvPr/>
          </p:nvSpPr>
          <p:spPr>
            <a:xfrm rot="16200000">
              <a:off x="3179315" y="3216918"/>
              <a:ext cx="720000" cy="720000"/>
            </a:xfrm>
            <a:prstGeom prst="arc">
              <a:avLst/>
            </a:prstGeom>
            <a:ln w="28575">
              <a:solidFill>
                <a:srgbClr val="888B8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92" name="Straight Connector 91">
              <a:extLst>
                <a:ext uri="{FF2B5EF4-FFF2-40B4-BE49-F238E27FC236}">
                  <a16:creationId xmlns:a16="http://schemas.microsoft.com/office/drawing/2014/main" id="{C57E73BA-2694-308D-5CA9-66E7EDAC8127}"/>
                </a:ext>
              </a:extLst>
            </p:cNvPr>
            <p:cNvCxnSpPr>
              <a:endCxn id="91" idx="0"/>
            </p:cNvCxnSpPr>
            <p:nvPr/>
          </p:nvCxnSpPr>
          <p:spPr>
            <a:xfrm>
              <a:off x="2471189" y="3576918"/>
              <a:ext cx="708126" cy="0"/>
            </a:xfrm>
            <a:prstGeom prst="line">
              <a:avLst/>
            </a:prstGeom>
            <a:ln w="28575">
              <a:solidFill>
                <a:srgbClr val="888B8D"/>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50E6FC5C-C630-44F7-05AB-4C72FBBE7DC6}"/>
                </a:ext>
              </a:extLst>
            </p:cNvPr>
            <p:cNvSpPr>
              <a:spLocks noChangeAspect="1"/>
            </p:cNvSpPr>
            <p:nvPr/>
          </p:nvSpPr>
          <p:spPr>
            <a:xfrm>
              <a:off x="3128963"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4" name="Oval 93">
              <a:extLst>
                <a:ext uri="{FF2B5EF4-FFF2-40B4-BE49-F238E27FC236}">
                  <a16:creationId xmlns:a16="http://schemas.microsoft.com/office/drawing/2014/main" id="{D4912803-82F6-E101-4D09-0C008494A9A1}"/>
                </a:ext>
              </a:extLst>
            </p:cNvPr>
            <p:cNvSpPr>
              <a:spLocks noChangeAspect="1"/>
            </p:cNvSpPr>
            <p:nvPr/>
          </p:nvSpPr>
          <p:spPr>
            <a:xfrm>
              <a:off x="3495243" y="3174719"/>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5" name="Oval 94">
              <a:extLst>
                <a:ext uri="{FF2B5EF4-FFF2-40B4-BE49-F238E27FC236}">
                  <a16:creationId xmlns:a16="http://schemas.microsoft.com/office/drawing/2014/main" id="{FBCC6E5C-1BB8-2B7A-4EC6-AE791B138531}"/>
                </a:ext>
              </a:extLst>
            </p:cNvPr>
            <p:cNvSpPr>
              <a:spLocks noChangeAspect="1"/>
            </p:cNvSpPr>
            <p:nvPr/>
          </p:nvSpPr>
          <p:spPr>
            <a:xfrm>
              <a:off x="2068991" y="3170580"/>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6" name="Oval 95">
              <a:extLst>
                <a:ext uri="{FF2B5EF4-FFF2-40B4-BE49-F238E27FC236}">
                  <a16:creationId xmlns:a16="http://schemas.microsoft.com/office/drawing/2014/main" id="{2DD14225-296E-45DD-8618-0F7ACC377793}"/>
                </a:ext>
              </a:extLst>
            </p:cNvPr>
            <p:cNvSpPr>
              <a:spLocks noChangeAspect="1"/>
            </p:cNvSpPr>
            <p:nvPr/>
          </p:nvSpPr>
          <p:spPr>
            <a:xfrm>
              <a:off x="2434202" y="3521273"/>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97" name="Straight Connector 96">
              <a:extLst>
                <a:ext uri="{FF2B5EF4-FFF2-40B4-BE49-F238E27FC236}">
                  <a16:creationId xmlns:a16="http://schemas.microsoft.com/office/drawing/2014/main" id="{39F7B38F-B1C8-4DD7-D804-656491C91856}"/>
                </a:ext>
              </a:extLst>
            </p:cNvPr>
            <p:cNvCxnSpPr/>
            <p:nvPr/>
          </p:nvCxnSpPr>
          <p:spPr>
            <a:xfrm>
              <a:off x="3537440" y="1909482"/>
              <a:ext cx="0" cy="1301439"/>
            </a:xfrm>
            <a:prstGeom prst="line">
              <a:avLst/>
            </a:prstGeom>
            <a:ln w="28575">
              <a:solidFill>
                <a:srgbClr val="888B8D"/>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BB08231D-602F-A4D4-FF0E-32A48C910178}"/>
                </a:ext>
              </a:extLst>
            </p:cNvPr>
            <p:cNvSpPr>
              <a:spLocks noChangeAspect="1"/>
            </p:cNvSpPr>
            <p:nvPr/>
          </p:nvSpPr>
          <p:spPr>
            <a:xfrm>
              <a:off x="3495242" y="1829227"/>
              <a:ext cx="84395" cy="84395"/>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99" name="Oval 98">
            <a:extLst>
              <a:ext uri="{FF2B5EF4-FFF2-40B4-BE49-F238E27FC236}">
                <a16:creationId xmlns:a16="http://schemas.microsoft.com/office/drawing/2014/main" id="{18C6159B-9239-83D3-16B4-2BDF3F1F86D7}"/>
              </a:ext>
            </a:extLst>
          </p:cNvPr>
          <p:cNvSpPr>
            <a:spLocks noChangeAspect="1"/>
          </p:cNvSpPr>
          <p:nvPr>
            <p:custDataLst>
              <p:tags r:id="rId17"/>
            </p:custDataLst>
          </p:nvPr>
        </p:nvSpPr>
        <p:spPr>
          <a:xfrm>
            <a:off x="9591611" y="3530488"/>
            <a:ext cx="567771" cy="567771"/>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100" name="TextBox 99">
            <a:extLst>
              <a:ext uri="{FF2B5EF4-FFF2-40B4-BE49-F238E27FC236}">
                <a16:creationId xmlns:a16="http://schemas.microsoft.com/office/drawing/2014/main" id="{1B56B242-D5F6-2C23-6782-3CB2460730CA}"/>
              </a:ext>
            </a:extLst>
          </p:cNvPr>
          <p:cNvSpPr txBox="1"/>
          <p:nvPr>
            <p:custDataLst>
              <p:tags r:id="rId18"/>
            </p:custDataLst>
          </p:nvPr>
        </p:nvSpPr>
        <p:spPr>
          <a:xfrm>
            <a:off x="4194130" y="1898586"/>
            <a:ext cx="2595512" cy="16927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Security architectur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Standards and design principle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Platform </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Endpoint / devic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Applic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Boundary </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Vulnerability treatment and preven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63666A"/>
              </a:solidFill>
              <a:effectLst/>
              <a:uLnTx/>
              <a:uFillTx/>
              <a:latin typeface="Arial"/>
              <a:ea typeface="+mn-ea"/>
              <a:cs typeface="+mn-cs"/>
            </a:endParaRP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63666A"/>
              </a:solidFill>
              <a:effectLst/>
              <a:uLnTx/>
              <a:uFillTx/>
              <a:latin typeface="Arial"/>
              <a:ea typeface="+mn-ea"/>
              <a:cs typeface="+mn-cs"/>
            </a:endParaRP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63666A"/>
              </a:solidFill>
              <a:effectLst/>
              <a:uLnTx/>
              <a:uFillTx/>
              <a:latin typeface="Arial"/>
              <a:ea typeface="+mn-ea"/>
              <a:cs typeface="+mn-cs"/>
            </a:endParaRPr>
          </a:p>
        </p:txBody>
      </p:sp>
      <p:sp>
        <p:nvSpPr>
          <p:cNvPr id="101" name="TextBox 100">
            <a:extLst>
              <a:ext uri="{FF2B5EF4-FFF2-40B4-BE49-F238E27FC236}">
                <a16:creationId xmlns:a16="http://schemas.microsoft.com/office/drawing/2014/main" id="{AD4E2A20-8237-1031-467C-A288A510274F}"/>
              </a:ext>
            </a:extLst>
          </p:cNvPr>
          <p:cNvSpPr txBox="1"/>
          <p:nvPr>
            <p:custDataLst>
              <p:tags r:id="rId19"/>
            </p:custDataLst>
          </p:nvPr>
        </p:nvSpPr>
        <p:spPr>
          <a:xfrm>
            <a:off x="2978306" y="4358238"/>
            <a:ext cx="2588954" cy="22159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Security engineering and operation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Security tooling implementation and manag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Asset management intelligenc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Secure configuration deployment and manag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Endpoint and Device Managemen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Secure software development life cycle (SDLC) and development, security and operations (DevSecOp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Vulnerability intelligence, management and remediation</a:t>
            </a:r>
          </a:p>
        </p:txBody>
      </p:sp>
      <p:sp>
        <p:nvSpPr>
          <p:cNvPr id="102" name="TextBox 101">
            <a:extLst>
              <a:ext uri="{FF2B5EF4-FFF2-40B4-BE49-F238E27FC236}">
                <a16:creationId xmlns:a16="http://schemas.microsoft.com/office/drawing/2014/main" id="{1F48CBC4-C644-9A34-264C-E54B12994519}"/>
              </a:ext>
            </a:extLst>
          </p:cNvPr>
          <p:cNvSpPr txBox="1"/>
          <p:nvPr>
            <p:custDataLst>
              <p:tags r:id="rId20"/>
            </p:custDataLst>
          </p:nvPr>
        </p:nvSpPr>
        <p:spPr>
          <a:xfrm>
            <a:off x="7082598" y="1914470"/>
            <a:ext cx="2595512"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Information protec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Information inventory</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Information lifecycle protec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Insider threat</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User awarenes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63666A"/>
              </a:solidFill>
              <a:effectLst/>
              <a:uLnTx/>
              <a:uFillTx/>
              <a:latin typeface="Arial"/>
              <a:ea typeface="+mn-ea"/>
              <a:cs typeface="+mn-cs"/>
            </a:endParaRPr>
          </a:p>
        </p:txBody>
      </p:sp>
      <p:sp>
        <p:nvSpPr>
          <p:cNvPr id="103" name="TextBox 102">
            <a:extLst>
              <a:ext uri="{FF2B5EF4-FFF2-40B4-BE49-F238E27FC236}">
                <a16:creationId xmlns:a16="http://schemas.microsoft.com/office/drawing/2014/main" id="{F49F5670-6CA0-8315-77E0-FF473BF68411}"/>
              </a:ext>
            </a:extLst>
          </p:cNvPr>
          <p:cNvSpPr txBox="1"/>
          <p:nvPr>
            <p:custDataLst>
              <p:tags r:id="rId21"/>
            </p:custDataLst>
          </p:nvPr>
        </p:nvSpPr>
        <p:spPr>
          <a:xfrm>
            <a:off x="6675271" y="4358238"/>
            <a:ext cx="1746578"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Identity and acces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Identity service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Authentic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Authoriz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Governance </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Privileged acces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Behavior analytic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Customer support</a:t>
            </a:r>
          </a:p>
        </p:txBody>
      </p:sp>
      <p:sp>
        <p:nvSpPr>
          <p:cNvPr id="104" name="TextBox 103">
            <a:extLst>
              <a:ext uri="{FF2B5EF4-FFF2-40B4-BE49-F238E27FC236}">
                <a16:creationId xmlns:a16="http://schemas.microsoft.com/office/drawing/2014/main" id="{DC3E02DD-854E-E4F7-E985-8B74D275F327}"/>
              </a:ext>
            </a:extLst>
          </p:cNvPr>
          <p:cNvSpPr txBox="1"/>
          <p:nvPr>
            <p:custDataLst>
              <p:tags r:id="rId22"/>
            </p:custDataLst>
          </p:nvPr>
        </p:nvSpPr>
        <p:spPr>
          <a:xfrm>
            <a:off x="8928340" y="4304669"/>
            <a:ext cx="2374391"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Cyber resiliency</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Impact analysis and system prioritiz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Business-driven security blueprint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Clean and secure backup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Secure recovery valid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Return to normal operations</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Alternative environment stand-down</a:t>
            </a:r>
          </a:p>
        </p:txBody>
      </p:sp>
      <p:sp>
        <p:nvSpPr>
          <p:cNvPr id="105" name="TextBox 104">
            <a:extLst>
              <a:ext uri="{FF2B5EF4-FFF2-40B4-BE49-F238E27FC236}">
                <a16:creationId xmlns:a16="http://schemas.microsoft.com/office/drawing/2014/main" id="{FEC32998-DA94-5E9E-1C3B-8879B52A24E3}"/>
              </a:ext>
            </a:extLst>
          </p:cNvPr>
          <p:cNvSpPr txBox="1"/>
          <p:nvPr>
            <p:custDataLst>
              <p:tags r:id="rId23"/>
            </p:custDataLst>
          </p:nvPr>
        </p:nvSpPr>
        <p:spPr>
          <a:xfrm>
            <a:off x="9903310" y="1898586"/>
            <a:ext cx="1738789"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63666A"/>
                </a:solidFill>
                <a:effectLst/>
                <a:uLnTx/>
                <a:uFillTx/>
                <a:latin typeface="Arial"/>
                <a:ea typeface="+mn-ea"/>
                <a:cs typeface="+mn-cs"/>
              </a:rPr>
              <a:t>Security monitoring and respons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Logging and monitoring</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Threat intelligence</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Threat hunting</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Orchestration and autom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Triage and remediation</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63666A"/>
                </a:solidFill>
                <a:effectLst/>
                <a:uLnTx/>
                <a:uFillTx/>
                <a:latin typeface="Arial"/>
                <a:ea typeface="+mn-ea"/>
                <a:cs typeface="+mn-cs"/>
              </a:rPr>
              <a:t>Incident response and digital forensics</a:t>
            </a:r>
          </a:p>
        </p:txBody>
      </p:sp>
      <p:sp>
        <p:nvSpPr>
          <p:cNvPr id="106" name="Oval 105">
            <a:extLst>
              <a:ext uri="{FF2B5EF4-FFF2-40B4-BE49-F238E27FC236}">
                <a16:creationId xmlns:a16="http://schemas.microsoft.com/office/drawing/2014/main" id="{919CCD9F-C7B0-A553-56EA-E8127B0DDA4B}"/>
              </a:ext>
            </a:extLst>
          </p:cNvPr>
          <p:cNvSpPr>
            <a:spLocks noChangeAspect="1"/>
          </p:cNvSpPr>
          <p:nvPr>
            <p:custDataLst>
              <p:tags r:id="rId24"/>
            </p:custDataLst>
          </p:nvPr>
        </p:nvSpPr>
        <p:spPr>
          <a:xfrm>
            <a:off x="1024395" y="3530562"/>
            <a:ext cx="567771" cy="5677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107" name="Oval 106">
            <a:extLst>
              <a:ext uri="{FF2B5EF4-FFF2-40B4-BE49-F238E27FC236}">
                <a16:creationId xmlns:a16="http://schemas.microsoft.com/office/drawing/2014/main" id="{D402DCD9-5EB3-0C06-0072-EB2BCDFACEFB}"/>
              </a:ext>
            </a:extLst>
          </p:cNvPr>
          <p:cNvSpPr>
            <a:spLocks noChangeAspect="1"/>
          </p:cNvSpPr>
          <p:nvPr>
            <p:custDataLst>
              <p:tags r:id="rId25"/>
            </p:custDataLst>
          </p:nvPr>
        </p:nvSpPr>
        <p:spPr>
          <a:xfrm>
            <a:off x="2450487" y="3530562"/>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108" name="Oval 107">
            <a:extLst>
              <a:ext uri="{FF2B5EF4-FFF2-40B4-BE49-F238E27FC236}">
                <a16:creationId xmlns:a16="http://schemas.microsoft.com/office/drawing/2014/main" id="{E17BBAFB-5037-A682-151B-B1A1583D3A94}"/>
              </a:ext>
            </a:extLst>
          </p:cNvPr>
          <p:cNvSpPr>
            <a:spLocks noChangeAspect="1"/>
          </p:cNvSpPr>
          <p:nvPr>
            <p:custDataLst>
              <p:tags r:id="rId26"/>
            </p:custDataLst>
          </p:nvPr>
        </p:nvSpPr>
        <p:spPr>
          <a:xfrm>
            <a:off x="3874427" y="3530562"/>
            <a:ext cx="567771" cy="567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109" name="Oval 108">
            <a:extLst>
              <a:ext uri="{FF2B5EF4-FFF2-40B4-BE49-F238E27FC236}">
                <a16:creationId xmlns:a16="http://schemas.microsoft.com/office/drawing/2014/main" id="{EF10E22E-0AF8-E410-BA88-91809A99D490}"/>
              </a:ext>
            </a:extLst>
          </p:cNvPr>
          <p:cNvSpPr>
            <a:spLocks noChangeAspect="1"/>
          </p:cNvSpPr>
          <p:nvPr>
            <p:custDataLst>
              <p:tags r:id="rId27"/>
            </p:custDataLst>
          </p:nvPr>
        </p:nvSpPr>
        <p:spPr>
          <a:xfrm>
            <a:off x="5288859" y="3530562"/>
            <a:ext cx="567771" cy="567771"/>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110" name="Oval 109">
            <a:extLst>
              <a:ext uri="{FF2B5EF4-FFF2-40B4-BE49-F238E27FC236}">
                <a16:creationId xmlns:a16="http://schemas.microsoft.com/office/drawing/2014/main" id="{5B397C86-204C-0430-E6D8-6FBA861F729E}"/>
              </a:ext>
            </a:extLst>
          </p:cNvPr>
          <p:cNvSpPr>
            <a:spLocks noChangeAspect="1"/>
          </p:cNvSpPr>
          <p:nvPr>
            <p:custDataLst>
              <p:tags r:id="rId28"/>
            </p:custDataLst>
          </p:nvPr>
        </p:nvSpPr>
        <p:spPr>
          <a:xfrm flipH="1">
            <a:off x="6721741" y="3530562"/>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111" name="Oval 110">
            <a:extLst>
              <a:ext uri="{FF2B5EF4-FFF2-40B4-BE49-F238E27FC236}">
                <a16:creationId xmlns:a16="http://schemas.microsoft.com/office/drawing/2014/main" id="{E0EF69E7-DB33-A5AE-D959-059680DCD6E4}"/>
              </a:ext>
            </a:extLst>
          </p:cNvPr>
          <p:cNvSpPr>
            <a:spLocks noChangeAspect="1"/>
          </p:cNvSpPr>
          <p:nvPr>
            <p:custDataLst>
              <p:tags r:id="rId29"/>
            </p:custDataLst>
          </p:nvPr>
        </p:nvSpPr>
        <p:spPr>
          <a:xfrm>
            <a:off x="8171143" y="3530562"/>
            <a:ext cx="567771" cy="567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112" name="Oval 111">
            <a:extLst>
              <a:ext uri="{FF2B5EF4-FFF2-40B4-BE49-F238E27FC236}">
                <a16:creationId xmlns:a16="http://schemas.microsoft.com/office/drawing/2014/main" id="{7D7C4186-DDE5-9552-9082-BC67C4013428}"/>
              </a:ext>
            </a:extLst>
          </p:cNvPr>
          <p:cNvSpPr>
            <a:spLocks noChangeAspect="1"/>
          </p:cNvSpPr>
          <p:nvPr>
            <p:custDataLst>
              <p:tags r:id="rId30"/>
            </p:custDataLst>
          </p:nvPr>
        </p:nvSpPr>
        <p:spPr>
          <a:xfrm>
            <a:off x="9591611" y="3530562"/>
            <a:ext cx="567771" cy="567771"/>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grpSp>
        <p:nvGrpSpPr>
          <p:cNvPr id="113" name="Group 112">
            <a:extLst>
              <a:ext uri="{FF2B5EF4-FFF2-40B4-BE49-F238E27FC236}">
                <a16:creationId xmlns:a16="http://schemas.microsoft.com/office/drawing/2014/main" id="{A0A23F53-4C5C-4CBC-98FD-C9212B023C08}"/>
              </a:ext>
            </a:extLst>
          </p:cNvPr>
          <p:cNvGrpSpPr>
            <a:grpSpLocks noChangeAspect="1"/>
          </p:cNvGrpSpPr>
          <p:nvPr>
            <p:custDataLst>
              <p:tags r:id="rId31"/>
            </p:custDataLst>
          </p:nvPr>
        </p:nvGrpSpPr>
        <p:grpSpPr>
          <a:xfrm>
            <a:off x="1159377" y="3595909"/>
            <a:ext cx="274320" cy="385025"/>
            <a:chOff x="1693649" y="4604326"/>
            <a:chExt cx="153670" cy="215685"/>
          </a:xfrm>
        </p:grpSpPr>
        <p:sp>
          <p:nvSpPr>
            <p:cNvPr id="114" name="object 319">
              <a:extLst>
                <a:ext uri="{FF2B5EF4-FFF2-40B4-BE49-F238E27FC236}">
                  <a16:creationId xmlns:a16="http://schemas.microsoft.com/office/drawing/2014/main" id="{45F77D1F-5C6F-7C64-A484-A2411D4ED6A2}"/>
                </a:ext>
              </a:extLst>
            </p:cNvPr>
            <p:cNvSpPr/>
            <p:nvPr/>
          </p:nvSpPr>
          <p:spPr>
            <a:xfrm>
              <a:off x="1693649" y="4684121"/>
              <a:ext cx="153670" cy="135890"/>
            </a:xfrm>
            <a:custGeom>
              <a:avLst/>
              <a:gdLst/>
              <a:ahLst/>
              <a:cxnLst/>
              <a:rect l="l" t="t" r="r" b="b"/>
              <a:pathLst>
                <a:path w="153670" h="135889">
                  <a:moveTo>
                    <a:pt x="153416" y="126174"/>
                  </a:moveTo>
                  <a:lnTo>
                    <a:pt x="153416" y="131521"/>
                  </a:lnTo>
                  <a:lnTo>
                    <a:pt x="149085" y="135864"/>
                  </a:lnTo>
                  <a:lnTo>
                    <a:pt x="143725" y="135864"/>
                  </a:lnTo>
                  <a:lnTo>
                    <a:pt x="9690" y="135864"/>
                  </a:lnTo>
                  <a:lnTo>
                    <a:pt x="4343" y="135864"/>
                  </a:lnTo>
                  <a:lnTo>
                    <a:pt x="0" y="131521"/>
                  </a:lnTo>
                  <a:lnTo>
                    <a:pt x="0" y="126174"/>
                  </a:lnTo>
                  <a:lnTo>
                    <a:pt x="0" y="9690"/>
                  </a:lnTo>
                  <a:lnTo>
                    <a:pt x="0" y="4343"/>
                  </a:lnTo>
                  <a:lnTo>
                    <a:pt x="4343" y="0"/>
                  </a:lnTo>
                  <a:lnTo>
                    <a:pt x="9690" y="0"/>
                  </a:lnTo>
                  <a:lnTo>
                    <a:pt x="143725" y="0"/>
                  </a:lnTo>
                  <a:lnTo>
                    <a:pt x="149085" y="0"/>
                  </a:lnTo>
                  <a:lnTo>
                    <a:pt x="153416" y="4343"/>
                  </a:lnTo>
                  <a:lnTo>
                    <a:pt x="153416" y="9690"/>
                  </a:lnTo>
                  <a:lnTo>
                    <a:pt x="153416" y="126174"/>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15" name="object 320">
              <a:extLst>
                <a:ext uri="{FF2B5EF4-FFF2-40B4-BE49-F238E27FC236}">
                  <a16:creationId xmlns:a16="http://schemas.microsoft.com/office/drawing/2014/main" id="{9DB3FD63-FB75-5556-18C6-DC9F78E82C36}"/>
                </a:ext>
              </a:extLst>
            </p:cNvPr>
            <p:cNvSpPr/>
            <p:nvPr/>
          </p:nvSpPr>
          <p:spPr>
            <a:xfrm>
              <a:off x="1710786" y="4604326"/>
              <a:ext cx="119380" cy="80010"/>
            </a:xfrm>
            <a:custGeom>
              <a:avLst/>
              <a:gdLst/>
              <a:ahLst/>
              <a:cxnLst/>
              <a:rect l="l" t="t" r="r" b="b"/>
              <a:pathLst>
                <a:path w="119379" h="80010">
                  <a:moveTo>
                    <a:pt x="119138" y="79794"/>
                  </a:moveTo>
                  <a:lnTo>
                    <a:pt x="98526" y="79794"/>
                  </a:lnTo>
                  <a:lnTo>
                    <a:pt x="98526" y="59563"/>
                  </a:lnTo>
                  <a:lnTo>
                    <a:pt x="95462" y="44409"/>
                  </a:lnTo>
                  <a:lnTo>
                    <a:pt x="87109" y="32023"/>
                  </a:lnTo>
                  <a:lnTo>
                    <a:pt x="74727" y="23665"/>
                  </a:lnTo>
                  <a:lnTo>
                    <a:pt x="59575" y="20599"/>
                  </a:lnTo>
                  <a:lnTo>
                    <a:pt x="44422" y="23665"/>
                  </a:lnTo>
                  <a:lnTo>
                    <a:pt x="32035" y="32023"/>
                  </a:lnTo>
                  <a:lnTo>
                    <a:pt x="23678" y="44409"/>
                  </a:lnTo>
                  <a:lnTo>
                    <a:pt x="20612" y="59563"/>
                  </a:lnTo>
                  <a:lnTo>
                    <a:pt x="20612" y="79794"/>
                  </a:lnTo>
                  <a:lnTo>
                    <a:pt x="0" y="79794"/>
                  </a:lnTo>
                  <a:lnTo>
                    <a:pt x="0" y="59563"/>
                  </a:lnTo>
                  <a:lnTo>
                    <a:pt x="4690" y="36400"/>
                  </a:lnTo>
                  <a:lnTo>
                    <a:pt x="17472" y="17465"/>
                  </a:lnTo>
                  <a:lnTo>
                    <a:pt x="36411" y="4688"/>
                  </a:lnTo>
                  <a:lnTo>
                    <a:pt x="59575" y="0"/>
                  </a:lnTo>
                  <a:lnTo>
                    <a:pt x="82737" y="4688"/>
                  </a:lnTo>
                  <a:lnTo>
                    <a:pt x="101673" y="17465"/>
                  </a:lnTo>
                  <a:lnTo>
                    <a:pt x="114450" y="36400"/>
                  </a:lnTo>
                  <a:lnTo>
                    <a:pt x="119138" y="59563"/>
                  </a:lnTo>
                  <a:lnTo>
                    <a:pt x="119138" y="79794"/>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grpSp>
      <p:grpSp>
        <p:nvGrpSpPr>
          <p:cNvPr id="116" name="Group 115">
            <a:extLst>
              <a:ext uri="{FF2B5EF4-FFF2-40B4-BE49-F238E27FC236}">
                <a16:creationId xmlns:a16="http://schemas.microsoft.com/office/drawing/2014/main" id="{E40DF995-8B93-6333-2B2F-1E2FA0678244}"/>
              </a:ext>
            </a:extLst>
          </p:cNvPr>
          <p:cNvGrpSpPr>
            <a:grpSpLocks noChangeAspect="1"/>
          </p:cNvGrpSpPr>
          <p:nvPr>
            <p:custDataLst>
              <p:tags r:id="rId32"/>
            </p:custDataLst>
          </p:nvPr>
        </p:nvGrpSpPr>
        <p:grpSpPr>
          <a:xfrm>
            <a:off x="2546401" y="3618777"/>
            <a:ext cx="365661" cy="365760"/>
            <a:chOff x="9105568" y="731662"/>
            <a:chExt cx="602419" cy="602582"/>
          </a:xfrm>
        </p:grpSpPr>
        <p:sp>
          <p:nvSpPr>
            <p:cNvPr id="117" name="object 653">
              <a:extLst>
                <a:ext uri="{FF2B5EF4-FFF2-40B4-BE49-F238E27FC236}">
                  <a16:creationId xmlns:a16="http://schemas.microsoft.com/office/drawing/2014/main" id="{BAB4F0F2-CA0A-D185-69E9-1FBC98A888AA}"/>
                </a:ext>
              </a:extLst>
            </p:cNvPr>
            <p:cNvSpPr/>
            <p:nvPr/>
          </p:nvSpPr>
          <p:spPr>
            <a:xfrm>
              <a:off x="9105568" y="1033889"/>
              <a:ext cx="296545" cy="300355"/>
            </a:xfrm>
            <a:custGeom>
              <a:avLst/>
              <a:gdLst/>
              <a:ahLst/>
              <a:cxnLst/>
              <a:rect l="l" t="t" r="r" b="b"/>
              <a:pathLst>
                <a:path w="296545" h="300355">
                  <a:moveTo>
                    <a:pt x="73120" y="277571"/>
                  </a:moveTo>
                  <a:lnTo>
                    <a:pt x="29254" y="238023"/>
                  </a:lnTo>
                  <a:lnTo>
                    <a:pt x="8232" y="209661"/>
                  </a:lnTo>
                  <a:lnTo>
                    <a:pt x="0" y="176590"/>
                  </a:lnTo>
                  <a:lnTo>
                    <a:pt x="4769" y="142847"/>
                  </a:lnTo>
                  <a:lnTo>
                    <a:pt x="22752" y="112471"/>
                  </a:lnTo>
                  <a:lnTo>
                    <a:pt x="97783" y="29248"/>
                  </a:lnTo>
                  <a:lnTo>
                    <a:pt x="126147" y="8228"/>
                  </a:lnTo>
                  <a:lnTo>
                    <a:pt x="159223" y="0"/>
                  </a:lnTo>
                  <a:lnTo>
                    <a:pt x="192970" y="4773"/>
                  </a:lnTo>
                  <a:lnTo>
                    <a:pt x="223348" y="22758"/>
                  </a:lnTo>
                  <a:lnTo>
                    <a:pt x="267214" y="62306"/>
                  </a:lnTo>
                  <a:lnTo>
                    <a:pt x="288234" y="90660"/>
                  </a:lnTo>
                  <a:lnTo>
                    <a:pt x="296462" y="123729"/>
                  </a:lnTo>
                  <a:lnTo>
                    <a:pt x="291688" y="157475"/>
                  </a:lnTo>
                  <a:lnTo>
                    <a:pt x="273704" y="187858"/>
                  </a:lnTo>
                  <a:lnTo>
                    <a:pt x="198672" y="271068"/>
                  </a:lnTo>
                  <a:lnTo>
                    <a:pt x="170316" y="292096"/>
                  </a:lnTo>
                  <a:lnTo>
                    <a:pt x="137244" y="300328"/>
                  </a:lnTo>
                  <a:lnTo>
                    <a:pt x="103498" y="295555"/>
                  </a:lnTo>
                  <a:lnTo>
                    <a:pt x="73120" y="277571"/>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18" name="object 654">
              <a:extLst>
                <a:ext uri="{FF2B5EF4-FFF2-40B4-BE49-F238E27FC236}">
                  <a16:creationId xmlns:a16="http://schemas.microsoft.com/office/drawing/2014/main" id="{8D780797-2A95-483F-0C9C-5670BA28E6DB}"/>
                </a:ext>
              </a:extLst>
            </p:cNvPr>
            <p:cNvSpPr/>
            <p:nvPr/>
          </p:nvSpPr>
          <p:spPr>
            <a:xfrm>
              <a:off x="9170609" y="1089323"/>
              <a:ext cx="176530" cy="179070"/>
            </a:xfrm>
            <a:custGeom>
              <a:avLst/>
              <a:gdLst/>
              <a:ahLst/>
              <a:cxnLst/>
              <a:rect l="l" t="t" r="r" b="b"/>
              <a:pathLst>
                <a:path w="176529" h="179069">
                  <a:moveTo>
                    <a:pt x="45026" y="165527"/>
                  </a:moveTo>
                  <a:lnTo>
                    <a:pt x="16717" y="139987"/>
                  </a:lnTo>
                  <a:lnTo>
                    <a:pt x="4703" y="123784"/>
                  </a:lnTo>
                  <a:lnTo>
                    <a:pt x="0" y="104887"/>
                  </a:lnTo>
                  <a:lnTo>
                    <a:pt x="2728" y="85605"/>
                  </a:lnTo>
                  <a:lnTo>
                    <a:pt x="13009" y="68245"/>
                  </a:lnTo>
                  <a:lnTo>
                    <a:pt x="59466" y="16708"/>
                  </a:lnTo>
                  <a:lnTo>
                    <a:pt x="75671" y="4700"/>
                  </a:lnTo>
                  <a:lnTo>
                    <a:pt x="94570" y="0"/>
                  </a:lnTo>
                  <a:lnTo>
                    <a:pt x="113853" y="2726"/>
                  </a:lnTo>
                  <a:lnTo>
                    <a:pt x="131208" y="13000"/>
                  </a:lnTo>
                  <a:lnTo>
                    <a:pt x="159529" y="38527"/>
                  </a:lnTo>
                  <a:lnTo>
                    <a:pt x="171537" y="54737"/>
                  </a:lnTo>
                  <a:lnTo>
                    <a:pt x="176239" y="73637"/>
                  </a:lnTo>
                  <a:lnTo>
                    <a:pt x="173516" y="92921"/>
                  </a:lnTo>
                  <a:lnTo>
                    <a:pt x="163250" y="110282"/>
                  </a:lnTo>
                  <a:lnTo>
                    <a:pt x="116768" y="161818"/>
                  </a:lnTo>
                  <a:lnTo>
                    <a:pt x="100565" y="173826"/>
                  </a:lnTo>
                  <a:lnTo>
                    <a:pt x="81668" y="178527"/>
                  </a:lnTo>
                  <a:lnTo>
                    <a:pt x="62386" y="175800"/>
                  </a:lnTo>
                  <a:lnTo>
                    <a:pt x="45026" y="165527"/>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19" name="object 655">
              <a:extLst>
                <a:ext uri="{FF2B5EF4-FFF2-40B4-BE49-F238E27FC236}">
                  <a16:creationId xmlns:a16="http://schemas.microsoft.com/office/drawing/2014/main" id="{6592FE3F-1F2A-38AF-5BDA-240169571769}"/>
                </a:ext>
              </a:extLst>
            </p:cNvPr>
            <p:cNvSpPr/>
            <p:nvPr/>
          </p:nvSpPr>
          <p:spPr>
            <a:xfrm>
              <a:off x="9411442" y="731662"/>
              <a:ext cx="296545" cy="300355"/>
            </a:xfrm>
            <a:custGeom>
              <a:avLst/>
              <a:gdLst/>
              <a:ahLst/>
              <a:cxnLst/>
              <a:rect l="l" t="t" r="r" b="b"/>
              <a:pathLst>
                <a:path w="296545" h="300355">
                  <a:moveTo>
                    <a:pt x="223342" y="22758"/>
                  </a:moveTo>
                  <a:lnTo>
                    <a:pt x="267208" y="62306"/>
                  </a:lnTo>
                  <a:lnTo>
                    <a:pt x="288230" y="90667"/>
                  </a:lnTo>
                  <a:lnTo>
                    <a:pt x="296462" y="123739"/>
                  </a:lnTo>
                  <a:lnTo>
                    <a:pt x="291693" y="157482"/>
                  </a:lnTo>
                  <a:lnTo>
                    <a:pt x="273710" y="187858"/>
                  </a:lnTo>
                  <a:lnTo>
                    <a:pt x="198678" y="271081"/>
                  </a:lnTo>
                  <a:lnTo>
                    <a:pt x="170315" y="292101"/>
                  </a:lnTo>
                  <a:lnTo>
                    <a:pt x="137239" y="300329"/>
                  </a:lnTo>
                  <a:lnTo>
                    <a:pt x="103491" y="295555"/>
                  </a:lnTo>
                  <a:lnTo>
                    <a:pt x="73113" y="277571"/>
                  </a:lnTo>
                  <a:lnTo>
                    <a:pt x="29248" y="238023"/>
                  </a:lnTo>
                  <a:lnTo>
                    <a:pt x="8228" y="209663"/>
                  </a:lnTo>
                  <a:lnTo>
                    <a:pt x="0" y="176595"/>
                  </a:lnTo>
                  <a:lnTo>
                    <a:pt x="4773" y="142852"/>
                  </a:lnTo>
                  <a:lnTo>
                    <a:pt x="22758" y="112471"/>
                  </a:lnTo>
                  <a:lnTo>
                    <a:pt x="97777" y="29248"/>
                  </a:lnTo>
                  <a:lnTo>
                    <a:pt x="126140" y="8228"/>
                  </a:lnTo>
                  <a:lnTo>
                    <a:pt x="159216" y="0"/>
                  </a:lnTo>
                  <a:lnTo>
                    <a:pt x="192964" y="4773"/>
                  </a:lnTo>
                  <a:lnTo>
                    <a:pt x="223342" y="22758"/>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0" name="object 656">
              <a:extLst>
                <a:ext uri="{FF2B5EF4-FFF2-40B4-BE49-F238E27FC236}">
                  <a16:creationId xmlns:a16="http://schemas.microsoft.com/office/drawing/2014/main" id="{BC2BC6A0-6A57-99A2-5692-D3FEA8CB5FA3}"/>
                </a:ext>
              </a:extLst>
            </p:cNvPr>
            <p:cNvSpPr/>
            <p:nvPr/>
          </p:nvSpPr>
          <p:spPr>
            <a:xfrm>
              <a:off x="9466621" y="798027"/>
              <a:ext cx="176530" cy="179070"/>
            </a:xfrm>
            <a:custGeom>
              <a:avLst/>
              <a:gdLst/>
              <a:ahLst/>
              <a:cxnLst/>
              <a:rect l="l" t="t" r="r" b="b"/>
              <a:pathLst>
                <a:path w="176529" h="179069">
                  <a:moveTo>
                    <a:pt x="131217" y="13004"/>
                  </a:moveTo>
                  <a:lnTo>
                    <a:pt x="159526" y="38544"/>
                  </a:lnTo>
                  <a:lnTo>
                    <a:pt x="171541" y="54747"/>
                  </a:lnTo>
                  <a:lnTo>
                    <a:pt x="176244" y="73644"/>
                  </a:lnTo>
                  <a:lnTo>
                    <a:pt x="173515" y="92926"/>
                  </a:lnTo>
                  <a:lnTo>
                    <a:pt x="163234" y="110286"/>
                  </a:lnTo>
                  <a:lnTo>
                    <a:pt x="116778" y="161823"/>
                  </a:lnTo>
                  <a:lnTo>
                    <a:pt x="100573" y="173831"/>
                  </a:lnTo>
                  <a:lnTo>
                    <a:pt x="81673" y="178531"/>
                  </a:lnTo>
                  <a:lnTo>
                    <a:pt x="62390" y="175805"/>
                  </a:lnTo>
                  <a:lnTo>
                    <a:pt x="45035" y="165531"/>
                  </a:lnTo>
                  <a:lnTo>
                    <a:pt x="16714" y="140004"/>
                  </a:lnTo>
                  <a:lnTo>
                    <a:pt x="4701" y="123794"/>
                  </a:lnTo>
                  <a:lnTo>
                    <a:pt x="0" y="104894"/>
                  </a:lnTo>
                  <a:lnTo>
                    <a:pt x="2725" y="85610"/>
                  </a:lnTo>
                  <a:lnTo>
                    <a:pt x="12993" y="68249"/>
                  </a:lnTo>
                  <a:lnTo>
                    <a:pt x="59475" y="16713"/>
                  </a:lnTo>
                  <a:lnTo>
                    <a:pt x="75678" y="4700"/>
                  </a:lnTo>
                  <a:lnTo>
                    <a:pt x="94575" y="0"/>
                  </a:lnTo>
                  <a:lnTo>
                    <a:pt x="113857" y="2729"/>
                  </a:lnTo>
                  <a:lnTo>
                    <a:pt x="131217" y="13004"/>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1" name="object 657">
              <a:extLst>
                <a:ext uri="{FF2B5EF4-FFF2-40B4-BE49-F238E27FC236}">
                  <a16:creationId xmlns:a16="http://schemas.microsoft.com/office/drawing/2014/main" id="{DD0E91E6-F601-F9B6-C276-7D67CBB13EDE}"/>
                </a:ext>
              </a:extLst>
            </p:cNvPr>
            <p:cNvSpPr/>
            <p:nvPr/>
          </p:nvSpPr>
          <p:spPr>
            <a:xfrm>
              <a:off x="9288058" y="911439"/>
              <a:ext cx="241300" cy="233045"/>
            </a:xfrm>
            <a:custGeom>
              <a:avLst/>
              <a:gdLst/>
              <a:ahLst/>
              <a:cxnLst/>
              <a:rect l="l" t="t" r="r" b="b"/>
              <a:pathLst>
                <a:path w="241300" h="233044">
                  <a:moveTo>
                    <a:pt x="204890" y="0"/>
                  </a:moveTo>
                  <a:lnTo>
                    <a:pt x="10960" y="170035"/>
                  </a:lnTo>
                  <a:lnTo>
                    <a:pt x="0" y="194705"/>
                  </a:lnTo>
                  <a:lnTo>
                    <a:pt x="2244" y="208043"/>
                  </a:lnTo>
                  <a:lnTo>
                    <a:pt x="9690" y="219908"/>
                  </a:lnTo>
                  <a:lnTo>
                    <a:pt x="11429" y="221737"/>
                  </a:lnTo>
                  <a:lnTo>
                    <a:pt x="22900" y="229781"/>
                  </a:lnTo>
                  <a:lnTo>
                    <a:pt x="36106" y="232702"/>
                  </a:lnTo>
                  <a:lnTo>
                    <a:pt x="49445" y="230457"/>
                  </a:lnTo>
                  <a:lnTo>
                    <a:pt x="61315" y="223007"/>
                  </a:lnTo>
                  <a:lnTo>
                    <a:pt x="230035" y="62669"/>
                  </a:lnTo>
                  <a:lnTo>
                    <a:pt x="238079" y="51199"/>
                  </a:lnTo>
                  <a:lnTo>
                    <a:pt x="240999" y="37995"/>
                  </a:lnTo>
                  <a:lnTo>
                    <a:pt x="238755" y="24659"/>
                  </a:lnTo>
                  <a:lnTo>
                    <a:pt x="231305" y="12796"/>
                  </a:lnTo>
                  <a:lnTo>
                    <a:pt x="229565" y="10955"/>
                  </a:lnTo>
                  <a:lnTo>
                    <a:pt x="218095" y="2918"/>
                  </a:lnTo>
                  <a:lnTo>
                    <a:pt x="204890" y="0"/>
                  </a:lnTo>
                  <a:close/>
                </a:path>
              </a:pathLst>
            </a:custGeom>
            <a:solidFill>
              <a:srgbClr val="FFFFFF"/>
            </a:solidFill>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2" name="object 658">
              <a:extLst>
                <a:ext uri="{FF2B5EF4-FFF2-40B4-BE49-F238E27FC236}">
                  <a16:creationId xmlns:a16="http://schemas.microsoft.com/office/drawing/2014/main" id="{9F97CBD1-5232-24BF-78EA-2A8041D6DF8E}"/>
                </a:ext>
              </a:extLst>
            </p:cNvPr>
            <p:cNvSpPr/>
            <p:nvPr/>
          </p:nvSpPr>
          <p:spPr>
            <a:xfrm>
              <a:off x="9288058" y="911439"/>
              <a:ext cx="241300" cy="233045"/>
            </a:xfrm>
            <a:custGeom>
              <a:avLst/>
              <a:gdLst/>
              <a:ahLst/>
              <a:cxnLst/>
              <a:rect l="l" t="t" r="r" b="b"/>
              <a:pathLst>
                <a:path w="241300" h="233044">
                  <a:moveTo>
                    <a:pt x="11429" y="221737"/>
                  </a:moveTo>
                  <a:lnTo>
                    <a:pt x="9690" y="219908"/>
                  </a:lnTo>
                  <a:lnTo>
                    <a:pt x="2244" y="208043"/>
                  </a:lnTo>
                  <a:lnTo>
                    <a:pt x="0" y="194705"/>
                  </a:lnTo>
                  <a:lnTo>
                    <a:pt x="2917" y="181500"/>
                  </a:lnTo>
                  <a:lnTo>
                    <a:pt x="10960" y="170035"/>
                  </a:lnTo>
                  <a:lnTo>
                    <a:pt x="179692" y="9685"/>
                  </a:lnTo>
                  <a:lnTo>
                    <a:pt x="191555" y="2241"/>
                  </a:lnTo>
                  <a:lnTo>
                    <a:pt x="204890" y="0"/>
                  </a:lnTo>
                  <a:lnTo>
                    <a:pt x="218095" y="2918"/>
                  </a:lnTo>
                  <a:lnTo>
                    <a:pt x="229565" y="10955"/>
                  </a:lnTo>
                  <a:lnTo>
                    <a:pt x="231305" y="12796"/>
                  </a:lnTo>
                  <a:lnTo>
                    <a:pt x="238755" y="24659"/>
                  </a:lnTo>
                  <a:lnTo>
                    <a:pt x="240999" y="37995"/>
                  </a:lnTo>
                  <a:lnTo>
                    <a:pt x="238079" y="51199"/>
                  </a:lnTo>
                  <a:lnTo>
                    <a:pt x="230035" y="62669"/>
                  </a:lnTo>
                  <a:lnTo>
                    <a:pt x="61315" y="223007"/>
                  </a:lnTo>
                  <a:lnTo>
                    <a:pt x="49445" y="230457"/>
                  </a:lnTo>
                  <a:lnTo>
                    <a:pt x="36106" y="232702"/>
                  </a:lnTo>
                  <a:lnTo>
                    <a:pt x="22900" y="229781"/>
                  </a:lnTo>
                  <a:lnTo>
                    <a:pt x="11429" y="221737"/>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grpSp>
      <p:grpSp>
        <p:nvGrpSpPr>
          <p:cNvPr id="123" name="Group 122">
            <a:extLst>
              <a:ext uri="{FF2B5EF4-FFF2-40B4-BE49-F238E27FC236}">
                <a16:creationId xmlns:a16="http://schemas.microsoft.com/office/drawing/2014/main" id="{4F40C177-6693-035A-693B-F067B4479F59}"/>
              </a:ext>
            </a:extLst>
          </p:cNvPr>
          <p:cNvGrpSpPr>
            <a:grpSpLocks noChangeAspect="1"/>
          </p:cNvGrpSpPr>
          <p:nvPr>
            <p:custDataLst>
              <p:tags r:id="rId33"/>
            </p:custDataLst>
          </p:nvPr>
        </p:nvGrpSpPr>
        <p:grpSpPr>
          <a:xfrm>
            <a:off x="3979718" y="3667323"/>
            <a:ext cx="338328" cy="237087"/>
            <a:chOff x="8381644" y="4658296"/>
            <a:chExt cx="452717" cy="317246"/>
          </a:xfrm>
        </p:grpSpPr>
        <p:sp>
          <p:nvSpPr>
            <p:cNvPr id="124" name="object 1762">
              <a:extLst>
                <a:ext uri="{FF2B5EF4-FFF2-40B4-BE49-F238E27FC236}">
                  <a16:creationId xmlns:a16="http://schemas.microsoft.com/office/drawing/2014/main" id="{8B49681F-25F1-5EA8-8429-C2BDC4D8D271}"/>
                </a:ext>
              </a:extLst>
            </p:cNvPr>
            <p:cNvSpPr/>
            <p:nvPr/>
          </p:nvSpPr>
          <p:spPr>
            <a:xfrm>
              <a:off x="8457717" y="4658296"/>
              <a:ext cx="150495" cy="79375"/>
            </a:xfrm>
            <a:custGeom>
              <a:avLst/>
              <a:gdLst/>
              <a:ahLst/>
              <a:cxnLst/>
              <a:rect l="l" t="t" r="r" b="b"/>
              <a:pathLst>
                <a:path w="150495" h="79375">
                  <a:moveTo>
                    <a:pt x="150380" y="79286"/>
                  </a:moveTo>
                  <a:lnTo>
                    <a:pt x="0" y="79286"/>
                  </a:lnTo>
                  <a:lnTo>
                    <a:pt x="0" y="0"/>
                  </a:lnTo>
                  <a:lnTo>
                    <a:pt x="150380" y="0"/>
                  </a:lnTo>
                  <a:lnTo>
                    <a:pt x="150380" y="79286"/>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5" name="object 1763">
              <a:extLst>
                <a:ext uri="{FF2B5EF4-FFF2-40B4-BE49-F238E27FC236}">
                  <a16:creationId xmlns:a16="http://schemas.microsoft.com/office/drawing/2014/main" id="{590C87D9-1B3F-5328-A845-2D7ED83410F0}"/>
                </a:ext>
              </a:extLst>
            </p:cNvPr>
            <p:cNvSpPr/>
            <p:nvPr/>
          </p:nvSpPr>
          <p:spPr>
            <a:xfrm>
              <a:off x="8608974" y="4658296"/>
              <a:ext cx="150495" cy="79375"/>
            </a:xfrm>
            <a:custGeom>
              <a:avLst/>
              <a:gdLst/>
              <a:ahLst/>
              <a:cxnLst/>
              <a:rect l="l" t="t" r="r" b="b"/>
              <a:pathLst>
                <a:path w="150495" h="79375">
                  <a:moveTo>
                    <a:pt x="150380" y="79286"/>
                  </a:moveTo>
                  <a:lnTo>
                    <a:pt x="0" y="79286"/>
                  </a:lnTo>
                  <a:lnTo>
                    <a:pt x="0" y="0"/>
                  </a:lnTo>
                  <a:lnTo>
                    <a:pt x="150380" y="0"/>
                  </a:lnTo>
                  <a:lnTo>
                    <a:pt x="150380" y="79286"/>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6" name="object 1765">
              <a:extLst>
                <a:ext uri="{FF2B5EF4-FFF2-40B4-BE49-F238E27FC236}">
                  <a16:creationId xmlns:a16="http://schemas.microsoft.com/office/drawing/2014/main" id="{9BC9A8D9-C70A-769E-4F8A-7856B3331ECF}"/>
                </a:ext>
              </a:extLst>
            </p:cNvPr>
            <p:cNvSpPr/>
            <p:nvPr/>
          </p:nvSpPr>
          <p:spPr>
            <a:xfrm>
              <a:off x="8381936" y="4737582"/>
              <a:ext cx="150495" cy="79375"/>
            </a:xfrm>
            <a:custGeom>
              <a:avLst/>
              <a:gdLst/>
              <a:ahLst/>
              <a:cxnLst/>
              <a:rect l="l" t="t" r="r" b="b"/>
              <a:pathLst>
                <a:path w="150495" h="79375">
                  <a:moveTo>
                    <a:pt x="150380" y="79298"/>
                  </a:moveTo>
                  <a:lnTo>
                    <a:pt x="0" y="79298"/>
                  </a:lnTo>
                  <a:lnTo>
                    <a:pt x="0" y="0"/>
                  </a:lnTo>
                  <a:lnTo>
                    <a:pt x="150380" y="0"/>
                  </a:lnTo>
                  <a:lnTo>
                    <a:pt x="150380" y="79298"/>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7" name="object 1766">
              <a:extLst>
                <a:ext uri="{FF2B5EF4-FFF2-40B4-BE49-F238E27FC236}">
                  <a16:creationId xmlns:a16="http://schemas.microsoft.com/office/drawing/2014/main" id="{CFFE658C-72D5-2C32-E2D4-6CD26340250C}"/>
                </a:ext>
              </a:extLst>
            </p:cNvPr>
            <p:cNvSpPr/>
            <p:nvPr/>
          </p:nvSpPr>
          <p:spPr>
            <a:xfrm>
              <a:off x="8533193" y="4737582"/>
              <a:ext cx="150495" cy="79375"/>
            </a:xfrm>
            <a:custGeom>
              <a:avLst/>
              <a:gdLst/>
              <a:ahLst/>
              <a:cxnLst/>
              <a:rect l="l" t="t" r="r" b="b"/>
              <a:pathLst>
                <a:path w="150495" h="79375">
                  <a:moveTo>
                    <a:pt x="150380" y="79298"/>
                  </a:moveTo>
                  <a:lnTo>
                    <a:pt x="0" y="79298"/>
                  </a:lnTo>
                  <a:lnTo>
                    <a:pt x="0" y="0"/>
                  </a:lnTo>
                  <a:lnTo>
                    <a:pt x="150380" y="0"/>
                  </a:lnTo>
                  <a:lnTo>
                    <a:pt x="150380" y="79298"/>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8" name="object 1767">
              <a:extLst>
                <a:ext uri="{FF2B5EF4-FFF2-40B4-BE49-F238E27FC236}">
                  <a16:creationId xmlns:a16="http://schemas.microsoft.com/office/drawing/2014/main" id="{258F8B50-E9A4-EF69-D929-8158B05F0DFD}"/>
                </a:ext>
              </a:extLst>
            </p:cNvPr>
            <p:cNvSpPr/>
            <p:nvPr/>
          </p:nvSpPr>
          <p:spPr>
            <a:xfrm>
              <a:off x="8683866" y="4737582"/>
              <a:ext cx="150495" cy="79375"/>
            </a:xfrm>
            <a:custGeom>
              <a:avLst/>
              <a:gdLst/>
              <a:ahLst/>
              <a:cxnLst/>
              <a:rect l="l" t="t" r="r" b="b"/>
              <a:pathLst>
                <a:path w="150495" h="79375">
                  <a:moveTo>
                    <a:pt x="150380" y="79298"/>
                  </a:moveTo>
                  <a:lnTo>
                    <a:pt x="0" y="79298"/>
                  </a:lnTo>
                  <a:lnTo>
                    <a:pt x="0" y="0"/>
                  </a:lnTo>
                  <a:lnTo>
                    <a:pt x="150380" y="0"/>
                  </a:lnTo>
                  <a:lnTo>
                    <a:pt x="150380" y="79298"/>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29" name="object 1768">
              <a:extLst>
                <a:ext uri="{FF2B5EF4-FFF2-40B4-BE49-F238E27FC236}">
                  <a16:creationId xmlns:a16="http://schemas.microsoft.com/office/drawing/2014/main" id="{C2AC6B09-90E0-CCEE-ACD3-4E63B179A421}"/>
                </a:ext>
              </a:extLst>
            </p:cNvPr>
            <p:cNvSpPr/>
            <p:nvPr/>
          </p:nvSpPr>
          <p:spPr>
            <a:xfrm>
              <a:off x="8457412" y="4816881"/>
              <a:ext cx="150495" cy="79375"/>
            </a:xfrm>
            <a:custGeom>
              <a:avLst/>
              <a:gdLst/>
              <a:ahLst/>
              <a:cxnLst/>
              <a:rect l="l" t="t" r="r" b="b"/>
              <a:pathLst>
                <a:path w="150495" h="79375">
                  <a:moveTo>
                    <a:pt x="150393" y="79286"/>
                  </a:moveTo>
                  <a:lnTo>
                    <a:pt x="0" y="79286"/>
                  </a:lnTo>
                  <a:lnTo>
                    <a:pt x="0" y="0"/>
                  </a:lnTo>
                  <a:lnTo>
                    <a:pt x="150393" y="0"/>
                  </a:lnTo>
                  <a:lnTo>
                    <a:pt x="150393" y="79286"/>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30" name="object 1769">
              <a:extLst>
                <a:ext uri="{FF2B5EF4-FFF2-40B4-BE49-F238E27FC236}">
                  <a16:creationId xmlns:a16="http://schemas.microsoft.com/office/drawing/2014/main" id="{D5D72216-7D24-0C7F-9083-599A832550E6}"/>
                </a:ext>
              </a:extLst>
            </p:cNvPr>
            <p:cNvSpPr/>
            <p:nvPr/>
          </p:nvSpPr>
          <p:spPr>
            <a:xfrm>
              <a:off x="8608669" y="4816881"/>
              <a:ext cx="150495" cy="79375"/>
            </a:xfrm>
            <a:custGeom>
              <a:avLst/>
              <a:gdLst/>
              <a:ahLst/>
              <a:cxnLst/>
              <a:rect l="l" t="t" r="r" b="b"/>
              <a:pathLst>
                <a:path w="150495" h="79375">
                  <a:moveTo>
                    <a:pt x="150380" y="79286"/>
                  </a:moveTo>
                  <a:lnTo>
                    <a:pt x="0" y="79286"/>
                  </a:lnTo>
                  <a:lnTo>
                    <a:pt x="0" y="0"/>
                  </a:lnTo>
                  <a:lnTo>
                    <a:pt x="150380" y="0"/>
                  </a:lnTo>
                  <a:lnTo>
                    <a:pt x="150380" y="79286"/>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31" name="object 1771">
              <a:extLst>
                <a:ext uri="{FF2B5EF4-FFF2-40B4-BE49-F238E27FC236}">
                  <a16:creationId xmlns:a16="http://schemas.microsoft.com/office/drawing/2014/main" id="{2B7DAFA4-D7FA-32C6-C203-8771EA7341CE}"/>
                </a:ext>
              </a:extLst>
            </p:cNvPr>
            <p:cNvSpPr/>
            <p:nvPr/>
          </p:nvSpPr>
          <p:spPr>
            <a:xfrm>
              <a:off x="8381644" y="4896167"/>
              <a:ext cx="150495" cy="79375"/>
            </a:xfrm>
            <a:custGeom>
              <a:avLst/>
              <a:gdLst/>
              <a:ahLst/>
              <a:cxnLst/>
              <a:rect l="l" t="t" r="r" b="b"/>
              <a:pathLst>
                <a:path w="150495" h="79375">
                  <a:moveTo>
                    <a:pt x="150380" y="79298"/>
                  </a:moveTo>
                  <a:lnTo>
                    <a:pt x="0" y="79298"/>
                  </a:lnTo>
                  <a:lnTo>
                    <a:pt x="0" y="0"/>
                  </a:lnTo>
                  <a:lnTo>
                    <a:pt x="150380" y="0"/>
                  </a:lnTo>
                  <a:lnTo>
                    <a:pt x="150380" y="79298"/>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32" name="object 1772">
              <a:extLst>
                <a:ext uri="{FF2B5EF4-FFF2-40B4-BE49-F238E27FC236}">
                  <a16:creationId xmlns:a16="http://schemas.microsoft.com/office/drawing/2014/main" id="{36FBEC96-FA7C-DCDF-EAD1-B70CF0E9AD06}"/>
                </a:ext>
              </a:extLst>
            </p:cNvPr>
            <p:cNvSpPr/>
            <p:nvPr/>
          </p:nvSpPr>
          <p:spPr>
            <a:xfrm>
              <a:off x="8532901" y="4896167"/>
              <a:ext cx="150495" cy="79375"/>
            </a:xfrm>
            <a:custGeom>
              <a:avLst/>
              <a:gdLst/>
              <a:ahLst/>
              <a:cxnLst/>
              <a:rect l="l" t="t" r="r" b="b"/>
              <a:pathLst>
                <a:path w="150495" h="79375">
                  <a:moveTo>
                    <a:pt x="150393" y="79298"/>
                  </a:moveTo>
                  <a:lnTo>
                    <a:pt x="0" y="79298"/>
                  </a:lnTo>
                  <a:lnTo>
                    <a:pt x="0" y="0"/>
                  </a:lnTo>
                  <a:lnTo>
                    <a:pt x="150393" y="0"/>
                  </a:lnTo>
                  <a:lnTo>
                    <a:pt x="150393" y="79298"/>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33" name="object 1773">
              <a:extLst>
                <a:ext uri="{FF2B5EF4-FFF2-40B4-BE49-F238E27FC236}">
                  <a16:creationId xmlns:a16="http://schemas.microsoft.com/office/drawing/2014/main" id="{44DF6AC4-EFC6-EB9C-0D3D-02D32FB7C1CA}"/>
                </a:ext>
              </a:extLst>
            </p:cNvPr>
            <p:cNvSpPr/>
            <p:nvPr/>
          </p:nvSpPr>
          <p:spPr>
            <a:xfrm>
              <a:off x="8683573" y="4896167"/>
              <a:ext cx="150495" cy="79375"/>
            </a:xfrm>
            <a:custGeom>
              <a:avLst/>
              <a:gdLst/>
              <a:ahLst/>
              <a:cxnLst/>
              <a:rect l="l" t="t" r="r" b="b"/>
              <a:pathLst>
                <a:path w="150495" h="79375">
                  <a:moveTo>
                    <a:pt x="150380" y="79298"/>
                  </a:moveTo>
                  <a:lnTo>
                    <a:pt x="0" y="79298"/>
                  </a:lnTo>
                  <a:lnTo>
                    <a:pt x="0" y="0"/>
                  </a:lnTo>
                  <a:lnTo>
                    <a:pt x="150380" y="0"/>
                  </a:lnTo>
                  <a:lnTo>
                    <a:pt x="150380" y="79298"/>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grpSp>
      <p:grpSp>
        <p:nvGrpSpPr>
          <p:cNvPr id="134" name="Group 133">
            <a:extLst>
              <a:ext uri="{FF2B5EF4-FFF2-40B4-BE49-F238E27FC236}">
                <a16:creationId xmlns:a16="http://schemas.microsoft.com/office/drawing/2014/main" id="{BA3139DD-7E7A-239C-FB5E-29E82A711BB5}"/>
              </a:ext>
            </a:extLst>
          </p:cNvPr>
          <p:cNvGrpSpPr>
            <a:grpSpLocks noChangeAspect="1"/>
          </p:cNvGrpSpPr>
          <p:nvPr>
            <p:custDataLst>
              <p:tags r:id="rId34"/>
            </p:custDataLst>
          </p:nvPr>
        </p:nvGrpSpPr>
        <p:grpSpPr>
          <a:xfrm>
            <a:off x="5380292" y="3630634"/>
            <a:ext cx="365760" cy="366019"/>
            <a:chOff x="9831449" y="2179331"/>
            <a:chExt cx="519430" cy="519798"/>
          </a:xfrm>
        </p:grpSpPr>
        <p:sp>
          <p:nvSpPr>
            <p:cNvPr id="135" name="object 541">
              <a:extLst>
                <a:ext uri="{FF2B5EF4-FFF2-40B4-BE49-F238E27FC236}">
                  <a16:creationId xmlns:a16="http://schemas.microsoft.com/office/drawing/2014/main" id="{2CFAA405-FEA9-EDB2-1FA7-EB892219AD05}"/>
                </a:ext>
              </a:extLst>
            </p:cNvPr>
            <p:cNvSpPr>
              <a:spLocks noChangeAspect="1"/>
            </p:cNvSpPr>
            <p:nvPr/>
          </p:nvSpPr>
          <p:spPr>
            <a:xfrm>
              <a:off x="10091139" y="2179331"/>
              <a:ext cx="259715" cy="259715"/>
            </a:xfrm>
            <a:custGeom>
              <a:avLst/>
              <a:gdLst/>
              <a:ahLst/>
              <a:cxnLst/>
              <a:rect l="l" t="t" r="r" b="b"/>
              <a:pathLst>
                <a:path w="259715" h="259714">
                  <a:moveTo>
                    <a:pt x="154089" y="43713"/>
                  </a:moveTo>
                  <a:lnTo>
                    <a:pt x="177025" y="66636"/>
                  </a:lnTo>
                  <a:lnTo>
                    <a:pt x="37922" y="205790"/>
                  </a:lnTo>
                  <a:lnTo>
                    <a:pt x="53886" y="221780"/>
                  </a:lnTo>
                  <a:lnTo>
                    <a:pt x="193040" y="82664"/>
                  </a:lnTo>
                  <a:lnTo>
                    <a:pt x="215976" y="105600"/>
                  </a:lnTo>
                  <a:lnTo>
                    <a:pt x="76873" y="244754"/>
                  </a:lnTo>
                  <a:lnTo>
                    <a:pt x="91808" y="259689"/>
                  </a:lnTo>
                  <a:lnTo>
                    <a:pt x="240665" y="110845"/>
                  </a:lnTo>
                  <a:lnTo>
                    <a:pt x="259689" y="64909"/>
                  </a:lnTo>
                  <a:lnTo>
                    <a:pt x="254588" y="39642"/>
                  </a:lnTo>
                  <a:lnTo>
                    <a:pt x="240677" y="19010"/>
                  </a:lnTo>
                  <a:lnTo>
                    <a:pt x="220041" y="5100"/>
                  </a:lnTo>
                  <a:lnTo>
                    <a:pt x="194767" y="0"/>
                  </a:lnTo>
                  <a:lnTo>
                    <a:pt x="181673" y="1319"/>
                  </a:lnTo>
                  <a:lnTo>
                    <a:pt x="169481" y="5103"/>
                  </a:lnTo>
                  <a:lnTo>
                    <a:pt x="158451" y="11096"/>
                  </a:lnTo>
                  <a:lnTo>
                    <a:pt x="148844" y="19037"/>
                  </a:lnTo>
                  <a:lnTo>
                    <a:pt x="0" y="167881"/>
                  </a:lnTo>
                  <a:lnTo>
                    <a:pt x="14947" y="182816"/>
                  </a:lnTo>
                  <a:lnTo>
                    <a:pt x="154089" y="43713"/>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36" name="object 542">
              <a:extLst>
                <a:ext uri="{FF2B5EF4-FFF2-40B4-BE49-F238E27FC236}">
                  <a16:creationId xmlns:a16="http://schemas.microsoft.com/office/drawing/2014/main" id="{EC2F831C-E354-114F-EE5D-F4AD1BC03147}"/>
                </a:ext>
              </a:extLst>
            </p:cNvPr>
            <p:cNvSpPr>
              <a:spLocks noChangeAspect="1"/>
            </p:cNvSpPr>
            <p:nvPr/>
          </p:nvSpPr>
          <p:spPr>
            <a:xfrm>
              <a:off x="9831449" y="2471164"/>
              <a:ext cx="227965" cy="227965"/>
            </a:xfrm>
            <a:custGeom>
              <a:avLst/>
              <a:gdLst/>
              <a:ahLst/>
              <a:cxnLst/>
              <a:rect l="l" t="t" r="r" b="b"/>
              <a:pathLst>
                <a:path w="227965" h="227964">
                  <a:moveTo>
                    <a:pt x="89319" y="110680"/>
                  </a:moveTo>
                  <a:lnTo>
                    <a:pt x="51943" y="110680"/>
                  </a:lnTo>
                  <a:lnTo>
                    <a:pt x="0" y="200558"/>
                  </a:lnTo>
                  <a:lnTo>
                    <a:pt x="26987" y="227545"/>
                  </a:lnTo>
                  <a:lnTo>
                    <a:pt x="116865" y="175602"/>
                  </a:lnTo>
                  <a:lnTo>
                    <a:pt x="116865" y="138226"/>
                  </a:lnTo>
                  <a:lnTo>
                    <a:pt x="227558" y="27533"/>
                  </a:lnTo>
                  <a:lnTo>
                    <a:pt x="200012" y="0"/>
                  </a:lnTo>
                  <a:lnTo>
                    <a:pt x="89319" y="110680"/>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37" name="object 543">
              <a:extLst>
                <a:ext uri="{FF2B5EF4-FFF2-40B4-BE49-F238E27FC236}">
                  <a16:creationId xmlns:a16="http://schemas.microsoft.com/office/drawing/2014/main" id="{6A7C2822-50A8-3FF5-B53B-78D2DD3A4A8C}"/>
                </a:ext>
              </a:extLst>
            </p:cNvPr>
            <p:cNvSpPr>
              <a:spLocks noChangeAspect="1"/>
            </p:cNvSpPr>
            <p:nvPr/>
          </p:nvSpPr>
          <p:spPr>
            <a:xfrm>
              <a:off x="10243717" y="2591586"/>
              <a:ext cx="84455" cy="84455"/>
            </a:xfrm>
            <a:custGeom>
              <a:avLst/>
              <a:gdLst/>
              <a:ahLst/>
              <a:cxnLst/>
              <a:rect l="l" t="t" r="r" b="b"/>
              <a:pathLst>
                <a:path w="84454" h="84455">
                  <a:moveTo>
                    <a:pt x="42189" y="84404"/>
                  </a:moveTo>
                  <a:lnTo>
                    <a:pt x="25781" y="81081"/>
                  </a:lnTo>
                  <a:lnTo>
                    <a:pt x="12369" y="72028"/>
                  </a:lnTo>
                  <a:lnTo>
                    <a:pt x="3320" y="58611"/>
                  </a:lnTo>
                  <a:lnTo>
                    <a:pt x="0" y="42202"/>
                  </a:lnTo>
                  <a:lnTo>
                    <a:pt x="3320" y="25792"/>
                  </a:lnTo>
                  <a:lnTo>
                    <a:pt x="12369" y="12376"/>
                  </a:lnTo>
                  <a:lnTo>
                    <a:pt x="25781" y="3322"/>
                  </a:lnTo>
                  <a:lnTo>
                    <a:pt x="42189" y="0"/>
                  </a:lnTo>
                  <a:lnTo>
                    <a:pt x="58598" y="3322"/>
                  </a:lnTo>
                  <a:lnTo>
                    <a:pt x="72015" y="12376"/>
                  </a:lnTo>
                  <a:lnTo>
                    <a:pt x="81069" y="25792"/>
                  </a:lnTo>
                  <a:lnTo>
                    <a:pt x="84391" y="42202"/>
                  </a:lnTo>
                  <a:lnTo>
                    <a:pt x="81069" y="58611"/>
                  </a:lnTo>
                  <a:lnTo>
                    <a:pt x="72015" y="72028"/>
                  </a:lnTo>
                  <a:lnTo>
                    <a:pt x="58598" y="81081"/>
                  </a:lnTo>
                  <a:lnTo>
                    <a:pt x="42189" y="84404"/>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38" name="object 544">
              <a:extLst>
                <a:ext uri="{FF2B5EF4-FFF2-40B4-BE49-F238E27FC236}">
                  <a16:creationId xmlns:a16="http://schemas.microsoft.com/office/drawing/2014/main" id="{EEB3C3A8-EA96-A309-1723-F1317853D494}"/>
                </a:ext>
              </a:extLst>
            </p:cNvPr>
            <p:cNvSpPr>
              <a:spLocks noChangeAspect="1"/>
            </p:cNvSpPr>
            <p:nvPr/>
          </p:nvSpPr>
          <p:spPr>
            <a:xfrm>
              <a:off x="9831449" y="2179331"/>
              <a:ext cx="519430" cy="519430"/>
            </a:xfrm>
            <a:custGeom>
              <a:avLst/>
              <a:gdLst/>
              <a:ahLst/>
              <a:cxnLst/>
              <a:rect l="l" t="t" r="r" b="b"/>
              <a:pathLst>
                <a:path w="519429" h="519430">
                  <a:moveTo>
                    <a:pt x="231470" y="139649"/>
                  </a:moveTo>
                  <a:lnTo>
                    <a:pt x="232918" y="132270"/>
                  </a:lnTo>
                  <a:lnTo>
                    <a:pt x="233718" y="124675"/>
                  </a:lnTo>
                  <a:lnTo>
                    <a:pt x="233718" y="116852"/>
                  </a:lnTo>
                  <a:lnTo>
                    <a:pt x="224536" y="71366"/>
                  </a:lnTo>
                  <a:lnTo>
                    <a:pt x="199494" y="34223"/>
                  </a:lnTo>
                  <a:lnTo>
                    <a:pt x="162352" y="9182"/>
                  </a:lnTo>
                  <a:lnTo>
                    <a:pt x="116865" y="0"/>
                  </a:lnTo>
                  <a:lnTo>
                    <a:pt x="109054" y="0"/>
                  </a:lnTo>
                  <a:lnTo>
                    <a:pt x="101434" y="812"/>
                  </a:lnTo>
                  <a:lnTo>
                    <a:pt x="94056" y="2247"/>
                  </a:lnTo>
                  <a:lnTo>
                    <a:pt x="92837" y="3479"/>
                  </a:lnTo>
                  <a:lnTo>
                    <a:pt x="154901" y="65570"/>
                  </a:lnTo>
                  <a:lnTo>
                    <a:pt x="160459" y="73927"/>
                  </a:lnTo>
                  <a:lnTo>
                    <a:pt x="162312" y="83432"/>
                  </a:lnTo>
                  <a:lnTo>
                    <a:pt x="160459" y="92937"/>
                  </a:lnTo>
                  <a:lnTo>
                    <a:pt x="154901" y="101295"/>
                  </a:lnTo>
                  <a:lnTo>
                    <a:pt x="101307" y="154889"/>
                  </a:lnTo>
                  <a:lnTo>
                    <a:pt x="92950" y="160447"/>
                  </a:lnTo>
                  <a:lnTo>
                    <a:pt x="83445" y="162299"/>
                  </a:lnTo>
                  <a:lnTo>
                    <a:pt x="73940" y="160447"/>
                  </a:lnTo>
                  <a:lnTo>
                    <a:pt x="65582" y="154889"/>
                  </a:lnTo>
                  <a:lnTo>
                    <a:pt x="8077" y="97383"/>
                  </a:lnTo>
                  <a:lnTo>
                    <a:pt x="3479" y="92824"/>
                  </a:lnTo>
                  <a:lnTo>
                    <a:pt x="2260" y="94056"/>
                  </a:lnTo>
                  <a:lnTo>
                    <a:pt x="812" y="101434"/>
                  </a:lnTo>
                  <a:lnTo>
                    <a:pt x="0" y="109042"/>
                  </a:lnTo>
                  <a:lnTo>
                    <a:pt x="0" y="116852"/>
                  </a:lnTo>
                  <a:lnTo>
                    <a:pt x="9184" y="162341"/>
                  </a:lnTo>
                  <a:lnTo>
                    <a:pt x="34229" y="199488"/>
                  </a:lnTo>
                  <a:lnTo>
                    <a:pt x="71376" y="224534"/>
                  </a:lnTo>
                  <a:lnTo>
                    <a:pt x="116865" y="233718"/>
                  </a:lnTo>
                  <a:lnTo>
                    <a:pt x="124675" y="233718"/>
                  </a:lnTo>
                  <a:lnTo>
                    <a:pt x="132283" y="232905"/>
                  </a:lnTo>
                  <a:lnTo>
                    <a:pt x="139636" y="231457"/>
                  </a:lnTo>
                  <a:lnTo>
                    <a:pt x="408508" y="500303"/>
                  </a:lnTo>
                  <a:lnTo>
                    <a:pt x="418130" y="508251"/>
                  </a:lnTo>
                  <a:lnTo>
                    <a:pt x="429167" y="514256"/>
                  </a:lnTo>
                  <a:lnTo>
                    <a:pt x="441362" y="518054"/>
                  </a:lnTo>
                  <a:lnTo>
                    <a:pt x="454456" y="519379"/>
                  </a:lnTo>
                  <a:lnTo>
                    <a:pt x="479731" y="514274"/>
                  </a:lnTo>
                  <a:lnTo>
                    <a:pt x="500367" y="500357"/>
                  </a:lnTo>
                  <a:lnTo>
                    <a:pt x="514278" y="479720"/>
                  </a:lnTo>
                  <a:lnTo>
                    <a:pt x="519379" y="454456"/>
                  </a:lnTo>
                  <a:lnTo>
                    <a:pt x="518058" y="441355"/>
                  </a:lnTo>
                  <a:lnTo>
                    <a:pt x="514272" y="429161"/>
                  </a:lnTo>
                  <a:lnTo>
                    <a:pt x="508283" y="418134"/>
                  </a:lnTo>
                  <a:lnTo>
                    <a:pt x="500354" y="408533"/>
                  </a:lnTo>
                  <a:lnTo>
                    <a:pt x="231470" y="139649"/>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grpSp>
      <p:grpSp>
        <p:nvGrpSpPr>
          <p:cNvPr id="139" name="Group 138">
            <a:extLst>
              <a:ext uri="{FF2B5EF4-FFF2-40B4-BE49-F238E27FC236}">
                <a16:creationId xmlns:a16="http://schemas.microsoft.com/office/drawing/2014/main" id="{130BBB30-BD82-FB8F-D638-1670CFBA4DCB}"/>
              </a:ext>
            </a:extLst>
          </p:cNvPr>
          <p:cNvGrpSpPr>
            <a:grpSpLocks noChangeAspect="1"/>
          </p:cNvGrpSpPr>
          <p:nvPr>
            <p:custDataLst>
              <p:tags r:id="rId35"/>
            </p:custDataLst>
          </p:nvPr>
        </p:nvGrpSpPr>
        <p:grpSpPr>
          <a:xfrm>
            <a:off x="6802649" y="3615268"/>
            <a:ext cx="365760" cy="429484"/>
            <a:chOff x="6879464" y="1143203"/>
            <a:chExt cx="393415" cy="461957"/>
          </a:xfrm>
        </p:grpSpPr>
        <p:sp>
          <p:nvSpPr>
            <p:cNvPr id="140" name="object 539">
              <a:extLst>
                <a:ext uri="{FF2B5EF4-FFF2-40B4-BE49-F238E27FC236}">
                  <a16:creationId xmlns:a16="http://schemas.microsoft.com/office/drawing/2014/main" id="{0155B680-3744-C9A2-7C21-839C3B4F7D59}"/>
                </a:ext>
              </a:extLst>
            </p:cNvPr>
            <p:cNvSpPr/>
            <p:nvPr/>
          </p:nvSpPr>
          <p:spPr>
            <a:xfrm>
              <a:off x="6910294" y="1143203"/>
              <a:ext cx="362585" cy="362585"/>
            </a:xfrm>
            <a:custGeom>
              <a:avLst/>
              <a:gdLst/>
              <a:ahLst/>
              <a:cxnLst/>
              <a:rect l="l" t="t" r="r" b="b"/>
              <a:pathLst>
                <a:path w="362584" h="362584">
                  <a:moveTo>
                    <a:pt x="0" y="180987"/>
                  </a:moveTo>
                  <a:lnTo>
                    <a:pt x="6464" y="132872"/>
                  </a:lnTo>
                  <a:lnTo>
                    <a:pt x="24709" y="89637"/>
                  </a:lnTo>
                  <a:lnTo>
                    <a:pt x="53008" y="53008"/>
                  </a:lnTo>
                  <a:lnTo>
                    <a:pt x="89637" y="24709"/>
                  </a:lnTo>
                  <a:lnTo>
                    <a:pt x="132872" y="6464"/>
                  </a:lnTo>
                  <a:lnTo>
                    <a:pt x="180987" y="0"/>
                  </a:lnTo>
                  <a:lnTo>
                    <a:pt x="229103" y="6464"/>
                  </a:lnTo>
                  <a:lnTo>
                    <a:pt x="272337" y="24709"/>
                  </a:lnTo>
                  <a:lnTo>
                    <a:pt x="308967" y="53008"/>
                  </a:lnTo>
                  <a:lnTo>
                    <a:pt x="337266" y="89637"/>
                  </a:lnTo>
                  <a:lnTo>
                    <a:pt x="355510" y="132872"/>
                  </a:lnTo>
                  <a:lnTo>
                    <a:pt x="361975" y="180987"/>
                  </a:lnTo>
                  <a:lnTo>
                    <a:pt x="355510" y="229103"/>
                  </a:lnTo>
                  <a:lnTo>
                    <a:pt x="337266" y="272337"/>
                  </a:lnTo>
                  <a:lnTo>
                    <a:pt x="308967" y="308967"/>
                  </a:lnTo>
                  <a:lnTo>
                    <a:pt x="272337" y="337266"/>
                  </a:lnTo>
                  <a:lnTo>
                    <a:pt x="229103" y="355510"/>
                  </a:lnTo>
                  <a:lnTo>
                    <a:pt x="180987" y="361975"/>
                  </a:lnTo>
                  <a:lnTo>
                    <a:pt x="174530" y="361869"/>
                  </a:lnTo>
                  <a:lnTo>
                    <a:pt x="168133" y="361535"/>
                  </a:lnTo>
                  <a:lnTo>
                    <a:pt x="161801" y="360980"/>
                  </a:lnTo>
                  <a:lnTo>
                    <a:pt x="155536" y="360210"/>
                  </a:lnTo>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1" name="object 540">
              <a:extLst>
                <a:ext uri="{FF2B5EF4-FFF2-40B4-BE49-F238E27FC236}">
                  <a16:creationId xmlns:a16="http://schemas.microsoft.com/office/drawing/2014/main" id="{AEB7FD54-0012-0B31-F783-F4579F4EB76F}"/>
                </a:ext>
              </a:extLst>
            </p:cNvPr>
            <p:cNvSpPr/>
            <p:nvPr/>
          </p:nvSpPr>
          <p:spPr>
            <a:xfrm>
              <a:off x="7024607" y="1257516"/>
              <a:ext cx="133350" cy="133350"/>
            </a:xfrm>
            <a:custGeom>
              <a:avLst/>
              <a:gdLst/>
              <a:ahLst/>
              <a:cxnLst/>
              <a:rect l="l" t="t" r="r" b="b"/>
              <a:pathLst>
                <a:path w="133350" h="133350">
                  <a:moveTo>
                    <a:pt x="133350" y="66675"/>
                  </a:moveTo>
                  <a:lnTo>
                    <a:pt x="128109" y="92625"/>
                  </a:lnTo>
                  <a:lnTo>
                    <a:pt x="113818" y="113818"/>
                  </a:lnTo>
                  <a:lnTo>
                    <a:pt x="92625" y="128109"/>
                  </a:lnTo>
                  <a:lnTo>
                    <a:pt x="66675" y="133350"/>
                  </a:lnTo>
                  <a:lnTo>
                    <a:pt x="40724" y="128109"/>
                  </a:lnTo>
                  <a:lnTo>
                    <a:pt x="19531" y="113818"/>
                  </a:lnTo>
                  <a:lnTo>
                    <a:pt x="5240" y="92625"/>
                  </a:lnTo>
                  <a:lnTo>
                    <a:pt x="0" y="66675"/>
                  </a:lnTo>
                  <a:lnTo>
                    <a:pt x="5240" y="40724"/>
                  </a:lnTo>
                  <a:lnTo>
                    <a:pt x="19531" y="19531"/>
                  </a:lnTo>
                  <a:lnTo>
                    <a:pt x="40724" y="5240"/>
                  </a:lnTo>
                  <a:lnTo>
                    <a:pt x="66675" y="0"/>
                  </a:lnTo>
                  <a:lnTo>
                    <a:pt x="92625" y="5240"/>
                  </a:lnTo>
                  <a:lnTo>
                    <a:pt x="113818" y="19531"/>
                  </a:lnTo>
                  <a:lnTo>
                    <a:pt x="128109" y="40724"/>
                  </a:lnTo>
                  <a:lnTo>
                    <a:pt x="133350" y="66675"/>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2" name="object 541">
              <a:extLst>
                <a:ext uri="{FF2B5EF4-FFF2-40B4-BE49-F238E27FC236}">
                  <a16:creationId xmlns:a16="http://schemas.microsoft.com/office/drawing/2014/main" id="{2534B585-D773-EF32-1257-B3E2D04C2C33}"/>
                </a:ext>
              </a:extLst>
            </p:cNvPr>
            <p:cNvSpPr/>
            <p:nvPr/>
          </p:nvSpPr>
          <p:spPr>
            <a:xfrm>
              <a:off x="7059532" y="1292441"/>
              <a:ext cx="63500" cy="63500"/>
            </a:xfrm>
            <a:custGeom>
              <a:avLst/>
              <a:gdLst/>
              <a:ahLst/>
              <a:cxnLst/>
              <a:rect l="l" t="t" r="r" b="b"/>
              <a:pathLst>
                <a:path w="63500" h="63500">
                  <a:moveTo>
                    <a:pt x="63500" y="31750"/>
                  </a:moveTo>
                  <a:lnTo>
                    <a:pt x="61005" y="44110"/>
                  </a:lnTo>
                  <a:lnTo>
                    <a:pt x="54202" y="54202"/>
                  </a:lnTo>
                  <a:lnTo>
                    <a:pt x="44110" y="61005"/>
                  </a:lnTo>
                  <a:lnTo>
                    <a:pt x="31750" y="63500"/>
                  </a:lnTo>
                  <a:lnTo>
                    <a:pt x="19389" y="61005"/>
                  </a:lnTo>
                  <a:lnTo>
                    <a:pt x="9297" y="54202"/>
                  </a:lnTo>
                  <a:lnTo>
                    <a:pt x="2494" y="44110"/>
                  </a:lnTo>
                  <a:lnTo>
                    <a:pt x="0" y="31750"/>
                  </a:lnTo>
                  <a:lnTo>
                    <a:pt x="2494" y="19389"/>
                  </a:lnTo>
                  <a:lnTo>
                    <a:pt x="9297" y="9297"/>
                  </a:lnTo>
                  <a:lnTo>
                    <a:pt x="19389" y="2494"/>
                  </a:lnTo>
                  <a:lnTo>
                    <a:pt x="31750" y="0"/>
                  </a:lnTo>
                  <a:lnTo>
                    <a:pt x="44110" y="2494"/>
                  </a:lnTo>
                  <a:lnTo>
                    <a:pt x="54202" y="9297"/>
                  </a:lnTo>
                  <a:lnTo>
                    <a:pt x="61005" y="19389"/>
                  </a:lnTo>
                  <a:lnTo>
                    <a:pt x="63500" y="31750"/>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3" name="object 542">
              <a:extLst>
                <a:ext uri="{FF2B5EF4-FFF2-40B4-BE49-F238E27FC236}">
                  <a16:creationId xmlns:a16="http://schemas.microsoft.com/office/drawing/2014/main" id="{4D70F6D4-7A95-BDA8-0D7E-A99FFCFCBA9B}"/>
                </a:ext>
              </a:extLst>
            </p:cNvPr>
            <p:cNvSpPr/>
            <p:nvPr/>
          </p:nvSpPr>
          <p:spPr>
            <a:xfrm>
              <a:off x="7157951" y="1181998"/>
              <a:ext cx="45720" cy="50165"/>
            </a:xfrm>
            <a:custGeom>
              <a:avLst/>
              <a:gdLst/>
              <a:ahLst/>
              <a:cxnLst/>
              <a:rect l="l" t="t" r="r" b="b"/>
              <a:pathLst>
                <a:path w="45720" h="50165">
                  <a:moveTo>
                    <a:pt x="45237" y="0"/>
                  </a:moveTo>
                  <a:lnTo>
                    <a:pt x="0" y="50114"/>
                  </a:lnTo>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4" name="object 543">
              <a:extLst>
                <a:ext uri="{FF2B5EF4-FFF2-40B4-BE49-F238E27FC236}">
                  <a16:creationId xmlns:a16="http://schemas.microsoft.com/office/drawing/2014/main" id="{5D1DCC77-3A77-6466-90DA-0F2612EAFD4B}"/>
                </a:ext>
              </a:extLst>
            </p:cNvPr>
            <p:cNvSpPr/>
            <p:nvPr/>
          </p:nvSpPr>
          <p:spPr>
            <a:xfrm>
              <a:off x="7180580" y="1207064"/>
              <a:ext cx="48895" cy="50800"/>
            </a:xfrm>
            <a:custGeom>
              <a:avLst/>
              <a:gdLst/>
              <a:ahLst/>
              <a:cxnLst/>
              <a:rect l="l" t="t" r="r" b="b"/>
              <a:pathLst>
                <a:path w="48895" h="50800">
                  <a:moveTo>
                    <a:pt x="48628" y="0"/>
                  </a:moveTo>
                  <a:lnTo>
                    <a:pt x="0" y="50457"/>
                  </a:lnTo>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5" name="object 544">
              <a:extLst>
                <a:ext uri="{FF2B5EF4-FFF2-40B4-BE49-F238E27FC236}">
                  <a16:creationId xmlns:a16="http://schemas.microsoft.com/office/drawing/2014/main" id="{70DD99B5-5EC3-15B3-FEEC-3448A3A10237}"/>
                </a:ext>
              </a:extLst>
            </p:cNvPr>
            <p:cNvSpPr/>
            <p:nvPr/>
          </p:nvSpPr>
          <p:spPr>
            <a:xfrm>
              <a:off x="6899663" y="1374020"/>
              <a:ext cx="182245" cy="231140"/>
            </a:xfrm>
            <a:custGeom>
              <a:avLst/>
              <a:gdLst/>
              <a:ahLst/>
              <a:cxnLst/>
              <a:rect l="l" t="t" r="r" b="b"/>
              <a:pathLst>
                <a:path w="182245" h="231140">
                  <a:moveTo>
                    <a:pt x="175966" y="148272"/>
                  </a:moveTo>
                  <a:lnTo>
                    <a:pt x="181904" y="167221"/>
                  </a:lnTo>
                  <a:lnTo>
                    <a:pt x="180896" y="185737"/>
                  </a:lnTo>
                  <a:lnTo>
                    <a:pt x="173455" y="201729"/>
                  </a:lnTo>
                  <a:lnTo>
                    <a:pt x="160091" y="213105"/>
                  </a:lnTo>
                  <a:lnTo>
                    <a:pt x="134398" y="226453"/>
                  </a:lnTo>
                  <a:lnTo>
                    <a:pt x="117384" y="230819"/>
                  </a:lnTo>
                  <a:lnTo>
                    <a:pt x="100020" y="227693"/>
                  </a:lnTo>
                  <a:lnTo>
                    <a:pt x="84303" y="217854"/>
                  </a:lnTo>
                  <a:lnTo>
                    <a:pt x="72232" y="202082"/>
                  </a:lnTo>
                  <a:lnTo>
                    <a:pt x="4744" y="71996"/>
                  </a:lnTo>
                  <a:lnTo>
                    <a:pt x="0" y="55370"/>
                  </a:lnTo>
                  <a:lnTo>
                    <a:pt x="3658" y="41965"/>
                  </a:lnTo>
                  <a:lnTo>
                    <a:pt x="54020" y="8686"/>
                  </a:lnTo>
                  <a:lnTo>
                    <a:pt x="84535" y="0"/>
                  </a:lnTo>
                  <a:lnTo>
                    <a:pt x="97608" y="4725"/>
                  </a:lnTo>
                  <a:lnTo>
                    <a:pt x="108478" y="18173"/>
                  </a:lnTo>
                  <a:lnTo>
                    <a:pt x="175966" y="148272"/>
                  </a:lnTo>
                  <a:close/>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6" name="object 545">
              <a:extLst>
                <a:ext uri="{FF2B5EF4-FFF2-40B4-BE49-F238E27FC236}">
                  <a16:creationId xmlns:a16="http://schemas.microsoft.com/office/drawing/2014/main" id="{67388957-AC3F-CBED-169A-9BF109D020D7}"/>
                </a:ext>
              </a:extLst>
            </p:cNvPr>
            <p:cNvSpPr/>
            <p:nvPr/>
          </p:nvSpPr>
          <p:spPr>
            <a:xfrm>
              <a:off x="6879464" y="1312720"/>
              <a:ext cx="91440" cy="92075"/>
            </a:xfrm>
            <a:custGeom>
              <a:avLst/>
              <a:gdLst/>
              <a:ahLst/>
              <a:cxnLst/>
              <a:rect l="l" t="t" r="r" b="b"/>
              <a:pathLst>
                <a:path w="91440" h="92075">
                  <a:moveTo>
                    <a:pt x="90931" y="61315"/>
                  </a:moveTo>
                  <a:lnTo>
                    <a:pt x="59105" y="0"/>
                  </a:lnTo>
                  <a:lnTo>
                    <a:pt x="0" y="30657"/>
                  </a:lnTo>
                  <a:lnTo>
                    <a:pt x="31826" y="91986"/>
                  </a:lnTo>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7" name="object 546">
              <a:extLst>
                <a:ext uri="{FF2B5EF4-FFF2-40B4-BE49-F238E27FC236}">
                  <a16:creationId xmlns:a16="http://schemas.microsoft.com/office/drawing/2014/main" id="{2C461B7E-277D-89AE-C211-FB58560623D7}"/>
                </a:ext>
              </a:extLst>
            </p:cNvPr>
            <p:cNvSpPr/>
            <p:nvPr/>
          </p:nvSpPr>
          <p:spPr>
            <a:xfrm>
              <a:off x="6916458" y="1324191"/>
              <a:ext cx="32384" cy="61594"/>
            </a:xfrm>
            <a:custGeom>
              <a:avLst/>
              <a:gdLst/>
              <a:ahLst/>
              <a:cxnLst/>
              <a:rect l="l" t="t" r="r" b="b"/>
              <a:pathLst>
                <a:path w="32384" h="61594">
                  <a:moveTo>
                    <a:pt x="0" y="0"/>
                  </a:moveTo>
                  <a:lnTo>
                    <a:pt x="31800" y="61328"/>
                  </a:lnTo>
                </a:path>
              </a:pathLst>
            </a:custGeom>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48" name="object 547">
              <a:extLst>
                <a:ext uri="{FF2B5EF4-FFF2-40B4-BE49-F238E27FC236}">
                  <a16:creationId xmlns:a16="http://schemas.microsoft.com/office/drawing/2014/main" id="{A402B9CA-E828-B740-4C88-C053A8AF4E51}"/>
                </a:ext>
              </a:extLst>
            </p:cNvPr>
            <p:cNvSpPr/>
            <p:nvPr/>
          </p:nvSpPr>
          <p:spPr>
            <a:xfrm>
              <a:off x="6900228" y="1349250"/>
              <a:ext cx="22225" cy="20955"/>
            </a:xfrm>
            <a:custGeom>
              <a:avLst/>
              <a:gdLst/>
              <a:ahLst/>
              <a:cxnLst/>
              <a:rect l="l" t="t" r="r" b="b"/>
              <a:pathLst>
                <a:path w="22225" h="20955">
                  <a:moveTo>
                    <a:pt x="14846" y="0"/>
                  </a:moveTo>
                  <a:lnTo>
                    <a:pt x="304" y="7556"/>
                  </a:lnTo>
                  <a:lnTo>
                    <a:pt x="0" y="8509"/>
                  </a:lnTo>
                  <a:lnTo>
                    <a:pt x="6121" y="20294"/>
                  </a:lnTo>
                  <a:lnTo>
                    <a:pt x="7048" y="20586"/>
                  </a:lnTo>
                  <a:lnTo>
                    <a:pt x="21602" y="13030"/>
                  </a:lnTo>
                  <a:lnTo>
                    <a:pt x="21882" y="12115"/>
                  </a:lnTo>
                  <a:lnTo>
                    <a:pt x="21501" y="11328"/>
                  </a:lnTo>
                  <a:lnTo>
                    <a:pt x="15773" y="317"/>
                  </a:lnTo>
                  <a:lnTo>
                    <a:pt x="14846" y="0"/>
                  </a:lnTo>
                  <a:close/>
                </a:path>
              </a:pathLst>
            </a:custGeom>
            <a:solidFill>
              <a:srgbClr val="656668"/>
            </a:solidFill>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grpSp>
      <p:sp>
        <p:nvSpPr>
          <p:cNvPr id="149" name="Oval 148">
            <a:extLst>
              <a:ext uri="{FF2B5EF4-FFF2-40B4-BE49-F238E27FC236}">
                <a16:creationId xmlns:a16="http://schemas.microsoft.com/office/drawing/2014/main" id="{2D768F56-F09F-4C34-476C-9E33558EA6AC}"/>
              </a:ext>
            </a:extLst>
          </p:cNvPr>
          <p:cNvSpPr>
            <a:spLocks noChangeAspect="1"/>
          </p:cNvSpPr>
          <p:nvPr>
            <p:custDataLst>
              <p:tags r:id="rId36"/>
            </p:custDataLst>
          </p:nvPr>
        </p:nvSpPr>
        <p:spPr>
          <a:xfrm flipH="1">
            <a:off x="11074329" y="3530488"/>
            <a:ext cx="567771" cy="567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grpSp>
        <p:nvGrpSpPr>
          <p:cNvPr id="150" name="Group 149">
            <a:extLst>
              <a:ext uri="{FF2B5EF4-FFF2-40B4-BE49-F238E27FC236}">
                <a16:creationId xmlns:a16="http://schemas.microsoft.com/office/drawing/2014/main" id="{4AC34276-82A4-F636-64EC-C03277B8D914}"/>
              </a:ext>
            </a:extLst>
          </p:cNvPr>
          <p:cNvGrpSpPr/>
          <p:nvPr>
            <p:custDataLst>
              <p:tags r:id="rId37"/>
            </p:custDataLst>
          </p:nvPr>
        </p:nvGrpSpPr>
        <p:grpSpPr>
          <a:xfrm rot="10800000" flipH="1">
            <a:off x="9552484" y="3455528"/>
            <a:ext cx="2148126" cy="2107691"/>
            <a:chOff x="1751189" y="1829227"/>
            <a:chExt cx="2148126" cy="2107691"/>
          </a:xfrm>
        </p:grpSpPr>
        <p:sp>
          <p:nvSpPr>
            <p:cNvPr id="151" name="Arc 150">
              <a:extLst>
                <a:ext uri="{FF2B5EF4-FFF2-40B4-BE49-F238E27FC236}">
                  <a16:creationId xmlns:a16="http://schemas.microsoft.com/office/drawing/2014/main" id="{01937444-09D5-D74F-E83D-81559A7EF6A3}"/>
                </a:ext>
              </a:extLst>
            </p:cNvPr>
            <p:cNvSpPr/>
            <p:nvPr/>
          </p:nvSpPr>
          <p:spPr>
            <a:xfrm>
              <a:off x="1751189"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52" name="Arc 151">
              <a:extLst>
                <a:ext uri="{FF2B5EF4-FFF2-40B4-BE49-F238E27FC236}">
                  <a16:creationId xmlns:a16="http://schemas.microsoft.com/office/drawing/2014/main" id="{FBC2C930-A765-DE60-E3CA-EDD8D0CE7E7E}"/>
                </a:ext>
              </a:extLst>
            </p:cNvPr>
            <p:cNvSpPr/>
            <p:nvPr/>
          </p:nvSpPr>
          <p:spPr>
            <a:xfrm rot="16200000">
              <a:off x="3179315" y="3216918"/>
              <a:ext cx="720000" cy="720000"/>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153" name="Straight Connector 152">
              <a:extLst>
                <a:ext uri="{FF2B5EF4-FFF2-40B4-BE49-F238E27FC236}">
                  <a16:creationId xmlns:a16="http://schemas.microsoft.com/office/drawing/2014/main" id="{447353DB-3B05-A960-C584-57F23D504549}"/>
                </a:ext>
              </a:extLst>
            </p:cNvPr>
            <p:cNvCxnSpPr>
              <a:endCxn id="152" idx="0"/>
            </p:cNvCxnSpPr>
            <p:nvPr/>
          </p:nvCxnSpPr>
          <p:spPr>
            <a:xfrm>
              <a:off x="2471189" y="3576918"/>
              <a:ext cx="70812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4" name="Oval 153">
              <a:extLst>
                <a:ext uri="{FF2B5EF4-FFF2-40B4-BE49-F238E27FC236}">
                  <a16:creationId xmlns:a16="http://schemas.microsoft.com/office/drawing/2014/main" id="{945F9F4F-39F3-DE9F-80BE-BCE1450E6FF8}"/>
                </a:ext>
              </a:extLst>
            </p:cNvPr>
            <p:cNvSpPr>
              <a:spLocks noChangeAspect="1"/>
            </p:cNvSpPr>
            <p:nvPr/>
          </p:nvSpPr>
          <p:spPr>
            <a:xfrm>
              <a:off x="3128963"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55" name="Oval 154">
              <a:extLst>
                <a:ext uri="{FF2B5EF4-FFF2-40B4-BE49-F238E27FC236}">
                  <a16:creationId xmlns:a16="http://schemas.microsoft.com/office/drawing/2014/main" id="{62BE1585-7472-2818-BF98-9C4924BB6466}"/>
                </a:ext>
              </a:extLst>
            </p:cNvPr>
            <p:cNvSpPr>
              <a:spLocks noChangeAspect="1"/>
            </p:cNvSpPr>
            <p:nvPr/>
          </p:nvSpPr>
          <p:spPr>
            <a:xfrm>
              <a:off x="3495243" y="3174719"/>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56" name="Oval 155">
              <a:extLst>
                <a:ext uri="{FF2B5EF4-FFF2-40B4-BE49-F238E27FC236}">
                  <a16:creationId xmlns:a16="http://schemas.microsoft.com/office/drawing/2014/main" id="{D17484CE-BF8E-AFFE-720E-8526301A4F5A}"/>
                </a:ext>
              </a:extLst>
            </p:cNvPr>
            <p:cNvSpPr>
              <a:spLocks noChangeAspect="1"/>
            </p:cNvSpPr>
            <p:nvPr/>
          </p:nvSpPr>
          <p:spPr>
            <a:xfrm>
              <a:off x="2068991" y="3170580"/>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57" name="Oval 156">
              <a:extLst>
                <a:ext uri="{FF2B5EF4-FFF2-40B4-BE49-F238E27FC236}">
                  <a16:creationId xmlns:a16="http://schemas.microsoft.com/office/drawing/2014/main" id="{F28864DF-370B-2335-37EB-D3220D9CA46F}"/>
                </a:ext>
              </a:extLst>
            </p:cNvPr>
            <p:cNvSpPr>
              <a:spLocks noChangeAspect="1"/>
            </p:cNvSpPr>
            <p:nvPr/>
          </p:nvSpPr>
          <p:spPr>
            <a:xfrm>
              <a:off x="2434202" y="3521273"/>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158" name="Straight Connector 157">
              <a:extLst>
                <a:ext uri="{FF2B5EF4-FFF2-40B4-BE49-F238E27FC236}">
                  <a16:creationId xmlns:a16="http://schemas.microsoft.com/office/drawing/2014/main" id="{FAD5F533-A0FF-7EA5-6354-8058FDF36327}"/>
                </a:ext>
              </a:extLst>
            </p:cNvPr>
            <p:cNvCxnSpPr/>
            <p:nvPr/>
          </p:nvCxnSpPr>
          <p:spPr>
            <a:xfrm>
              <a:off x="3537440" y="1909482"/>
              <a:ext cx="0" cy="13014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4D2BB662-006B-6F6E-331E-533BFBB9E40B}"/>
                </a:ext>
              </a:extLst>
            </p:cNvPr>
            <p:cNvSpPr>
              <a:spLocks noChangeAspect="1"/>
            </p:cNvSpPr>
            <p:nvPr/>
          </p:nvSpPr>
          <p:spPr>
            <a:xfrm>
              <a:off x="3495242" y="1829227"/>
              <a:ext cx="84395" cy="843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160" name="object 819">
            <a:extLst>
              <a:ext uri="{FF2B5EF4-FFF2-40B4-BE49-F238E27FC236}">
                <a16:creationId xmlns:a16="http://schemas.microsoft.com/office/drawing/2014/main" id="{B2DCA0C4-21CA-41FB-C095-1BA4929F5B93}"/>
              </a:ext>
            </a:extLst>
          </p:cNvPr>
          <p:cNvSpPr>
            <a:spLocks noChangeAspect="1"/>
          </p:cNvSpPr>
          <p:nvPr>
            <p:custDataLst>
              <p:tags r:id="rId38"/>
            </p:custDataLst>
          </p:nvPr>
        </p:nvSpPr>
        <p:spPr>
          <a:xfrm>
            <a:off x="11152520" y="3631016"/>
            <a:ext cx="365760" cy="375052"/>
          </a:xfrm>
          <a:custGeom>
            <a:avLst/>
            <a:gdLst/>
            <a:ahLst/>
            <a:cxnLst/>
            <a:rect l="l" t="t" r="r" b="b"/>
            <a:pathLst>
              <a:path w="549909" h="563880">
                <a:moveTo>
                  <a:pt x="175829" y="563383"/>
                </a:moveTo>
                <a:lnTo>
                  <a:pt x="133437" y="541653"/>
                </a:lnTo>
                <a:lnTo>
                  <a:pt x="9294" y="369758"/>
                </a:lnTo>
                <a:lnTo>
                  <a:pt x="0" y="330714"/>
                </a:lnTo>
                <a:lnTo>
                  <a:pt x="6921" y="311842"/>
                </a:lnTo>
                <a:lnTo>
                  <a:pt x="21042" y="296556"/>
                </a:lnTo>
                <a:lnTo>
                  <a:pt x="40023" y="287932"/>
                </a:lnTo>
                <a:lnTo>
                  <a:pt x="60131" y="287286"/>
                </a:lnTo>
                <a:lnTo>
                  <a:pt x="79008" y="294225"/>
                </a:lnTo>
                <a:lnTo>
                  <a:pt x="94295" y="308354"/>
                </a:lnTo>
                <a:lnTo>
                  <a:pt x="175296" y="420533"/>
                </a:lnTo>
                <a:lnTo>
                  <a:pt x="455255" y="21512"/>
                </a:lnTo>
                <a:lnTo>
                  <a:pt x="470342" y="7172"/>
                </a:lnTo>
                <a:lnTo>
                  <a:pt x="489103" y="0"/>
                </a:lnTo>
                <a:lnTo>
                  <a:pt x="509194" y="382"/>
                </a:lnTo>
                <a:lnTo>
                  <a:pt x="528267" y="8710"/>
                </a:lnTo>
                <a:lnTo>
                  <a:pt x="542619" y="23805"/>
                </a:lnTo>
                <a:lnTo>
                  <a:pt x="549813" y="42579"/>
                </a:lnTo>
                <a:lnTo>
                  <a:pt x="549434" y="62676"/>
                </a:lnTo>
                <a:lnTo>
                  <a:pt x="218882" y="541043"/>
                </a:lnTo>
                <a:lnTo>
                  <a:pt x="176299" y="563383"/>
                </a:lnTo>
                <a:lnTo>
                  <a:pt x="175829" y="563383"/>
                </a:lnTo>
                <a:close/>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grpSp>
        <p:nvGrpSpPr>
          <p:cNvPr id="161" name="Group 160">
            <a:extLst>
              <a:ext uri="{FF2B5EF4-FFF2-40B4-BE49-F238E27FC236}">
                <a16:creationId xmlns:a16="http://schemas.microsoft.com/office/drawing/2014/main" id="{A0AF72C4-8AAE-91E8-441D-7FA595B4CC1B}"/>
              </a:ext>
            </a:extLst>
          </p:cNvPr>
          <p:cNvGrpSpPr/>
          <p:nvPr>
            <p:custDataLst>
              <p:tags r:id="rId39"/>
            </p:custDataLst>
          </p:nvPr>
        </p:nvGrpSpPr>
        <p:grpSpPr>
          <a:xfrm rot="4448920">
            <a:off x="9694686" y="3647310"/>
            <a:ext cx="347345" cy="357032"/>
            <a:chOff x="6267858" y="802944"/>
            <a:chExt cx="347345" cy="357032"/>
          </a:xfrm>
        </p:grpSpPr>
        <p:sp>
          <p:nvSpPr>
            <p:cNvPr id="162" name="object 731">
              <a:extLst>
                <a:ext uri="{FF2B5EF4-FFF2-40B4-BE49-F238E27FC236}">
                  <a16:creationId xmlns:a16="http://schemas.microsoft.com/office/drawing/2014/main" id="{3205D178-090F-DDC0-A40D-76FD74393629}"/>
                </a:ext>
              </a:extLst>
            </p:cNvPr>
            <p:cNvSpPr/>
            <p:nvPr/>
          </p:nvSpPr>
          <p:spPr>
            <a:xfrm>
              <a:off x="6267858" y="802944"/>
              <a:ext cx="347345" cy="347345"/>
            </a:xfrm>
            <a:custGeom>
              <a:avLst/>
              <a:gdLst/>
              <a:ahLst/>
              <a:cxnLst/>
              <a:rect l="l" t="t" r="r" b="b"/>
              <a:pathLst>
                <a:path w="347345" h="347344">
                  <a:moveTo>
                    <a:pt x="305979" y="60555"/>
                  </a:moveTo>
                  <a:lnTo>
                    <a:pt x="331288" y="99795"/>
                  </a:lnTo>
                  <a:lnTo>
                    <a:pt x="344930" y="142818"/>
                  </a:lnTo>
                  <a:lnTo>
                    <a:pt x="347090" y="187285"/>
                  </a:lnTo>
                  <a:lnTo>
                    <a:pt x="337953" y="230856"/>
                  </a:lnTo>
                  <a:lnTo>
                    <a:pt x="317702" y="271193"/>
                  </a:lnTo>
                  <a:lnTo>
                    <a:pt x="286523" y="305957"/>
                  </a:lnTo>
                  <a:lnTo>
                    <a:pt x="247277" y="331252"/>
                  </a:lnTo>
                  <a:lnTo>
                    <a:pt x="204250" y="344888"/>
                  </a:lnTo>
                  <a:lnTo>
                    <a:pt x="159780" y="347049"/>
                  </a:lnTo>
                  <a:lnTo>
                    <a:pt x="116205" y="337917"/>
                  </a:lnTo>
                  <a:lnTo>
                    <a:pt x="75864" y="317673"/>
                  </a:lnTo>
                  <a:lnTo>
                    <a:pt x="41095" y="286500"/>
                  </a:lnTo>
                  <a:lnTo>
                    <a:pt x="15792" y="247249"/>
                  </a:lnTo>
                  <a:lnTo>
                    <a:pt x="2156" y="204219"/>
                  </a:lnTo>
                  <a:lnTo>
                    <a:pt x="0" y="159750"/>
                  </a:lnTo>
                  <a:lnTo>
                    <a:pt x="9139" y="116178"/>
                  </a:lnTo>
                  <a:lnTo>
                    <a:pt x="29389" y="75844"/>
                  </a:lnTo>
                  <a:lnTo>
                    <a:pt x="60564" y="41086"/>
                  </a:lnTo>
                  <a:lnTo>
                    <a:pt x="99801" y="15788"/>
                  </a:lnTo>
                  <a:lnTo>
                    <a:pt x="142825" y="2154"/>
                  </a:lnTo>
                  <a:lnTo>
                    <a:pt x="187296" y="0"/>
                  </a:lnTo>
                  <a:lnTo>
                    <a:pt x="230872" y="9138"/>
                  </a:lnTo>
                  <a:lnTo>
                    <a:pt x="271213" y="29385"/>
                  </a:lnTo>
                  <a:lnTo>
                    <a:pt x="305979" y="60555"/>
                  </a:lnTo>
                  <a:close/>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63" name="object 732">
              <a:extLst>
                <a:ext uri="{FF2B5EF4-FFF2-40B4-BE49-F238E27FC236}">
                  <a16:creationId xmlns:a16="http://schemas.microsoft.com/office/drawing/2014/main" id="{78321339-35B0-8E99-6C88-830A3725AE83}"/>
                </a:ext>
              </a:extLst>
            </p:cNvPr>
            <p:cNvSpPr/>
            <p:nvPr/>
          </p:nvSpPr>
          <p:spPr>
            <a:xfrm>
              <a:off x="6303753" y="838812"/>
              <a:ext cx="275590" cy="275590"/>
            </a:xfrm>
            <a:custGeom>
              <a:avLst/>
              <a:gdLst/>
              <a:ahLst/>
              <a:cxnLst/>
              <a:rect l="l" t="t" r="r" b="b"/>
              <a:pathLst>
                <a:path w="275590" h="275590">
                  <a:moveTo>
                    <a:pt x="242687" y="48065"/>
                  </a:moveTo>
                  <a:lnTo>
                    <a:pt x="265646" y="85825"/>
                  </a:lnTo>
                  <a:lnTo>
                    <a:pt x="275322" y="127367"/>
                  </a:lnTo>
                  <a:lnTo>
                    <a:pt x="271972" y="169488"/>
                  </a:lnTo>
                  <a:lnTo>
                    <a:pt x="255856" y="208985"/>
                  </a:lnTo>
                  <a:lnTo>
                    <a:pt x="227231" y="242654"/>
                  </a:lnTo>
                  <a:lnTo>
                    <a:pt x="189476" y="265626"/>
                  </a:lnTo>
                  <a:lnTo>
                    <a:pt x="147936" y="275311"/>
                  </a:lnTo>
                  <a:lnTo>
                    <a:pt x="105814" y="271969"/>
                  </a:lnTo>
                  <a:lnTo>
                    <a:pt x="66319" y="255862"/>
                  </a:lnTo>
                  <a:lnTo>
                    <a:pt x="32654" y="227249"/>
                  </a:lnTo>
                  <a:lnTo>
                    <a:pt x="9686" y="189476"/>
                  </a:lnTo>
                  <a:lnTo>
                    <a:pt x="0" y="147924"/>
                  </a:lnTo>
                  <a:lnTo>
                    <a:pt x="3338" y="105797"/>
                  </a:lnTo>
                  <a:lnTo>
                    <a:pt x="19444" y="66299"/>
                  </a:lnTo>
                  <a:lnTo>
                    <a:pt x="48059" y="32634"/>
                  </a:lnTo>
                  <a:lnTo>
                    <a:pt x="85821" y="9678"/>
                  </a:lnTo>
                  <a:lnTo>
                    <a:pt x="127367" y="0"/>
                  </a:lnTo>
                  <a:lnTo>
                    <a:pt x="169496" y="3342"/>
                  </a:lnTo>
                  <a:lnTo>
                    <a:pt x="209004" y="19449"/>
                  </a:lnTo>
                  <a:lnTo>
                    <a:pt x="242687" y="48065"/>
                  </a:lnTo>
                  <a:close/>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65" name="object 734">
              <a:extLst>
                <a:ext uri="{FF2B5EF4-FFF2-40B4-BE49-F238E27FC236}">
                  <a16:creationId xmlns:a16="http://schemas.microsoft.com/office/drawing/2014/main" id="{100DDDBA-CA55-91B7-5CF7-5143968653F1}"/>
                </a:ext>
              </a:extLst>
            </p:cNvPr>
            <p:cNvSpPr/>
            <p:nvPr/>
          </p:nvSpPr>
          <p:spPr>
            <a:xfrm>
              <a:off x="6562323" y="1101003"/>
              <a:ext cx="36195" cy="41910"/>
            </a:xfrm>
            <a:custGeom>
              <a:avLst/>
              <a:gdLst/>
              <a:ahLst/>
              <a:cxnLst/>
              <a:rect l="l" t="t" r="r" b="b"/>
              <a:pathLst>
                <a:path w="36195" h="41909">
                  <a:moveTo>
                    <a:pt x="35661" y="41833"/>
                  </a:moveTo>
                  <a:lnTo>
                    <a:pt x="0"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66" name="object 735">
              <a:extLst>
                <a:ext uri="{FF2B5EF4-FFF2-40B4-BE49-F238E27FC236}">
                  <a16:creationId xmlns:a16="http://schemas.microsoft.com/office/drawing/2014/main" id="{D81F4AAF-1922-A986-F4AC-F9FBD2435192}"/>
                </a:ext>
              </a:extLst>
            </p:cNvPr>
            <p:cNvSpPr/>
            <p:nvPr/>
          </p:nvSpPr>
          <p:spPr>
            <a:xfrm>
              <a:off x="6544364" y="1114891"/>
              <a:ext cx="38100" cy="45085"/>
            </a:xfrm>
            <a:custGeom>
              <a:avLst/>
              <a:gdLst/>
              <a:ahLst/>
              <a:cxnLst/>
              <a:rect l="l" t="t" r="r" b="b"/>
              <a:pathLst>
                <a:path w="38100" h="45084">
                  <a:moveTo>
                    <a:pt x="37782" y="44881"/>
                  </a:moveTo>
                  <a:lnTo>
                    <a:pt x="0" y="0"/>
                  </a:lnTo>
                </a:path>
              </a:pathLst>
            </a:custGeom>
            <a:ln w="1270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grpSp>
      <p:sp>
        <p:nvSpPr>
          <p:cNvPr id="167" name="object 1840">
            <a:extLst>
              <a:ext uri="{FF2B5EF4-FFF2-40B4-BE49-F238E27FC236}">
                <a16:creationId xmlns:a16="http://schemas.microsoft.com/office/drawing/2014/main" id="{1CD439F1-F988-AB54-0149-CD51E5CFF048}"/>
              </a:ext>
            </a:extLst>
          </p:cNvPr>
          <p:cNvSpPr>
            <a:spLocks noChangeAspect="1"/>
          </p:cNvSpPr>
          <p:nvPr>
            <p:custDataLst>
              <p:tags r:id="rId40"/>
            </p:custDataLst>
          </p:nvPr>
        </p:nvSpPr>
        <p:spPr>
          <a:xfrm>
            <a:off x="8250793" y="3615628"/>
            <a:ext cx="365760" cy="374531"/>
          </a:xfrm>
          <a:custGeom>
            <a:avLst/>
            <a:gdLst/>
            <a:ahLst/>
            <a:cxnLst/>
            <a:rect l="l" t="t" r="r" b="b"/>
            <a:pathLst>
              <a:path w="608965" h="623570">
                <a:moveTo>
                  <a:pt x="605337" y="247802"/>
                </a:moveTo>
                <a:lnTo>
                  <a:pt x="601920" y="231960"/>
                </a:lnTo>
                <a:lnTo>
                  <a:pt x="592977" y="219057"/>
                </a:lnTo>
                <a:lnTo>
                  <a:pt x="579866" y="210424"/>
                </a:lnTo>
                <a:lnTo>
                  <a:pt x="563948" y="207390"/>
                </a:lnTo>
                <a:lnTo>
                  <a:pt x="553902" y="207517"/>
                </a:lnTo>
                <a:lnTo>
                  <a:pt x="538062" y="210934"/>
                </a:lnTo>
                <a:lnTo>
                  <a:pt x="525164" y="219878"/>
                </a:lnTo>
                <a:lnTo>
                  <a:pt x="516535" y="232989"/>
                </a:lnTo>
                <a:lnTo>
                  <a:pt x="513503" y="248907"/>
                </a:lnTo>
                <a:lnTo>
                  <a:pt x="514608" y="342645"/>
                </a:lnTo>
                <a:lnTo>
                  <a:pt x="496930" y="342849"/>
                </a:lnTo>
                <a:lnTo>
                  <a:pt x="495800" y="249123"/>
                </a:lnTo>
                <a:lnTo>
                  <a:pt x="470323" y="211745"/>
                </a:lnTo>
                <a:lnTo>
                  <a:pt x="454398" y="208711"/>
                </a:lnTo>
                <a:lnTo>
                  <a:pt x="444365" y="208838"/>
                </a:lnTo>
                <a:lnTo>
                  <a:pt x="428526" y="212255"/>
                </a:lnTo>
                <a:lnTo>
                  <a:pt x="415631" y="221199"/>
                </a:lnTo>
                <a:lnTo>
                  <a:pt x="407003" y="234309"/>
                </a:lnTo>
                <a:lnTo>
                  <a:pt x="403966" y="250228"/>
                </a:lnTo>
                <a:lnTo>
                  <a:pt x="405071" y="343966"/>
                </a:lnTo>
                <a:lnTo>
                  <a:pt x="387405" y="344169"/>
                </a:lnTo>
                <a:lnTo>
                  <a:pt x="386262" y="250443"/>
                </a:lnTo>
                <a:lnTo>
                  <a:pt x="360791" y="213066"/>
                </a:lnTo>
                <a:lnTo>
                  <a:pt x="344873" y="210032"/>
                </a:lnTo>
                <a:lnTo>
                  <a:pt x="334840" y="210146"/>
                </a:lnTo>
                <a:lnTo>
                  <a:pt x="318999" y="213569"/>
                </a:lnTo>
                <a:lnTo>
                  <a:pt x="306100" y="222513"/>
                </a:lnTo>
                <a:lnTo>
                  <a:pt x="297467" y="235625"/>
                </a:lnTo>
                <a:lnTo>
                  <a:pt x="294428" y="251548"/>
                </a:lnTo>
                <a:lnTo>
                  <a:pt x="295546" y="345287"/>
                </a:lnTo>
                <a:lnTo>
                  <a:pt x="277868" y="345490"/>
                </a:lnTo>
                <a:lnTo>
                  <a:pt x="274185" y="40411"/>
                </a:lnTo>
                <a:lnTo>
                  <a:pt x="248706" y="3031"/>
                </a:lnTo>
                <a:lnTo>
                  <a:pt x="232783" y="0"/>
                </a:lnTo>
                <a:lnTo>
                  <a:pt x="222750" y="114"/>
                </a:lnTo>
                <a:lnTo>
                  <a:pt x="187024" y="22072"/>
                </a:lnTo>
                <a:lnTo>
                  <a:pt x="181741" y="35013"/>
                </a:lnTo>
                <a:lnTo>
                  <a:pt x="181843" y="42379"/>
                </a:lnTo>
                <a:lnTo>
                  <a:pt x="182618" y="106591"/>
                </a:lnTo>
                <a:lnTo>
                  <a:pt x="182986" y="137972"/>
                </a:lnTo>
                <a:lnTo>
                  <a:pt x="183341" y="167462"/>
                </a:lnTo>
                <a:lnTo>
                  <a:pt x="183595" y="187947"/>
                </a:lnTo>
                <a:lnTo>
                  <a:pt x="183608" y="189382"/>
                </a:lnTo>
                <a:lnTo>
                  <a:pt x="183722" y="190830"/>
                </a:lnTo>
                <a:lnTo>
                  <a:pt x="183875" y="192227"/>
                </a:lnTo>
                <a:lnTo>
                  <a:pt x="183888" y="192404"/>
                </a:lnTo>
                <a:lnTo>
                  <a:pt x="183938" y="192570"/>
                </a:lnTo>
                <a:lnTo>
                  <a:pt x="183964" y="192747"/>
                </a:lnTo>
                <a:lnTo>
                  <a:pt x="184027" y="193179"/>
                </a:lnTo>
                <a:lnTo>
                  <a:pt x="184103" y="193598"/>
                </a:lnTo>
                <a:lnTo>
                  <a:pt x="184180" y="194043"/>
                </a:lnTo>
                <a:lnTo>
                  <a:pt x="186834" y="414375"/>
                </a:lnTo>
                <a:lnTo>
                  <a:pt x="84320" y="314299"/>
                </a:lnTo>
                <a:lnTo>
                  <a:pt x="68220" y="303401"/>
                </a:lnTo>
                <a:lnTo>
                  <a:pt x="50466" y="299162"/>
                </a:lnTo>
                <a:lnTo>
                  <a:pt x="33215" y="301689"/>
                </a:lnTo>
                <a:lnTo>
                  <a:pt x="18622" y="311086"/>
                </a:lnTo>
                <a:lnTo>
                  <a:pt x="11155" y="318731"/>
                </a:lnTo>
                <a:lnTo>
                  <a:pt x="2114" y="333565"/>
                </a:lnTo>
                <a:lnTo>
                  <a:pt x="0" y="350878"/>
                </a:lnTo>
                <a:lnTo>
                  <a:pt x="4659" y="368520"/>
                </a:lnTo>
                <a:lnTo>
                  <a:pt x="15943" y="384340"/>
                </a:lnTo>
                <a:lnTo>
                  <a:pt x="141381" y="506780"/>
                </a:lnTo>
                <a:lnTo>
                  <a:pt x="142663" y="508050"/>
                </a:lnTo>
                <a:lnTo>
                  <a:pt x="144022" y="509219"/>
                </a:lnTo>
                <a:lnTo>
                  <a:pt x="145394" y="510324"/>
                </a:lnTo>
                <a:lnTo>
                  <a:pt x="154612" y="521302"/>
                </a:lnTo>
                <a:lnTo>
                  <a:pt x="167628" y="537970"/>
                </a:lnTo>
                <a:lnTo>
                  <a:pt x="181316" y="557674"/>
                </a:lnTo>
                <a:lnTo>
                  <a:pt x="192549" y="577761"/>
                </a:lnTo>
                <a:lnTo>
                  <a:pt x="203235" y="595115"/>
                </a:lnTo>
                <a:lnTo>
                  <a:pt x="218070" y="609665"/>
                </a:lnTo>
                <a:lnTo>
                  <a:pt x="236390" y="619607"/>
                </a:lnTo>
                <a:lnTo>
                  <a:pt x="257535" y="623138"/>
                </a:lnTo>
                <a:lnTo>
                  <a:pt x="541634" y="619721"/>
                </a:lnTo>
                <a:lnTo>
                  <a:pt x="568041" y="614027"/>
                </a:lnTo>
                <a:lnTo>
                  <a:pt x="589537" y="599119"/>
                </a:lnTo>
                <a:lnTo>
                  <a:pt x="603915" y="577263"/>
                </a:lnTo>
                <a:lnTo>
                  <a:pt x="608969" y="550722"/>
                </a:lnTo>
                <a:lnTo>
                  <a:pt x="607699" y="443369"/>
                </a:lnTo>
                <a:lnTo>
                  <a:pt x="607267" y="409714"/>
                </a:lnTo>
                <a:lnTo>
                  <a:pt x="605337" y="247802"/>
                </a:lnTo>
                <a:close/>
              </a:path>
            </a:pathLst>
          </a:custGeom>
          <a:noFill/>
          <a:ln w="9525">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3666A"/>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B5C48725-0F1B-35F9-5140-283F9AA9A773}"/>
              </a:ext>
            </a:extLst>
          </p:cNvPr>
          <p:cNvSpPr>
            <a:spLocks noGrp="1"/>
          </p:cNvSpPr>
          <p:nvPr>
            <p:ph type="body" sz="quarter" idx="14"/>
          </p:nvPr>
        </p:nvSpPr>
        <p:spPr/>
        <p:txBody>
          <a:bodyPr>
            <a:normAutofit fontScale="85000" lnSpcReduction="20000"/>
          </a:bodyPr>
          <a:lstStyle/>
          <a:p>
            <a:r>
              <a:rPr lang="en-US"/>
              <a:t>No program needs to be world class in every capability.  By identifying and visualizing the cyber risk across the portfolio companies, we can understand where to focus scarce resources to effectively balance the needs of the fund and organization with the appropriate level of security is paramount to success. </a:t>
            </a:r>
          </a:p>
          <a:p>
            <a:endParaRPr lang="en-US"/>
          </a:p>
        </p:txBody>
      </p:sp>
      <p:sp>
        <p:nvSpPr>
          <p:cNvPr id="9" name="Title 8">
            <a:extLst>
              <a:ext uri="{FF2B5EF4-FFF2-40B4-BE49-F238E27FC236}">
                <a16:creationId xmlns:a16="http://schemas.microsoft.com/office/drawing/2014/main" id="{E6B5822A-DAA2-DD4E-9B32-69540956F775}"/>
              </a:ext>
            </a:extLst>
          </p:cNvPr>
          <p:cNvSpPr>
            <a:spLocks noGrp="1"/>
          </p:cNvSpPr>
          <p:nvPr>
            <p:ph type="title"/>
          </p:nvPr>
        </p:nvSpPr>
        <p:spPr>
          <a:xfrm>
            <a:off x="814558" y="182880"/>
            <a:ext cx="10007498" cy="861774"/>
          </a:xfrm>
        </p:spPr>
        <p:txBody>
          <a:bodyPr/>
          <a:lstStyle/>
          <a:p>
            <a:r>
              <a:rPr lang="en-US" noProof="0"/>
              <a:t>Securing Your Business </a:t>
            </a:r>
            <a:br>
              <a:rPr lang="en-US" noProof="0"/>
            </a:br>
            <a:endParaRPr lang="en-US"/>
          </a:p>
        </p:txBody>
      </p:sp>
      <p:sp>
        <p:nvSpPr>
          <p:cNvPr id="2" name="Slide Number Placeholder 4">
            <a:extLst>
              <a:ext uri="{FF2B5EF4-FFF2-40B4-BE49-F238E27FC236}">
                <a16:creationId xmlns:a16="http://schemas.microsoft.com/office/drawing/2014/main" id="{79A097E2-A843-E728-BA99-326051F227BB}"/>
              </a:ext>
            </a:extLst>
          </p:cNvPr>
          <p:cNvSpPr txBox="1">
            <a:spLocks/>
          </p:cNvSpPr>
          <p:nvPr/>
        </p:nvSpPr>
        <p:spPr>
          <a:xfrm>
            <a:off x="11451612" y="66469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88B8D"/>
                </a:solidFill>
                <a:effectLst/>
                <a:uLnTx/>
                <a:uFillTx/>
                <a:latin typeface="Arial"/>
                <a:ea typeface="+mn-ea"/>
                <a:cs typeface="+mn-cs"/>
              </a:rPr>
              <a:t>RSM | </a:t>
            </a:r>
            <a:fld id="{D3664AF6-26E3-4378-990F-C4F4E21208D6}"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888B8D"/>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204171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24E97280-5B71-4158-95C6-C2E7E33B404A}"/>
              </a:ext>
            </a:extLst>
          </p:cNvPr>
          <p:cNvGrpSpPr/>
          <p:nvPr/>
        </p:nvGrpSpPr>
        <p:grpSpPr>
          <a:xfrm>
            <a:off x="7084238" y="1240231"/>
            <a:ext cx="4461217" cy="4771884"/>
            <a:chOff x="7284946" y="1507963"/>
            <a:chExt cx="4606597" cy="5197636"/>
          </a:xfrm>
        </p:grpSpPr>
        <p:sp>
          <p:nvSpPr>
            <p:cNvPr id="32" name="Rounded Rectangle 10">
              <a:extLst>
                <a:ext uri="{FF2B5EF4-FFF2-40B4-BE49-F238E27FC236}">
                  <a16:creationId xmlns:a16="http://schemas.microsoft.com/office/drawing/2014/main" id="{74CBBD34-B9E1-4D42-9207-F453FE9D02DE}"/>
                </a:ext>
              </a:extLst>
            </p:cNvPr>
            <p:cNvSpPr/>
            <p:nvPr/>
          </p:nvSpPr>
          <p:spPr>
            <a:xfrm>
              <a:off x="7294657" y="2725879"/>
              <a:ext cx="2194560" cy="3979720"/>
            </a:xfrm>
            <a:prstGeom prst="roundRect">
              <a:avLst>
                <a:gd name="adj" fmla="val 6290"/>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7"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169F6780-0F53-436A-85F2-EA28199D8BD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3231" y="2744865"/>
              <a:ext cx="731520" cy="731520"/>
            </a:xfrm>
            <a:prstGeom prst="rect">
              <a:avLst/>
            </a:prstGeom>
          </p:spPr>
        </p:pic>
        <p:sp>
          <p:nvSpPr>
            <p:cNvPr id="34" name="TextBox 33">
              <a:extLst>
                <a:ext uri="{FF2B5EF4-FFF2-40B4-BE49-F238E27FC236}">
                  <a16:creationId xmlns:a16="http://schemas.microsoft.com/office/drawing/2014/main" id="{A4B3E2E5-45F4-4E64-A3E1-D257046E7AEF}"/>
                </a:ext>
              </a:extLst>
            </p:cNvPr>
            <p:cNvSpPr txBox="1"/>
            <p:nvPr/>
          </p:nvSpPr>
          <p:spPr>
            <a:xfrm>
              <a:off x="7305676" y="3476385"/>
              <a:ext cx="2183542" cy="579646"/>
            </a:xfrm>
            <a:prstGeom prst="rect">
              <a:avLst/>
            </a:prstGeom>
            <a:noFill/>
            <a:ln>
              <a:noFill/>
            </a:ln>
          </p:spPr>
          <p:txBody>
            <a:bodyPr wrap="square" rtlCol="0">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anaged Compliance</a:t>
              </a:r>
            </a:p>
          </p:txBody>
        </p:sp>
        <p:sp>
          <p:nvSpPr>
            <p:cNvPr id="36" name="TextBox 35">
              <a:extLst>
                <a:ext uri="{FF2B5EF4-FFF2-40B4-BE49-F238E27FC236}">
                  <a16:creationId xmlns:a16="http://schemas.microsoft.com/office/drawing/2014/main" id="{3E96B620-DA64-43F0-9C31-D287C6551A0B}"/>
                </a:ext>
              </a:extLst>
            </p:cNvPr>
            <p:cNvSpPr txBox="1"/>
            <p:nvPr/>
          </p:nvSpPr>
          <p:spPr>
            <a:xfrm>
              <a:off x="7284946" y="4168105"/>
              <a:ext cx="2194561" cy="1997150"/>
            </a:xfrm>
            <a:prstGeom prst="rect">
              <a:avLst/>
            </a:prstGeom>
            <a:noFill/>
            <a:ln>
              <a:noFill/>
            </a:ln>
          </p:spPr>
          <p:txBody>
            <a:bodyPr wrap="square" rtlCol="0">
              <a:spAutoFit/>
            </a:bodyPr>
            <a:lstStyle>
              <a:defPPr>
                <a:defRPr lang="en-US"/>
              </a:defPPr>
              <a:lvl1pPr lvl="0">
                <a:lnSpc>
                  <a:spcPct val="150000"/>
                </a:lnSpc>
                <a:defRPr sz="1200">
                  <a:solidFill>
                    <a:prstClr val="white"/>
                  </a:solidFill>
                  <a:latin typeface="Arial" panose="020B0604020202020204"/>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Continuous Compliance Monitoring</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Risk &amp; Compliance Report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SOC/SIEM Integrated for Real Time Awareness</a:t>
              </a:r>
            </a:p>
          </p:txBody>
        </p:sp>
        <p:sp>
          <p:nvSpPr>
            <p:cNvPr id="37" name="Rounded Rectangle 40">
              <a:extLst>
                <a:ext uri="{FF2B5EF4-FFF2-40B4-BE49-F238E27FC236}">
                  <a16:creationId xmlns:a16="http://schemas.microsoft.com/office/drawing/2014/main" id="{C0B836F5-F934-4607-B6AB-3603B39592DE}"/>
                </a:ext>
              </a:extLst>
            </p:cNvPr>
            <p:cNvSpPr/>
            <p:nvPr/>
          </p:nvSpPr>
          <p:spPr>
            <a:xfrm>
              <a:off x="9606568" y="2725879"/>
              <a:ext cx="2194560" cy="3979720"/>
            </a:xfrm>
            <a:prstGeom prst="roundRect">
              <a:avLst>
                <a:gd name="adj" fmla="val 4583"/>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F13B28A0-9CEA-4B72-8A7F-3E0378838CE3}"/>
                </a:ext>
              </a:extLst>
            </p:cNvPr>
            <p:cNvSpPr txBox="1"/>
            <p:nvPr/>
          </p:nvSpPr>
          <p:spPr>
            <a:xfrm>
              <a:off x="9526646" y="3476385"/>
              <a:ext cx="2364897" cy="579646"/>
            </a:xfrm>
            <a:prstGeom prst="rect">
              <a:avLst/>
            </a:prstGeom>
            <a:noFill/>
            <a:ln>
              <a:noFill/>
            </a:ln>
          </p:spPr>
          <p:txBody>
            <a:bodyPr wrap="square" rtlCol="0">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dentity &amp; Access Mgmt.</a:t>
              </a:r>
            </a:p>
          </p:txBody>
        </p:sp>
        <p:sp>
          <p:nvSpPr>
            <p:cNvPr id="39" name="TextBox 38">
              <a:extLst>
                <a:ext uri="{FF2B5EF4-FFF2-40B4-BE49-F238E27FC236}">
                  <a16:creationId xmlns:a16="http://schemas.microsoft.com/office/drawing/2014/main" id="{BCA5F3AB-2FCA-406C-B882-E0A374424FCF}"/>
                </a:ext>
              </a:extLst>
            </p:cNvPr>
            <p:cNvSpPr txBox="1"/>
            <p:nvPr/>
          </p:nvSpPr>
          <p:spPr>
            <a:xfrm>
              <a:off x="9606567" y="4195390"/>
              <a:ext cx="2194561" cy="1997150"/>
            </a:xfrm>
            <a:prstGeom prst="rect">
              <a:avLst/>
            </a:prstGeom>
            <a:noFill/>
            <a:ln>
              <a:noFill/>
            </a:ln>
          </p:spPr>
          <p:txBody>
            <a:bodyPr wrap="square" rtlCol="0">
              <a:spAutoFit/>
            </a:bodyPr>
            <a:lstStyle>
              <a:defPPr>
                <a:defRPr lang="en-US"/>
              </a:defPPr>
              <a:lvl1pPr lvl="0">
                <a:lnSpc>
                  <a:spcPct val="150000"/>
                </a:lnSpc>
                <a:defRPr sz="1200">
                  <a:solidFill>
                    <a:prstClr val="white"/>
                  </a:solidFill>
                  <a:latin typeface="Arial" panose="020B0604020202020204"/>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Managed Identity Servic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Provisioning &amp; Life-cycle Manageme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Separation of Duties Model Beyond Reproach</a:t>
              </a:r>
            </a:p>
          </p:txBody>
        </p:sp>
        <p:pic>
          <p:nvPicPr>
            <p:cNvPr id="40" name="Graphic 39" descr="Employee badge outline">
              <a:extLst>
                <a:ext uri="{FF2B5EF4-FFF2-40B4-BE49-F238E27FC236}">
                  <a16:creationId xmlns:a16="http://schemas.microsoft.com/office/drawing/2014/main" id="{5A5F3C0C-1A78-4395-A2EF-C882D8C7F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38087" y="2744865"/>
              <a:ext cx="731520" cy="731520"/>
            </a:xfrm>
            <a:prstGeom prst="rect">
              <a:avLst/>
            </a:prstGeom>
          </p:spPr>
        </p:pic>
        <p:sp>
          <p:nvSpPr>
            <p:cNvPr id="42" name="Rounded Rectangle 34">
              <a:extLst>
                <a:ext uri="{FF2B5EF4-FFF2-40B4-BE49-F238E27FC236}">
                  <a16:creationId xmlns:a16="http://schemas.microsoft.com/office/drawing/2014/main" id="{C12BE8DB-28C5-4D46-99E8-6233CAC127C0}"/>
                </a:ext>
              </a:extLst>
            </p:cNvPr>
            <p:cNvSpPr/>
            <p:nvPr/>
          </p:nvSpPr>
          <p:spPr>
            <a:xfrm>
              <a:off x="7284946" y="1507963"/>
              <a:ext cx="4516182" cy="1078556"/>
            </a:xfrm>
            <a:prstGeom prst="roundRect">
              <a:avLst>
                <a:gd name="adj" fmla="val 5301"/>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0D5C73D2-9935-4919-8F48-BA049DEBAAFC}"/>
                </a:ext>
              </a:extLst>
            </p:cNvPr>
            <p:cNvSpPr txBox="1"/>
            <p:nvPr/>
          </p:nvSpPr>
          <p:spPr>
            <a:xfrm>
              <a:off x="7305676" y="1606606"/>
              <a:ext cx="4391024" cy="335989"/>
            </a:xfrm>
            <a:prstGeom prst="rect">
              <a:avLst/>
            </a:prstGeom>
            <a:noFill/>
            <a:ln>
              <a:noFill/>
            </a:ln>
          </p:spPr>
          <p:txBody>
            <a:bodyPr wrap="square" rtlCol="0">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ecurity Training / Phishing Simulations</a:t>
              </a:r>
            </a:p>
          </p:txBody>
        </p:sp>
        <p:sp>
          <p:nvSpPr>
            <p:cNvPr id="44" name="TextBox 43">
              <a:extLst>
                <a:ext uri="{FF2B5EF4-FFF2-40B4-BE49-F238E27FC236}">
                  <a16:creationId xmlns:a16="http://schemas.microsoft.com/office/drawing/2014/main" id="{B8E44E33-2141-4E3C-A063-F6D287304D8F}"/>
                </a:ext>
              </a:extLst>
            </p:cNvPr>
            <p:cNvSpPr txBox="1"/>
            <p:nvPr/>
          </p:nvSpPr>
          <p:spPr>
            <a:xfrm>
              <a:off x="7410104" y="1864135"/>
              <a:ext cx="4391024" cy="646331"/>
            </a:xfrm>
            <a:prstGeom prst="rect">
              <a:avLst/>
            </a:prstGeom>
            <a:noFill/>
            <a:ln>
              <a:noFill/>
            </a:ln>
          </p:spPr>
          <p:txBody>
            <a:bodyPr wrap="square" numCol="2" rtlCol="0">
              <a:spAutoFit/>
            </a:bodyPr>
            <a:lstStyle>
              <a:defPPr>
                <a:defRPr lang="en-US"/>
              </a:defPPr>
              <a:lvl1pPr lvl="0">
                <a:lnSpc>
                  <a:spcPct val="150000"/>
                </a:lnSpc>
                <a:defRPr sz="1200">
                  <a:solidFill>
                    <a:prstClr val="white"/>
                  </a:solidFill>
                  <a:latin typeface="Arial" panose="020B0604020202020204"/>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Quarterly Training Curriculu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Quarterly Phishing Campaign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Monthly Report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High Risk User Watch</a:t>
              </a:r>
            </a:p>
          </p:txBody>
        </p:sp>
      </p:grpSp>
      <p:sp>
        <p:nvSpPr>
          <p:cNvPr id="27" name="Rounded Rectangle 26"/>
          <p:cNvSpPr/>
          <p:nvPr/>
        </p:nvSpPr>
        <p:spPr>
          <a:xfrm>
            <a:off x="232775" y="1628262"/>
            <a:ext cx="2194560" cy="4383853"/>
          </a:xfrm>
          <a:prstGeom prst="roundRect">
            <a:avLst>
              <a:gd name="adj" fmla="val 4894"/>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7"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TextBox 45"/>
          <p:cNvSpPr txBox="1"/>
          <p:nvPr/>
        </p:nvSpPr>
        <p:spPr>
          <a:xfrm>
            <a:off x="294165" y="2490588"/>
            <a:ext cx="2191922" cy="335989"/>
          </a:xfrm>
          <a:prstGeom prst="rect">
            <a:avLst/>
          </a:prstGeom>
          <a:noFill/>
          <a:ln>
            <a:noFill/>
          </a:ln>
        </p:spPr>
        <p:txBody>
          <a:bodyPr wrap="square" rtlCol="0">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Vulnerability Mgmt.</a:t>
            </a:r>
          </a:p>
        </p:txBody>
      </p:sp>
      <p:sp>
        <p:nvSpPr>
          <p:cNvPr id="54" name="TextBox 53"/>
          <p:cNvSpPr txBox="1"/>
          <p:nvPr/>
        </p:nvSpPr>
        <p:spPr>
          <a:xfrm>
            <a:off x="301962" y="3340506"/>
            <a:ext cx="2194561" cy="2274149"/>
          </a:xfrm>
          <a:prstGeom prst="rect">
            <a:avLst/>
          </a:prstGeom>
          <a:noFill/>
          <a:ln>
            <a:noFill/>
          </a:ln>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Fully Managed Vulnerability Program</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Proactive Reconnaissanc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Prioritized Risk Awarenes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Regular Penetration Testing </a:t>
            </a:r>
          </a:p>
        </p:txBody>
      </p:sp>
      <p:pic>
        <p:nvPicPr>
          <p:cNvPr id="56" name="Picture 8" descr="Image result for vulnerability management icon"/>
          <p:cNvPicPr>
            <a:picLocks noChangeAspect="1" noChangeArrowheads="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1070211" y="1806709"/>
            <a:ext cx="571355" cy="571356"/>
          </a:xfrm>
          <a:prstGeom prst="rect">
            <a:avLst/>
          </a:prstGeom>
          <a:noFill/>
          <a:extLst>
            <a:ext uri="{909E8E84-426E-40DD-AFC4-6F175D3DCCD1}">
              <a14:hiddenFill xmlns:a14="http://schemas.microsoft.com/office/drawing/2010/main">
                <a:solidFill>
                  <a:srgbClr val="FFFFFF"/>
                </a:solidFill>
              </a14:hiddenFill>
            </a:ext>
          </a:extLst>
        </p:spPr>
      </p:pic>
      <p:sp>
        <p:nvSpPr>
          <p:cNvPr id="35" name="Rounded Rectangle 34"/>
          <p:cNvSpPr/>
          <p:nvPr/>
        </p:nvSpPr>
        <p:spPr>
          <a:xfrm>
            <a:off x="4831865" y="1628263"/>
            <a:ext cx="2194560" cy="4383852"/>
          </a:xfrm>
          <a:prstGeom prst="roundRect">
            <a:avLst>
              <a:gd name="adj" fmla="val 5301"/>
            </a:avLst>
          </a:prstGeom>
          <a:solidFill>
            <a:schemeClr val="tx2">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7"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0" name="Picture 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39709" y="1774507"/>
            <a:ext cx="731520" cy="731520"/>
          </a:xfrm>
          <a:prstGeom prst="rect">
            <a:avLst/>
          </a:prstGeom>
        </p:spPr>
      </p:pic>
      <p:sp>
        <p:nvSpPr>
          <p:cNvPr id="59" name="TextBox 58"/>
          <p:cNvSpPr txBox="1"/>
          <p:nvPr/>
        </p:nvSpPr>
        <p:spPr>
          <a:xfrm>
            <a:off x="4804511" y="2534809"/>
            <a:ext cx="2364897" cy="579646"/>
          </a:xfrm>
          <a:prstGeom prst="rect">
            <a:avLst/>
          </a:prstGeom>
          <a:noFill/>
          <a:ln>
            <a:noFill/>
          </a:ln>
        </p:spPr>
        <p:txBody>
          <a:bodyPr wrap="square" rtlCol="0">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anaged Endpoint Security</a:t>
            </a:r>
          </a:p>
        </p:txBody>
      </p:sp>
      <p:sp>
        <p:nvSpPr>
          <p:cNvPr id="62" name="TextBox 61"/>
          <p:cNvSpPr txBox="1"/>
          <p:nvPr/>
        </p:nvSpPr>
        <p:spPr>
          <a:xfrm>
            <a:off x="4889678" y="3337252"/>
            <a:ext cx="2194561" cy="2551148"/>
          </a:xfrm>
          <a:prstGeom prst="rect">
            <a:avLst/>
          </a:prstGeom>
          <a:noFill/>
          <a:ln>
            <a:noFill/>
          </a:ln>
        </p:spPr>
        <p:txBody>
          <a:bodyPr wrap="square" rtlCol="0">
            <a:spAutoFit/>
          </a:bodyPr>
          <a:lstStyle>
            <a:defPPr>
              <a:defRPr lang="en-US"/>
            </a:defPPr>
            <a:lvl1pPr lvl="0">
              <a:lnSpc>
                <a:spcPct val="150000"/>
              </a:lnSpc>
              <a:defRPr sz="1200">
                <a:solidFill>
                  <a:prstClr val="white"/>
                </a:solidFill>
                <a:latin typeface="Arial" panose="020B0604020202020204"/>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Endpoint Detection &amp; Respons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ncident Respons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Isolation</a:t>
            </a:r>
            <a:r>
              <a:rPr lang="en-US"/>
              <a:t> </a:t>
            </a: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amp; Forensic Analysi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Behavioral &amp; Signature Detection</a:t>
            </a:r>
          </a:p>
        </p:txBody>
      </p:sp>
      <p:sp>
        <p:nvSpPr>
          <p:cNvPr id="19" name="Rounded Rectangle 18"/>
          <p:cNvSpPr/>
          <p:nvPr/>
        </p:nvSpPr>
        <p:spPr>
          <a:xfrm>
            <a:off x="2552619" y="1628263"/>
            <a:ext cx="2194560" cy="4383852"/>
          </a:xfrm>
          <a:prstGeom prst="roundRect">
            <a:avLst>
              <a:gd name="adj" fmla="val 458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p:cNvSpPr txBox="1"/>
          <p:nvPr/>
        </p:nvSpPr>
        <p:spPr>
          <a:xfrm>
            <a:off x="2590046" y="3340408"/>
            <a:ext cx="2194561" cy="2551148"/>
          </a:xfrm>
          <a:prstGeom prst="rect">
            <a:avLst/>
          </a:prstGeom>
          <a:noFill/>
          <a:ln>
            <a:noFill/>
          </a:ln>
        </p:spPr>
        <p:txBody>
          <a:bodyPr wrap="square" rtlCol="0">
            <a:spAutoFit/>
          </a:bodyPr>
          <a:lstStyle>
            <a:defPPr>
              <a:defRPr lang="en-US"/>
            </a:defPPr>
            <a:lvl1pPr lvl="0">
              <a:lnSpc>
                <a:spcPct val="150000"/>
              </a:lnSpc>
              <a:defRPr sz="1200">
                <a:solidFill>
                  <a:prstClr val="white"/>
                </a:solidFill>
                <a:latin typeface="Arial" panose="020B0604020202020204"/>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24x7x365 Real-Time Security Monitoring</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Threat Intelligence Enriched</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Any device: IT, OT, and Io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Targeted Traffic Monitoring From Cloud to Closet</a:t>
            </a:r>
          </a:p>
        </p:txBody>
      </p:sp>
      <p:sp>
        <p:nvSpPr>
          <p:cNvPr id="29" name="TextBox 28"/>
          <p:cNvSpPr txBox="1"/>
          <p:nvPr/>
        </p:nvSpPr>
        <p:spPr>
          <a:xfrm>
            <a:off x="2457257" y="2490588"/>
            <a:ext cx="2364897" cy="579646"/>
          </a:xfrm>
          <a:prstGeom prst="rect">
            <a:avLst/>
          </a:prstGeom>
          <a:noFill/>
          <a:ln>
            <a:noFill/>
          </a:ln>
        </p:spPr>
        <p:txBody>
          <a:bodyPr wrap="square" rtlCol="0">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etwork Security Monitoring</a:t>
            </a:r>
          </a:p>
        </p:txBody>
      </p:sp>
      <p:sp>
        <p:nvSpPr>
          <p:cNvPr id="2" name="Title 1">
            <a:extLst>
              <a:ext uri="{FF2B5EF4-FFF2-40B4-BE49-F238E27FC236}">
                <a16:creationId xmlns:a16="http://schemas.microsoft.com/office/drawing/2014/main" id="{FB838A45-C74E-411C-9B2E-4AFD09040DC1}"/>
              </a:ext>
            </a:extLst>
          </p:cNvPr>
          <p:cNvSpPr>
            <a:spLocks noGrp="1"/>
          </p:cNvSpPr>
          <p:nvPr>
            <p:ph type="title"/>
          </p:nvPr>
        </p:nvSpPr>
        <p:spPr/>
        <p:txBody>
          <a:bodyPr/>
          <a:lstStyle/>
          <a:p>
            <a:r>
              <a:rPr lang="en-US"/>
              <a:t>Security Focus Areas</a:t>
            </a:r>
          </a:p>
        </p:txBody>
      </p:sp>
      <p:pic>
        <p:nvPicPr>
          <p:cNvPr id="16" name="Graphic 15" descr="Server outline">
            <a:extLst>
              <a:ext uri="{FF2B5EF4-FFF2-40B4-BE49-F238E27FC236}">
                <a16:creationId xmlns:a16="http://schemas.microsoft.com/office/drawing/2014/main" id="{A823F268-5A79-4244-B88F-0EC8192C507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48193" y="1726627"/>
            <a:ext cx="731520" cy="731520"/>
          </a:xfrm>
          <a:prstGeom prst="rect">
            <a:avLst/>
          </a:prstGeom>
        </p:spPr>
      </p:pic>
      <p:sp>
        <p:nvSpPr>
          <p:cNvPr id="25" name="Arrow: Left-Right 24">
            <a:extLst>
              <a:ext uri="{FF2B5EF4-FFF2-40B4-BE49-F238E27FC236}">
                <a16:creationId xmlns:a16="http://schemas.microsoft.com/office/drawing/2014/main" id="{A1B7A6BB-B253-4FEE-B09C-8D55BAD60ED4}"/>
              </a:ext>
            </a:extLst>
          </p:cNvPr>
          <p:cNvSpPr/>
          <p:nvPr/>
        </p:nvSpPr>
        <p:spPr>
          <a:xfrm>
            <a:off x="422885" y="1133195"/>
            <a:ext cx="6582136" cy="462626"/>
          </a:xfrm>
          <a:prstGeom prst="leftRightArrow">
            <a:avLst/>
          </a:prstGeom>
          <a:solidFill>
            <a:srgbClr val="FF66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j-lt"/>
                <a:ea typeface="+mn-ea"/>
                <a:cs typeface="+mn-cs"/>
              </a:rPr>
              <a:t>Threat Intelligence Enriched XDR Service</a:t>
            </a:r>
          </a:p>
        </p:txBody>
      </p:sp>
      <p:sp>
        <p:nvSpPr>
          <p:cNvPr id="30" name="Slide Number Placeholder 2">
            <a:extLst>
              <a:ext uri="{FF2B5EF4-FFF2-40B4-BE49-F238E27FC236}">
                <a16:creationId xmlns:a16="http://schemas.microsoft.com/office/drawing/2014/main" id="{2884CE18-1261-40F5-BC0C-4A4B868520E9}"/>
              </a:ext>
            </a:extLst>
          </p:cNvPr>
          <p:cNvSpPr>
            <a:spLocks noGrp="1"/>
          </p:cNvSpPr>
          <p:nvPr>
            <p:ph type="sldNum" sz="quarter" idx="12"/>
          </p:nvPr>
        </p:nvSpPr>
        <p:spPr>
          <a:xfrm>
            <a:off x="508000" y="6176963"/>
            <a:ext cx="2743200" cy="276753"/>
          </a:xfrm>
          <a:prstGeom prst="rect">
            <a:avLst/>
          </a:prstGeom>
        </p:spPr>
        <p:txBody>
          <a:bodyP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216A59-F14F-4160-BEAB-21121CD18D5D}" type="slidenum">
              <a:rPr lang="en-US" smtClean="0"/>
              <a:pPr/>
              <a:t>36</a:t>
            </a:fld>
            <a:endParaRPr lang="en-US"/>
          </a:p>
        </p:txBody>
      </p:sp>
    </p:spTree>
    <p:extLst>
      <p:ext uri="{BB962C8B-B14F-4D97-AF65-F5344CB8AC3E}">
        <p14:creationId xmlns:p14="http://schemas.microsoft.com/office/powerpoint/2010/main" val="2873352851"/>
      </p:ext>
    </p:extLst>
  </p:cSld>
  <p:clrMapOvr>
    <a:masterClrMapping/>
  </p:clrMapOvr>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Freeform 63">
            <a:extLst>
              <a:ext uri="{FF2B5EF4-FFF2-40B4-BE49-F238E27FC236}">
                <a16:creationId xmlns:a16="http://schemas.microsoft.com/office/drawing/2014/main" id="{A56D821B-A3EB-4EBC-A675-0A00F80E52A1}"/>
              </a:ext>
            </a:extLst>
          </p:cNvPr>
          <p:cNvSpPr>
            <a:spLocks noChangeArrowheads="1"/>
          </p:cNvSpPr>
          <p:nvPr/>
        </p:nvSpPr>
        <p:spPr bwMode="auto">
          <a:xfrm>
            <a:off x="1064713" y="1267469"/>
            <a:ext cx="1332713" cy="984851"/>
          </a:xfrm>
          <a:custGeom>
            <a:avLst/>
            <a:gdLst>
              <a:gd name="T0" fmla="*/ 1267 w 1792"/>
              <a:gd name="T1" fmla="*/ 1418 h 1552"/>
              <a:gd name="T2" fmla="*/ 525 w 1792"/>
              <a:gd name="T3" fmla="*/ 1418 h 1552"/>
              <a:gd name="T4" fmla="*/ 153 w 1792"/>
              <a:gd name="T5" fmla="*/ 775 h 1552"/>
              <a:gd name="T6" fmla="*/ 525 w 1792"/>
              <a:gd name="T7" fmla="*/ 132 h 1552"/>
              <a:gd name="T8" fmla="*/ 1267 w 1792"/>
              <a:gd name="T9" fmla="*/ 132 h 1552"/>
              <a:gd name="T10" fmla="*/ 1638 w 1792"/>
              <a:gd name="T11" fmla="*/ 775 h 1552"/>
              <a:gd name="T12" fmla="*/ 1267 w 1792"/>
              <a:gd name="T13" fmla="*/ 1418 h 1552"/>
              <a:gd name="T14" fmla="*/ 1343 w 1792"/>
              <a:gd name="T15" fmla="*/ 0 h 1552"/>
              <a:gd name="T16" fmla="*/ 448 w 1792"/>
              <a:gd name="T17" fmla="*/ 0 h 1552"/>
              <a:gd name="T18" fmla="*/ 0 w 1792"/>
              <a:gd name="T19" fmla="*/ 775 h 1552"/>
              <a:gd name="T20" fmla="*/ 448 w 1792"/>
              <a:gd name="T21" fmla="*/ 1551 h 1552"/>
              <a:gd name="T22" fmla="*/ 1343 w 1792"/>
              <a:gd name="T23" fmla="*/ 1551 h 1552"/>
              <a:gd name="T24" fmla="*/ 1791 w 1792"/>
              <a:gd name="T25" fmla="*/ 775 h 1552"/>
              <a:gd name="T26" fmla="*/ 1343 w 1792"/>
              <a:gd name="T27"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2" h="1552">
                <a:moveTo>
                  <a:pt x="1267" y="1418"/>
                </a:moveTo>
                <a:lnTo>
                  <a:pt x="525" y="1418"/>
                </a:lnTo>
                <a:lnTo>
                  <a:pt x="153" y="775"/>
                </a:lnTo>
                <a:lnTo>
                  <a:pt x="525" y="132"/>
                </a:lnTo>
                <a:lnTo>
                  <a:pt x="1267" y="132"/>
                </a:lnTo>
                <a:lnTo>
                  <a:pt x="1638" y="775"/>
                </a:lnTo>
                <a:lnTo>
                  <a:pt x="1267" y="1418"/>
                </a:lnTo>
                <a:close/>
                <a:moveTo>
                  <a:pt x="1343" y="0"/>
                </a:moveTo>
                <a:lnTo>
                  <a:pt x="448" y="0"/>
                </a:lnTo>
                <a:lnTo>
                  <a:pt x="0" y="775"/>
                </a:lnTo>
                <a:lnTo>
                  <a:pt x="448" y="1551"/>
                </a:lnTo>
                <a:lnTo>
                  <a:pt x="1343" y="1551"/>
                </a:lnTo>
                <a:lnTo>
                  <a:pt x="1791" y="775"/>
                </a:lnTo>
                <a:lnTo>
                  <a:pt x="1343" y="0"/>
                </a:lnTo>
                <a:close/>
              </a:path>
            </a:pathLst>
          </a:custGeom>
          <a:solidFill>
            <a:schemeClr val="accent3"/>
          </a:solidFill>
          <a:ln>
            <a:no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36" name="Freeform 64">
            <a:extLst>
              <a:ext uri="{FF2B5EF4-FFF2-40B4-BE49-F238E27FC236}">
                <a16:creationId xmlns:a16="http://schemas.microsoft.com/office/drawing/2014/main" id="{C036E571-2A69-436F-AB1E-96E40F5D6D9B}"/>
              </a:ext>
            </a:extLst>
          </p:cNvPr>
          <p:cNvSpPr>
            <a:spLocks noChangeArrowheads="1"/>
          </p:cNvSpPr>
          <p:nvPr/>
        </p:nvSpPr>
        <p:spPr bwMode="auto">
          <a:xfrm>
            <a:off x="2092150" y="1267469"/>
            <a:ext cx="8377216" cy="984851"/>
          </a:xfrm>
          <a:custGeom>
            <a:avLst/>
            <a:gdLst>
              <a:gd name="T0" fmla="*/ 10999 w 11000"/>
              <a:gd name="T1" fmla="*/ 0 h 1552"/>
              <a:gd name="T2" fmla="*/ 0 w 11000"/>
              <a:gd name="T3" fmla="*/ 0 h 1552"/>
              <a:gd name="T4" fmla="*/ 448 w 11000"/>
              <a:gd name="T5" fmla="*/ 775 h 1552"/>
              <a:gd name="T6" fmla="*/ 0 w 11000"/>
              <a:gd name="T7" fmla="*/ 1551 h 1552"/>
              <a:gd name="T8" fmla="*/ 10999 w 11000"/>
              <a:gd name="T9" fmla="*/ 1551 h 1552"/>
              <a:gd name="T10" fmla="*/ 10999 w 11000"/>
              <a:gd name="T11" fmla="*/ 0 h 1552"/>
            </a:gdLst>
            <a:ahLst/>
            <a:cxnLst>
              <a:cxn ang="0">
                <a:pos x="T0" y="T1"/>
              </a:cxn>
              <a:cxn ang="0">
                <a:pos x="T2" y="T3"/>
              </a:cxn>
              <a:cxn ang="0">
                <a:pos x="T4" y="T5"/>
              </a:cxn>
              <a:cxn ang="0">
                <a:pos x="T6" y="T7"/>
              </a:cxn>
              <a:cxn ang="0">
                <a:pos x="T8" y="T9"/>
              </a:cxn>
              <a:cxn ang="0">
                <a:pos x="T10" y="T11"/>
              </a:cxn>
            </a:cxnLst>
            <a:rect l="0" t="0" r="r" b="b"/>
            <a:pathLst>
              <a:path w="11000" h="1552">
                <a:moveTo>
                  <a:pt x="10999" y="0"/>
                </a:moveTo>
                <a:lnTo>
                  <a:pt x="0" y="0"/>
                </a:lnTo>
                <a:lnTo>
                  <a:pt x="448" y="775"/>
                </a:lnTo>
                <a:lnTo>
                  <a:pt x="0" y="1551"/>
                </a:lnTo>
                <a:lnTo>
                  <a:pt x="10999" y="1551"/>
                </a:lnTo>
                <a:lnTo>
                  <a:pt x="10999" y="0"/>
                </a:lnTo>
              </a:path>
            </a:pathLst>
          </a:custGeom>
          <a:solidFill>
            <a:schemeClr val="accent3">
              <a:lumMod val="60000"/>
              <a:lumOff val="40000"/>
              <a:alpha val="15000"/>
            </a:schemeClr>
          </a:solidFill>
          <a:ln>
            <a:no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37" name="Freeform 146">
            <a:extLst>
              <a:ext uri="{FF2B5EF4-FFF2-40B4-BE49-F238E27FC236}">
                <a16:creationId xmlns:a16="http://schemas.microsoft.com/office/drawing/2014/main" id="{205BCD82-F994-4CB7-B776-C08A4106293E}"/>
              </a:ext>
            </a:extLst>
          </p:cNvPr>
          <p:cNvSpPr>
            <a:spLocks noChangeArrowheads="1"/>
          </p:cNvSpPr>
          <p:nvPr/>
        </p:nvSpPr>
        <p:spPr bwMode="auto">
          <a:xfrm>
            <a:off x="2092149" y="5413852"/>
            <a:ext cx="8377217" cy="984851"/>
          </a:xfrm>
          <a:custGeom>
            <a:avLst/>
            <a:gdLst>
              <a:gd name="T0" fmla="*/ 10999 w 11000"/>
              <a:gd name="T1" fmla="*/ 0 h 1551"/>
              <a:gd name="T2" fmla="*/ 0 w 11000"/>
              <a:gd name="T3" fmla="*/ 0 h 1551"/>
              <a:gd name="T4" fmla="*/ 448 w 11000"/>
              <a:gd name="T5" fmla="*/ 775 h 1551"/>
              <a:gd name="T6" fmla="*/ 0 w 11000"/>
              <a:gd name="T7" fmla="*/ 1550 h 1551"/>
              <a:gd name="T8" fmla="*/ 10999 w 11000"/>
              <a:gd name="T9" fmla="*/ 1550 h 1551"/>
              <a:gd name="T10" fmla="*/ 10999 w 11000"/>
              <a:gd name="T11" fmla="*/ 0 h 1551"/>
            </a:gdLst>
            <a:ahLst/>
            <a:cxnLst>
              <a:cxn ang="0">
                <a:pos x="T0" y="T1"/>
              </a:cxn>
              <a:cxn ang="0">
                <a:pos x="T2" y="T3"/>
              </a:cxn>
              <a:cxn ang="0">
                <a:pos x="T4" y="T5"/>
              </a:cxn>
              <a:cxn ang="0">
                <a:pos x="T6" y="T7"/>
              </a:cxn>
              <a:cxn ang="0">
                <a:pos x="T8" y="T9"/>
              </a:cxn>
              <a:cxn ang="0">
                <a:pos x="T10" y="T11"/>
              </a:cxn>
            </a:cxnLst>
            <a:rect l="0" t="0" r="r" b="b"/>
            <a:pathLst>
              <a:path w="11000" h="1551">
                <a:moveTo>
                  <a:pt x="10999" y="0"/>
                </a:moveTo>
                <a:lnTo>
                  <a:pt x="0" y="0"/>
                </a:lnTo>
                <a:lnTo>
                  <a:pt x="448" y="775"/>
                </a:lnTo>
                <a:lnTo>
                  <a:pt x="0" y="1550"/>
                </a:lnTo>
                <a:lnTo>
                  <a:pt x="10999" y="1550"/>
                </a:lnTo>
                <a:lnTo>
                  <a:pt x="10999" y="0"/>
                </a:lnTo>
              </a:path>
            </a:pathLst>
          </a:custGeom>
          <a:solidFill>
            <a:schemeClr val="bg1">
              <a:lumMod val="75000"/>
              <a:alpha val="15000"/>
            </a:schemeClr>
          </a:solidFill>
          <a:ln>
            <a:no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38" name="Freeform 147">
            <a:extLst>
              <a:ext uri="{FF2B5EF4-FFF2-40B4-BE49-F238E27FC236}">
                <a16:creationId xmlns:a16="http://schemas.microsoft.com/office/drawing/2014/main" id="{019352C2-DC54-4EAC-BD6D-5A9AE6A6F63C}"/>
              </a:ext>
            </a:extLst>
          </p:cNvPr>
          <p:cNvSpPr>
            <a:spLocks noChangeArrowheads="1"/>
          </p:cNvSpPr>
          <p:nvPr/>
        </p:nvSpPr>
        <p:spPr bwMode="auto">
          <a:xfrm>
            <a:off x="1064713" y="5413852"/>
            <a:ext cx="1332713" cy="984851"/>
          </a:xfrm>
          <a:custGeom>
            <a:avLst/>
            <a:gdLst>
              <a:gd name="T0" fmla="*/ 1267 w 1792"/>
              <a:gd name="T1" fmla="*/ 1418 h 1551"/>
              <a:gd name="T2" fmla="*/ 525 w 1792"/>
              <a:gd name="T3" fmla="*/ 1418 h 1551"/>
              <a:gd name="T4" fmla="*/ 153 w 1792"/>
              <a:gd name="T5" fmla="*/ 775 h 1551"/>
              <a:gd name="T6" fmla="*/ 525 w 1792"/>
              <a:gd name="T7" fmla="*/ 132 h 1551"/>
              <a:gd name="T8" fmla="*/ 1267 w 1792"/>
              <a:gd name="T9" fmla="*/ 132 h 1551"/>
              <a:gd name="T10" fmla="*/ 1638 w 1792"/>
              <a:gd name="T11" fmla="*/ 775 h 1551"/>
              <a:gd name="T12" fmla="*/ 1267 w 1792"/>
              <a:gd name="T13" fmla="*/ 1418 h 1551"/>
              <a:gd name="T14" fmla="*/ 1343 w 1792"/>
              <a:gd name="T15" fmla="*/ 0 h 1551"/>
              <a:gd name="T16" fmla="*/ 448 w 1792"/>
              <a:gd name="T17" fmla="*/ 0 h 1551"/>
              <a:gd name="T18" fmla="*/ 0 w 1792"/>
              <a:gd name="T19" fmla="*/ 775 h 1551"/>
              <a:gd name="T20" fmla="*/ 448 w 1792"/>
              <a:gd name="T21" fmla="*/ 1550 h 1551"/>
              <a:gd name="T22" fmla="*/ 1343 w 1792"/>
              <a:gd name="T23" fmla="*/ 1550 h 1551"/>
              <a:gd name="T24" fmla="*/ 1791 w 1792"/>
              <a:gd name="T25" fmla="*/ 775 h 1551"/>
              <a:gd name="T26" fmla="*/ 1343 w 1792"/>
              <a:gd name="T27" fmla="*/ 0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2" h="1551">
                <a:moveTo>
                  <a:pt x="1267" y="1418"/>
                </a:moveTo>
                <a:lnTo>
                  <a:pt x="525" y="1418"/>
                </a:lnTo>
                <a:lnTo>
                  <a:pt x="153" y="775"/>
                </a:lnTo>
                <a:lnTo>
                  <a:pt x="525" y="132"/>
                </a:lnTo>
                <a:lnTo>
                  <a:pt x="1267" y="132"/>
                </a:lnTo>
                <a:lnTo>
                  <a:pt x="1638" y="775"/>
                </a:lnTo>
                <a:lnTo>
                  <a:pt x="1267" y="1418"/>
                </a:lnTo>
                <a:close/>
                <a:moveTo>
                  <a:pt x="1343" y="0"/>
                </a:moveTo>
                <a:lnTo>
                  <a:pt x="448" y="0"/>
                </a:lnTo>
                <a:lnTo>
                  <a:pt x="0" y="775"/>
                </a:lnTo>
                <a:lnTo>
                  <a:pt x="448" y="1550"/>
                </a:lnTo>
                <a:lnTo>
                  <a:pt x="1343" y="1550"/>
                </a:lnTo>
                <a:lnTo>
                  <a:pt x="1791" y="775"/>
                </a:lnTo>
                <a:lnTo>
                  <a:pt x="1343" y="0"/>
                </a:lnTo>
                <a:close/>
              </a:path>
            </a:pathLst>
          </a:custGeom>
          <a:solidFill>
            <a:schemeClr val="accent5"/>
          </a:solidFill>
          <a:ln>
            <a:solidFill>
              <a:schemeClr val="bg1"/>
            </a:solid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39" name="Freeform 231">
            <a:extLst>
              <a:ext uri="{FF2B5EF4-FFF2-40B4-BE49-F238E27FC236}">
                <a16:creationId xmlns:a16="http://schemas.microsoft.com/office/drawing/2014/main" id="{6373236C-8933-46C5-B982-F066AE5A9198}"/>
              </a:ext>
            </a:extLst>
          </p:cNvPr>
          <p:cNvSpPr>
            <a:spLocks noChangeArrowheads="1"/>
          </p:cNvSpPr>
          <p:nvPr/>
        </p:nvSpPr>
        <p:spPr bwMode="auto">
          <a:xfrm>
            <a:off x="2808529" y="2286036"/>
            <a:ext cx="7660837" cy="984851"/>
          </a:xfrm>
          <a:custGeom>
            <a:avLst/>
            <a:gdLst>
              <a:gd name="T0" fmla="*/ 10998 w 10999"/>
              <a:gd name="T1" fmla="*/ 0 h 1551"/>
              <a:gd name="T2" fmla="*/ 0 w 10999"/>
              <a:gd name="T3" fmla="*/ 0 h 1551"/>
              <a:gd name="T4" fmla="*/ 447 w 10999"/>
              <a:gd name="T5" fmla="*/ 775 h 1551"/>
              <a:gd name="T6" fmla="*/ 0 w 10999"/>
              <a:gd name="T7" fmla="*/ 1550 h 1551"/>
              <a:gd name="T8" fmla="*/ 10998 w 10999"/>
              <a:gd name="T9" fmla="*/ 1550 h 1551"/>
              <a:gd name="T10" fmla="*/ 10998 w 10999"/>
              <a:gd name="T11" fmla="*/ 0 h 1551"/>
            </a:gdLst>
            <a:ahLst/>
            <a:cxnLst>
              <a:cxn ang="0">
                <a:pos x="T0" y="T1"/>
              </a:cxn>
              <a:cxn ang="0">
                <a:pos x="T2" y="T3"/>
              </a:cxn>
              <a:cxn ang="0">
                <a:pos x="T4" y="T5"/>
              </a:cxn>
              <a:cxn ang="0">
                <a:pos x="T6" y="T7"/>
              </a:cxn>
              <a:cxn ang="0">
                <a:pos x="T8" y="T9"/>
              </a:cxn>
              <a:cxn ang="0">
                <a:pos x="T10" y="T11"/>
              </a:cxn>
            </a:cxnLst>
            <a:rect l="0" t="0" r="r" b="b"/>
            <a:pathLst>
              <a:path w="10999" h="1551">
                <a:moveTo>
                  <a:pt x="10998" y="0"/>
                </a:moveTo>
                <a:lnTo>
                  <a:pt x="0" y="0"/>
                </a:lnTo>
                <a:lnTo>
                  <a:pt x="447" y="775"/>
                </a:lnTo>
                <a:lnTo>
                  <a:pt x="0" y="1550"/>
                </a:lnTo>
                <a:lnTo>
                  <a:pt x="10998" y="1550"/>
                </a:lnTo>
                <a:lnTo>
                  <a:pt x="10998" y="0"/>
                </a:lnTo>
              </a:path>
            </a:pathLst>
          </a:custGeom>
          <a:solidFill>
            <a:schemeClr val="accent1">
              <a:lumMod val="20000"/>
              <a:lumOff val="80000"/>
              <a:alpha val="15000"/>
            </a:schemeClr>
          </a:solidFill>
          <a:ln>
            <a:no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40" name="Freeform 232">
            <a:extLst>
              <a:ext uri="{FF2B5EF4-FFF2-40B4-BE49-F238E27FC236}">
                <a16:creationId xmlns:a16="http://schemas.microsoft.com/office/drawing/2014/main" id="{8337084C-E209-4EE4-B629-B5EFB4F7EFE5}"/>
              </a:ext>
            </a:extLst>
          </p:cNvPr>
          <p:cNvSpPr>
            <a:spLocks noChangeArrowheads="1"/>
          </p:cNvSpPr>
          <p:nvPr/>
        </p:nvSpPr>
        <p:spPr bwMode="auto">
          <a:xfrm>
            <a:off x="1731068" y="2249536"/>
            <a:ext cx="1332713" cy="984851"/>
          </a:xfrm>
          <a:custGeom>
            <a:avLst/>
            <a:gdLst>
              <a:gd name="T0" fmla="*/ 1267 w 1792"/>
              <a:gd name="T1" fmla="*/ 1418 h 1551"/>
              <a:gd name="T2" fmla="*/ 524 w 1792"/>
              <a:gd name="T3" fmla="*/ 1418 h 1551"/>
              <a:gd name="T4" fmla="*/ 152 w 1792"/>
              <a:gd name="T5" fmla="*/ 775 h 1551"/>
              <a:gd name="T6" fmla="*/ 524 w 1792"/>
              <a:gd name="T7" fmla="*/ 132 h 1551"/>
              <a:gd name="T8" fmla="*/ 1267 w 1792"/>
              <a:gd name="T9" fmla="*/ 132 h 1551"/>
              <a:gd name="T10" fmla="*/ 1638 w 1792"/>
              <a:gd name="T11" fmla="*/ 775 h 1551"/>
              <a:gd name="T12" fmla="*/ 1267 w 1792"/>
              <a:gd name="T13" fmla="*/ 1418 h 1551"/>
              <a:gd name="T14" fmla="*/ 1343 w 1792"/>
              <a:gd name="T15" fmla="*/ 0 h 1551"/>
              <a:gd name="T16" fmla="*/ 447 w 1792"/>
              <a:gd name="T17" fmla="*/ 0 h 1551"/>
              <a:gd name="T18" fmla="*/ 0 w 1792"/>
              <a:gd name="T19" fmla="*/ 775 h 1551"/>
              <a:gd name="T20" fmla="*/ 447 w 1792"/>
              <a:gd name="T21" fmla="*/ 1550 h 1551"/>
              <a:gd name="T22" fmla="*/ 1343 w 1792"/>
              <a:gd name="T23" fmla="*/ 1550 h 1551"/>
              <a:gd name="T24" fmla="*/ 1791 w 1792"/>
              <a:gd name="T25" fmla="*/ 775 h 1551"/>
              <a:gd name="T26" fmla="*/ 1343 w 1792"/>
              <a:gd name="T27" fmla="*/ 0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2" h="1551">
                <a:moveTo>
                  <a:pt x="1267" y="1418"/>
                </a:moveTo>
                <a:lnTo>
                  <a:pt x="524" y="1418"/>
                </a:lnTo>
                <a:lnTo>
                  <a:pt x="152" y="775"/>
                </a:lnTo>
                <a:lnTo>
                  <a:pt x="524" y="132"/>
                </a:lnTo>
                <a:lnTo>
                  <a:pt x="1267" y="132"/>
                </a:lnTo>
                <a:lnTo>
                  <a:pt x="1638" y="775"/>
                </a:lnTo>
                <a:lnTo>
                  <a:pt x="1267" y="1418"/>
                </a:lnTo>
                <a:close/>
                <a:moveTo>
                  <a:pt x="1343" y="0"/>
                </a:moveTo>
                <a:lnTo>
                  <a:pt x="447" y="0"/>
                </a:lnTo>
                <a:lnTo>
                  <a:pt x="0" y="775"/>
                </a:lnTo>
                <a:lnTo>
                  <a:pt x="447" y="1550"/>
                </a:lnTo>
                <a:lnTo>
                  <a:pt x="1343" y="1550"/>
                </a:lnTo>
                <a:lnTo>
                  <a:pt x="1791" y="775"/>
                </a:lnTo>
                <a:lnTo>
                  <a:pt x="1343" y="0"/>
                </a:lnTo>
                <a:close/>
              </a:path>
            </a:pathLst>
          </a:custGeom>
          <a:solidFill>
            <a:srgbClr val="009ADD"/>
          </a:solidFill>
          <a:ln>
            <a:solidFill>
              <a:srgbClr val="009ADD"/>
            </a:solid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41" name="Freeform 314">
            <a:extLst>
              <a:ext uri="{FF2B5EF4-FFF2-40B4-BE49-F238E27FC236}">
                <a16:creationId xmlns:a16="http://schemas.microsoft.com/office/drawing/2014/main" id="{4D5519A9-BE32-45C2-8C1A-BA8F063967F2}"/>
              </a:ext>
            </a:extLst>
          </p:cNvPr>
          <p:cNvSpPr>
            <a:spLocks noChangeArrowheads="1"/>
          </p:cNvSpPr>
          <p:nvPr/>
        </p:nvSpPr>
        <p:spPr bwMode="auto">
          <a:xfrm>
            <a:off x="2092150" y="3323883"/>
            <a:ext cx="8377216" cy="984851"/>
          </a:xfrm>
          <a:custGeom>
            <a:avLst/>
            <a:gdLst>
              <a:gd name="T0" fmla="*/ 10999 w 11000"/>
              <a:gd name="T1" fmla="*/ 0 h 1552"/>
              <a:gd name="T2" fmla="*/ 0 w 11000"/>
              <a:gd name="T3" fmla="*/ 0 h 1552"/>
              <a:gd name="T4" fmla="*/ 448 w 11000"/>
              <a:gd name="T5" fmla="*/ 776 h 1552"/>
              <a:gd name="T6" fmla="*/ 0 w 11000"/>
              <a:gd name="T7" fmla="*/ 1551 h 1552"/>
              <a:gd name="T8" fmla="*/ 10999 w 11000"/>
              <a:gd name="T9" fmla="*/ 1551 h 1552"/>
              <a:gd name="T10" fmla="*/ 10999 w 11000"/>
              <a:gd name="T11" fmla="*/ 0 h 1552"/>
            </a:gdLst>
            <a:ahLst/>
            <a:cxnLst>
              <a:cxn ang="0">
                <a:pos x="T0" y="T1"/>
              </a:cxn>
              <a:cxn ang="0">
                <a:pos x="T2" y="T3"/>
              </a:cxn>
              <a:cxn ang="0">
                <a:pos x="T4" y="T5"/>
              </a:cxn>
              <a:cxn ang="0">
                <a:pos x="T6" y="T7"/>
              </a:cxn>
              <a:cxn ang="0">
                <a:pos x="T8" y="T9"/>
              </a:cxn>
              <a:cxn ang="0">
                <a:pos x="T10" y="T11"/>
              </a:cxn>
            </a:cxnLst>
            <a:rect l="0" t="0" r="r" b="b"/>
            <a:pathLst>
              <a:path w="11000" h="1552">
                <a:moveTo>
                  <a:pt x="10999" y="0"/>
                </a:moveTo>
                <a:lnTo>
                  <a:pt x="0" y="0"/>
                </a:lnTo>
                <a:lnTo>
                  <a:pt x="448" y="776"/>
                </a:lnTo>
                <a:lnTo>
                  <a:pt x="0" y="1551"/>
                </a:lnTo>
                <a:lnTo>
                  <a:pt x="10999" y="1551"/>
                </a:lnTo>
                <a:lnTo>
                  <a:pt x="10999" y="0"/>
                </a:lnTo>
              </a:path>
            </a:pathLst>
          </a:custGeom>
          <a:solidFill>
            <a:schemeClr val="accent2">
              <a:lumMod val="20000"/>
              <a:lumOff val="80000"/>
              <a:alpha val="15000"/>
            </a:schemeClr>
          </a:solidFill>
          <a:ln>
            <a:no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42" name="Freeform 315">
            <a:extLst>
              <a:ext uri="{FF2B5EF4-FFF2-40B4-BE49-F238E27FC236}">
                <a16:creationId xmlns:a16="http://schemas.microsoft.com/office/drawing/2014/main" id="{D77F7715-6B26-4173-80ED-85BC9E8F05C5}"/>
              </a:ext>
            </a:extLst>
          </p:cNvPr>
          <p:cNvSpPr>
            <a:spLocks noChangeArrowheads="1"/>
          </p:cNvSpPr>
          <p:nvPr/>
        </p:nvSpPr>
        <p:spPr bwMode="auto">
          <a:xfrm>
            <a:off x="1064713" y="3323883"/>
            <a:ext cx="1332713" cy="984851"/>
          </a:xfrm>
          <a:custGeom>
            <a:avLst/>
            <a:gdLst>
              <a:gd name="T0" fmla="*/ 1267 w 1792"/>
              <a:gd name="T1" fmla="*/ 1419 h 1552"/>
              <a:gd name="T2" fmla="*/ 525 w 1792"/>
              <a:gd name="T3" fmla="*/ 1419 h 1552"/>
              <a:gd name="T4" fmla="*/ 153 w 1792"/>
              <a:gd name="T5" fmla="*/ 776 h 1552"/>
              <a:gd name="T6" fmla="*/ 525 w 1792"/>
              <a:gd name="T7" fmla="*/ 132 h 1552"/>
              <a:gd name="T8" fmla="*/ 1267 w 1792"/>
              <a:gd name="T9" fmla="*/ 132 h 1552"/>
              <a:gd name="T10" fmla="*/ 1638 w 1792"/>
              <a:gd name="T11" fmla="*/ 776 h 1552"/>
              <a:gd name="T12" fmla="*/ 1267 w 1792"/>
              <a:gd name="T13" fmla="*/ 1419 h 1552"/>
              <a:gd name="T14" fmla="*/ 1343 w 1792"/>
              <a:gd name="T15" fmla="*/ 0 h 1552"/>
              <a:gd name="T16" fmla="*/ 448 w 1792"/>
              <a:gd name="T17" fmla="*/ 0 h 1552"/>
              <a:gd name="T18" fmla="*/ 0 w 1792"/>
              <a:gd name="T19" fmla="*/ 776 h 1552"/>
              <a:gd name="T20" fmla="*/ 448 w 1792"/>
              <a:gd name="T21" fmla="*/ 1551 h 1552"/>
              <a:gd name="T22" fmla="*/ 1343 w 1792"/>
              <a:gd name="T23" fmla="*/ 1551 h 1552"/>
              <a:gd name="T24" fmla="*/ 1791 w 1792"/>
              <a:gd name="T25" fmla="*/ 776 h 1552"/>
              <a:gd name="T26" fmla="*/ 1343 w 1792"/>
              <a:gd name="T27"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2" h="1552">
                <a:moveTo>
                  <a:pt x="1267" y="1419"/>
                </a:moveTo>
                <a:lnTo>
                  <a:pt x="525" y="1419"/>
                </a:lnTo>
                <a:lnTo>
                  <a:pt x="153" y="776"/>
                </a:lnTo>
                <a:lnTo>
                  <a:pt x="525" y="132"/>
                </a:lnTo>
                <a:lnTo>
                  <a:pt x="1267" y="132"/>
                </a:lnTo>
                <a:lnTo>
                  <a:pt x="1638" y="776"/>
                </a:lnTo>
                <a:lnTo>
                  <a:pt x="1267" y="1419"/>
                </a:lnTo>
                <a:close/>
                <a:moveTo>
                  <a:pt x="1343" y="0"/>
                </a:moveTo>
                <a:lnTo>
                  <a:pt x="448" y="0"/>
                </a:lnTo>
                <a:lnTo>
                  <a:pt x="0" y="776"/>
                </a:lnTo>
                <a:lnTo>
                  <a:pt x="448" y="1551"/>
                </a:lnTo>
                <a:lnTo>
                  <a:pt x="1343" y="1551"/>
                </a:lnTo>
                <a:lnTo>
                  <a:pt x="1791" y="776"/>
                </a:lnTo>
                <a:lnTo>
                  <a:pt x="1343" y="0"/>
                </a:lnTo>
                <a:close/>
              </a:path>
            </a:pathLst>
          </a:custGeom>
          <a:solidFill>
            <a:srgbClr val="39992E"/>
          </a:solidFill>
          <a:ln>
            <a:solidFill>
              <a:srgbClr val="39992E"/>
            </a:solid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43" name="Freeform 406">
            <a:extLst>
              <a:ext uri="{FF2B5EF4-FFF2-40B4-BE49-F238E27FC236}">
                <a16:creationId xmlns:a16="http://schemas.microsoft.com/office/drawing/2014/main" id="{DB56BE29-0525-4FBA-A826-F67BDCC5DB68}"/>
              </a:ext>
            </a:extLst>
          </p:cNvPr>
          <p:cNvSpPr>
            <a:spLocks noChangeArrowheads="1"/>
          </p:cNvSpPr>
          <p:nvPr/>
        </p:nvSpPr>
        <p:spPr bwMode="auto">
          <a:xfrm>
            <a:off x="2808529" y="4384395"/>
            <a:ext cx="7660838" cy="984851"/>
          </a:xfrm>
          <a:custGeom>
            <a:avLst/>
            <a:gdLst>
              <a:gd name="T0" fmla="*/ 10998 w 10999"/>
              <a:gd name="T1" fmla="*/ 0 h 1552"/>
              <a:gd name="T2" fmla="*/ 0 w 10999"/>
              <a:gd name="T3" fmla="*/ 0 h 1552"/>
              <a:gd name="T4" fmla="*/ 447 w 10999"/>
              <a:gd name="T5" fmla="*/ 775 h 1552"/>
              <a:gd name="T6" fmla="*/ 0 w 10999"/>
              <a:gd name="T7" fmla="*/ 1551 h 1552"/>
              <a:gd name="T8" fmla="*/ 10998 w 10999"/>
              <a:gd name="T9" fmla="*/ 1551 h 1552"/>
              <a:gd name="T10" fmla="*/ 10998 w 10999"/>
              <a:gd name="T11" fmla="*/ 0 h 1552"/>
            </a:gdLst>
            <a:ahLst/>
            <a:cxnLst>
              <a:cxn ang="0">
                <a:pos x="T0" y="T1"/>
              </a:cxn>
              <a:cxn ang="0">
                <a:pos x="T2" y="T3"/>
              </a:cxn>
              <a:cxn ang="0">
                <a:pos x="T4" y="T5"/>
              </a:cxn>
              <a:cxn ang="0">
                <a:pos x="T6" y="T7"/>
              </a:cxn>
              <a:cxn ang="0">
                <a:pos x="T8" y="T9"/>
              </a:cxn>
              <a:cxn ang="0">
                <a:pos x="T10" y="T11"/>
              </a:cxn>
            </a:cxnLst>
            <a:rect l="0" t="0" r="r" b="b"/>
            <a:pathLst>
              <a:path w="10999" h="1552">
                <a:moveTo>
                  <a:pt x="10998" y="0"/>
                </a:moveTo>
                <a:lnTo>
                  <a:pt x="0" y="0"/>
                </a:lnTo>
                <a:lnTo>
                  <a:pt x="447" y="775"/>
                </a:lnTo>
                <a:lnTo>
                  <a:pt x="0" y="1551"/>
                </a:lnTo>
                <a:lnTo>
                  <a:pt x="10998" y="1551"/>
                </a:lnTo>
                <a:lnTo>
                  <a:pt x="10998" y="0"/>
                </a:lnTo>
              </a:path>
            </a:pathLst>
          </a:custGeom>
          <a:solidFill>
            <a:schemeClr val="accent4">
              <a:lumMod val="20000"/>
              <a:lumOff val="80000"/>
              <a:alpha val="15000"/>
            </a:schemeClr>
          </a:solidFill>
          <a:ln>
            <a:no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144" name="Freeform 407">
            <a:extLst>
              <a:ext uri="{FF2B5EF4-FFF2-40B4-BE49-F238E27FC236}">
                <a16:creationId xmlns:a16="http://schemas.microsoft.com/office/drawing/2014/main" id="{6485F5FF-8D8A-4F46-AFCC-833AEDCCB33E}"/>
              </a:ext>
            </a:extLst>
          </p:cNvPr>
          <p:cNvSpPr>
            <a:spLocks noChangeArrowheads="1"/>
          </p:cNvSpPr>
          <p:nvPr/>
        </p:nvSpPr>
        <p:spPr bwMode="auto">
          <a:xfrm>
            <a:off x="1731068" y="4347895"/>
            <a:ext cx="1332713" cy="984851"/>
          </a:xfrm>
          <a:custGeom>
            <a:avLst/>
            <a:gdLst>
              <a:gd name="T0" fmla="*/ 1267 w 1792"/>
              <a:gd name="T1" fmla="*/ 1419 h 1552"/>
              <a:gd name="T2" fmla="*/ 524 w 1792"/>
              <a:gd name="T3" fmla="*/ 1419 h 1552"/>
              <a:gd name="T4" fmla="*/ 152 w 1792"/>
              <a:gd name="T5" fmla="*/ 775 h 1552"/>
              <a:gd name="T6" fmla="*/ 524 w 1792"/>
              <a:gd name="T7" fmla="*/ 132 h 1552"/>
              <a:gd name="T8" fmla="*/ 1267 w 1792"/>
              <a:gd name="T9" fmla="*/ 132 h 1552"/>
              <a:gd name="T10" fmla="*/ 1638 w 1792"/>
              <a:gd name="T11" fmla="*/ 775 h 1552"/>
              <a:gd name="T12" fmla="*/ 1267 w 1792"/>
              <a:gd name="T13" fmla="*/ 1419 h 1552"/>
              <a:gd name="T14" fmla="*/ 1343 w 1792"/>
              <a:gd name="T15" fmla="*/ 0 h 1552"/>
              <a:gd name="T16" fmla="*/ 447 w 1792"/>
              <a:gd name="T17" fmla="*/ 0 h 1552"/>
              <a:gd name="T18" fmla="*/ 0 w 1792"/>
              <a:gd name="T19" fmla="*/ 775 h 1552"/>
              <a:gd name="T20" fmla="*/ 447 w 1792"/>
              <a:gd name="T21" fmla="*/ 1551 h 1552"/>
              <a:gd name="T22" fmla="*/ 1343 w 1792"/>
              <a:gd name="T23" fmla="*/ 1551 h 1552"/>
              <a:gd name="T24" fmla="*/ 1791 w 1792"/>
              <a:gd name="T25" fmla="*/ 775 h 1552"/>
              <a:gd name="T26" fmla="*/ 1343 w 1792"/>
              <a:gd name="T27"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2" h="1552">
                <a:moveTo>
                  <a:pt x="1267" y="1419"/>
                </a:moveTo>
                <a:lnTo>
                  <a:pt x="524" y="1419"/>
                </a:lnTo>
                <a:lnTo>
                  <a:pt x="152" y="775"/>
                </a:lnTo>
                <a:lnTo>
                  <a:pt x="524" y="132"/>
                </a:lnTo>
                <a:lnTo>
                  <a:pt x="1267" y="132"/>
                </a:lnTo>
                <a:lnTo>
                  <a:pt x="1638" y="775"/>
                </a:lnTo>
                <a:lnTo>
                  <a:pt x="1267" y="1419"/>
                </a:lnTo>
                <a:close/>
                <a:moveTo>
                  <a:pt x="1343" y="0"/>
                </a:moveTo>
                <a:lnTo>
                  <a:pt x="447" y="0"/>
                </a:lnTo>
                <a:lnTo>
                  <a:pt x="0" y="775"/>
                </a:lnTo>
                <a:lnTo>
                  <a:pt x="447" y="1551"/>
                </a:lnTo>
                <a:lnTo>
                  <a:pt x="1343" y="1551"/>
                </a:lnTo>
                <a:lnTo>
                  <a:pt x="1791" y="775"/>
                </a:lnTo>
                <a:lnTo>
                  <a:pt x="1343" y="0"/>
                </a:lnTo>
                <a:close/>
              </a:path>
            </a:pathLst>
          </a:custGeom>
          <a:solidFill>
            <a:schemeClr val="accent4"/>
          </a:solidFill>
          <a:ln>
            <a:noFill/>
          </a:ln>
          <a:effectLst/>
        </p:spPr>
        <p:txBody>
          <a:bodyPr wrap="none" anchor="ct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747994"/>
              </a:solidFill>
              <a:effectLst/>
              <a:uLnTx/>
              <a:uFillTx/>
              <a:latin typeface="Arial"/>
              <a:ea typeface="+mn-ea"/>
              <a:cs typeface="+mn-cs"/>
            </a:endParaRPr>
          </a:p>
        </p:txBody>
      </p:sp>
      <p:sp>
        <p:nvSpPr>
          <p:cNvPr id="203" name="TextBox 202">
            <a:extLst>
              <a:ext uri="{FF2B5EF4-FFF2-40B4-BE49-F238E27FC236}">
                <a16:creationId xmlns:a16="http://schemas.microsoft.com/office/drawing/2014/main" id="{5E341F50-5466-4E80-B0D3-576297B2C1A7}"/>
              </a:ext>
            </a:extLst>
          </p:cNvPr>
          <p:cNvSpPr txBox="1"/>
          <p:nvPr/>
        </p:nvSpPr>
        <p:spPr>
          <a:xfrm>
            <a:off x="1280808" y="1595356"/>
            <a:ext cx="884150" cy="369332"/>
          </a:xfrm>
          <a:prstGeom prst="rect">
            <a:avLst/>
          </a:prstGeom>
          <a:noFill/>
        </p:spPr>
        <p:txBody>
          <a:bodyPr wrap="square" rtlCol="0" anchor="ctr">
            <a:spAutoFit/>
          </a:body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888B8D"/>
                </a:solidFill>
                <a:effectLst/>
                <a:uLnTx/>
                <a:uFillTx/>
                <a:latin typeface="Arial"/>
                <a:ea typeface="+mn-ea"/>
                <a:cs typeface="Poppins" pitchFamily="2" charset="77"/>
              </a:rPr>
              <a:t>01</a:t>
            </a:r>
          </a:p>
        </p:txBody>
      </p:sp>
      <p:sp>
        <p:nvSpPr>
          <p:cNvPr id="204" name="TextBox 203">
            <a:extLst>
              <a:ext uri="{FF2B5EF4-FFF2-40B4-BE49-F238E27FC236}">
                <a16:creationId xmlns:a16="http://schemas.microsoft.com/office/drawing/2014/main" id="{BE514AAC-7CC5-454E-89B0-4F28883F4E69}"/>
              </a:ext>
            </a:extLst>
          </p:cNvPr>
          <p:cNvSpPr txBox="1"/>
          <p:nvPr/>
        </p:nvSpPr>
        <p:spPr>
          <a:xfrm>
            <a:off x="1945630" y="2576721"/>
            <a:ext cx="884150" cy="369332"/>
          </a:xfrm>
          <a:prstGeom prst="rect">
            <a:avLst/>
          </a:prstGeom>
          <a:noFill/>
        </p:spPr>
        <p:txBody>
          <a:bodyPr wrap="square" rtlCol="0" anchor="ctr">
            <a:spAutoFit/>
          </a:body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009ADD"/>
                </a:solidFill>
                <a:effectLst/>
                <a:uLnTx/>
                <a:uFillTx/>
                <a:latin typeface="Arial"/>
                <a:ea typeface="+mn-ea"/>
                <a:cs typeface="Poppins" pitchFamily="2" charset="77"/>
              </a:rPr>
              <a:t>02</a:t>
            </a:r>
          </a:p>
        </p:txBody>
      </p:sp>
      <p:sp>
        <p:nvSpPr>
          <p:cNvPr id="205" name="TextBox 204">
            <a:extLst>
              <a:ext uri="{FF2B5EF4-FFF2-40B4-BE49-F238E27FC236}">
                <a16:creationId xmlns:a16="http://schemas.microsoft.com/office/drawing/2014/main" id="{85541E81-8178-4F91-B499-136D368E79BB}"/>
              </a:ext>
            </a:extLst>
          </p:cNvPr>
          <p:cNvSpPr txBox="1"/>
          <p:nvPr/>
        </p:nvSpPr>
        <p:spPr>
          <a:xfrm>
            <a:off x="1280808" y="3650366"/>
            <a:ext cx="884150" cy="369332"/>
          </a:xfrm>
          <a:prstGeom prst="rect">
            <a:avLst/>
          </a:prstGeom>
          <a:noFill/>
        </p:spPr>
        <p:txBody>
          <a:bodyPr wrap="square" rtlCol="0" anchor="ctr">
            <a:spAutoFit/>
          </a:body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39992E"/>
                </a:solidFill>
                <a:effectLst/>
                <a:uLnTx/>
                <a:uFillTx/>
                <a:latin typeface="Arial"/>
                <a:ea typeface="+mn-ea"/>
                <a:cs typeface="Poppins" pitchFamily="2" charset="77"/>
              </a:rPr>
              <a:t>03</a:t>
            </a:r>
          </a:p>
        </p:txBody>
      </p:sp>
      <p:sp>
        <p:nvSpPr>
          <p:cNvPr id="206" name="TextBox 205">
            <a:extLst>
              <a:ext uri="{FF2B5EF4-FFF2-40B4-BE49-F238E27FC236}">
                <a16:creationId xmlns:a16="http://schemas.microsoft.com/office/drawing/2014/main" id="{A7A8465E-AE61-4E44-A3F3-37868835584F}"/>
              </a:ext>
            </a:extLst>
          </p:cNvPr>
          <p:cNvSpPr txBox="1"/>
          <p:nvPr/>
        </p:nvSpPr>
        <p:spPr>
          <a:xfrm>
            <a:off x="1945630" y="4673678"/>
            <a:ext cx="884150" cy="369332"/>
          </a:xfrm>
          <a:prstGeom prst="rect">
            <a:avLst/>
          </a:prstGeom>
          <a:noFill/>
        </p:spPr>
        <p:txBody>
          <a:bodyPr wrap="square" rtlCol="0" anchor="ctr">
            <a:spAutoFit/>
          </a:body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63666A"/>
                </a:solidFill>
                <a:effectLst/>
                <a:uLnTx/>
                <a:uFillTx/>
                <a:latin typeface="Arial"/>
                <a:ea typeface="+mn-ea"/>
                <a:cs typeface="Poppins" pitchFamily="2" charset="77"/>
              </a:rPr>
              <a:t>04</a:t>
            </a:r>
          </a:p>
        </p:txBody>
      </p:sp>
      <p:sp>
        <p:nvSpPr>
          <p:cNvPr id="207" name="TextBox 206">
            <a:extLst>
              <a:ext uri="{FF2B5EF4-FFF2-40B4-BE49-F238E27FC236}">
                <a16:creationId xmlns:a16="http://schemas.microsoft.com/office/drawing/2014/main" id="{19812D8D-27D4-450C-8631-59A160335D6B}"/>
              </a:ext>
            </a:extLst>
          </p:cNvPr>
          <p:cNvSpPr txBox="1"/>
          <p:nvPr/>
        </p:nvSpPr>
        <p:spPr>
          <a:xfrm>
            <a:off x="1280808" y="5738933"/>
            <a:ext cx="884150" cy="369332"/>
          </a:xfrm>
          <a:prstGeom prst="rect">
            <a:avLst/>
          </a:prstGeom>
          <a:noFill/>
        </p:spPr>
        <p:txBody>
          <a:bodyPr wrap="square" rtlCol="0" anchor="ctr">
            <a:spAutoFit/>
          </a:body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F1B434"/>
                </a:solidFill>
                <a:effectLst/>
                <a:uLnTx/>
                <a:uFillTx/>
                <a:latin typeface="Arial"/>
                <a:ea typeface="+mn-ea"/>
                <a:cs typeface="Poppins" pitchFamily="2" charset="77"/>
              </a:rPr>
              <a:t>05</a:t>
            </a:r>
          </a:p>
        </p:txBody>
      </p:sp>
      <p:sp>
        <p:nvSpPr>
          <p:cNvPr id="208" name="TextBox 207">
            <a:extLst>
              <a:ext uri="{FF2B5EF4-FFF2-40B4-BE49-F238E27FC236}">
                <a16:creationId xmlns:a16="http://schemas.microsoft.com/office/drawing/2014/main" id="{1E07777D-9973-422E-BAF9-016420586F79}"/>
              </a:ext>
            </a:extLst>
          </p:cNvPr>
          <p:cNvSpPr txBox="1"/>
          <p:nvPr/>
        </p:nvSpPr>
        <p:spPr>
          <a:xfrm>
            <a:off x="2829780" y="1299084"/>
            <a:ext cx="6244740" cy="369332"/>
          </a:xfrm>
          <a:prstGeom prst="rect">
            <a:avLst/>
          </a:prstGeom>
          <a:noFill/>
        </p:spPr>
        <p:txBody>
          <a:bodyPr wrap="square" lIns="91440" tIns="45720" rIns="91440" bIns="45720" rtlCol="0" anchor="b">
            <a:sp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888B8D"/>
                </a:solidFill>
                <a:effectLst/>
                <a:uLnTx/>
                <a:uFillTx/>
                <a:latin typeface="Arial"/>
                <a:ea typeface="+mn-ea"/>
                <a:cs typeface="Poppins"/>
              </a:rPr>
              <a:t>A high wire act of digital experience and security</a:t>
            </a:r>
          </a:p>
        </p:txBody>
      </p:sp>
      <p:sp>
        <p:nvSpPr>
          <p:cNvPr id="209" name="TextBox 208">
            <a:extLst>
              <a:ext uri="{FF2B5EF4-FFF2-40B4-BE49-F238E27FC236}">
                <a16:creationId xmlns:a16="http://schemas.microsoft.com/office/drawing/2014/main" id="{F820F9B8-5F24-4127-9B5C-D3A11F2D5CD7}"/>
              </a:ext>
            </a:extLst>
          </p:cNvPr>
          <p:cNvSpPr txBox="1"/>
          <p:nvPr/>
        </p:nvSpPr>
        <p:spPr>
          <a:xfrm>
            <a:off x="2808530" y="1646641"/>
            <a:ext cx="7470286" cy="553998"/>
          </a:xfrm>
          <a:prstGeom prst="rect">
            <a:avLst/>
          </a:prstGeom>
          <a:noFill/>
        </p:spPr>
        <p:txBody>
          <a:bodyPr wrap="square" rtlCol="0">
            <a:spAutoFit/>
          </a:bodyPr>
          <a:lstStyle/>
          <a:p>
            <a:pPr marL="0" marR="0" lvl="3" indent="0" algn="l" defTabSz="914400" rtl="0" eaLnBrk="1" fontAlgn="base" latinLnBrk="0" hangingPunct="1">
              <a:lnSpc>
                <a:spcPct val="100000"/>
              </a:lnSpc>
              <a:spcBef>
                <a:spcPts val="0"/>
              </a:spcBef>
              <a:spcAft>
                <a:spcPts val="1800"/>
              </a:spcAft>
              <a:buClr>
                <a:srgbClr val="3F9C35"/>
              </a:buClr>
              <a:buSzPct val="160000"/>
              <a:buFontTx/>
              <a:buNone/>
              <a:tabLst/>
              <a:defRPr/>
            </a:pPr>
            <a:r>
              <a:rPr kumimoji="0" lang="en-US" sz="1500" b="0" i="0" u="none" strike="noStrike" kern="1200" cap="none" spc="-20" normalizeH="0" baseline="0" noProof="0">
                <a:ln>
                  <a:noFill/>
                </a:ln>
                <a:solidFill>
                  <a:srgbClr val="747994"/>
                </a:solidFill>
                <a:effectLst/>
                <a:uLnTx/>
                <a:uFillTx/>
                <a:latin typeface="Arial"/>
                <a:ea typeface="+mn-ea"/>
                <a:cs typeface="Poppins" pitchFamily="2" charset="77"/>
              </a:rPr>
              <a:t>The growing complexity of a seamless digital experience that improve each customer’s experience will continue to fight for balance with customer expectations for security</a:t>
            </a:r>
          </a:p>
        </p:txBody>
      </p:sp>
      <p:sp>
        <p:nvSpPr>
          <p:cNvPr id="210" name="TextBox 209">
            <a:extLst>
              <a:ext uri="{FF2B5EF4-FFF2-40B4-BE49-F238E27FC236}">
                <a16:creationId xmlns:a16="http://schemas.microsoft.com/office/drawing/2014/main" id="{B590D2B9-FC81-460C-849E-844A50BB66DA}"/>
              </a:ext>
            </a:extLst>
          </p:cNvPr>
          <p:cNvSpPr txBox="1"/>
          <p:nvPr/>
        </p:nvSpPr>
        <p:spPr>
          <a:xfrm>
            <a:off x="2808530" y="3386108"/>
            <a:ext cx="5887789" cy="369332"/>
          </a:xfrm>
          <a:prstGeom prst="rect">
            <a:avLst/>
          </a:prstGeom>
          <a:noFill/>
        </p:spPr>
        <p:txBody>
          <a:bodyPr wrap="square" lIns="91440" tIns="45720" rIns="91440" bIns="45720" rtlCol="0" anchor="b">
            <a:sp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3F9C35"/>
                </a:solidFill>
                <a:effectLst/>
                <a:uLnTx/>
                <a:uFillTx/>
                <a:latin typeface="Arial"/>
                <a:ea typeface="+mn-ea"/>
                <a:cs typeface="Poppins"/>
              </a:rPr>
              <a:t>Rise (again) of the nation state actor</a:t>
            </a:r>
          </a:p>
        </p:txBody>
      </p:sp>
      <p:sp>
        <p:nvSpPr>
          <p:cNvPr id="211" name="TextBox 210">
            <a:extLst>
              <a:ext uri="{FF2B5EF4-FFF2-40B4-BE49-F238E27FC236}">
                <a16:creationId xmlns:a16="http://schemas.microsoft.com/office/drawing/2014/main" id="{ABBF1C60-8DC6-412B-AB16-4CFBD14375D9}"/>
              </a:ext>
            </a:extLst>
          </p:cNvPr>
          <p:cNvSpPr txBox="1"/>
          <p:nvPr/>
        </p:nvSpPr>
        <p:spPr>
          <a:xfrm>
            <a:off x="2808529" y="3690208"/>
            <a:ext cx="6817677" cy="553998"/>
          </a:xfrm>
          <a:prstGeom prst="rect">
            <a:avLst/>
          </a:prstGeom>
          <a:noFill/>
        </p:spPr>
        <p:txBody>
          <a:bodyPr wrap="square" lIns="91440" tIns="45720" rIns="91440" bIns="45720" rtlCol="0" anchor="t">
            <a:spAutoFit/>
          </a:bodyPr>
          <a:lstStyle/>
          <a:p>
            <a:pPr marL="0" marR="0" lvl="3" indent="0" algn="l" defTabSz="914400" rtl="0" eaLnBrk="1" fontAlgn="base" latinLnBrk="0" hangingPunct="1">
              <a:lnSpc>
                <a:spcPct val="100000"/>
              </a:lnSpc>
              <a:spcBef>
                <a:spcPts val="0"/>
              </a:spcBef>
              <a:spcAft>
                <a:spcPts val="1800"/>
              </a:spcAft>
              <a:buClr>
                <a:srgbClr val="3F9C35"/>
              </a:buClr>
              <a:buSzPct val="160000"/>
              <a:buFontTx/>
              <a:buNone/>
              <a:tabLst/>
              <a:defRPr/>
            </a:pPr>
            <a:r>
              <a:rPr kumimoji="0" lang="en-US" sz="1500" b="0" i="0" u="none" strike="noStrike" kern="1200" cap="none" spc="-20" normalizeH="0" baseline="0" noProof="0">
                <a:ln>
                  <a:noFill/>
                </a:ln>
                <a:solidFill>
                  <a:srgbClr val="747994"/>
                </a:solidFill>
                <a:effectLst/>
                <a:uLnTx/>
                <a:uFillTx/>
                <a:latin typeface="Arial"/>
                <a:ea typeface="+mn-ea"/>
                <a:cs typeface="Poppins" pitchFamily="2" charset="77"/>
              </a:rPr>
              <a:t>Cyber espionage will continue to increase, and nation states will expand their usage of it to achieve multiple objectives</a:t>
            </a:r>
          </a:p>
        </p:txBody>
      </p:sp>
      <p:sp>
        <p:nvSpPr>
          <p:cNvPr id="212" name="TextBox 211">
            <a:extLst>
              <a:ext uri="{FF2B5EF4-FFF2-40B4-BE49-F238E27FC236}">
                <a16:creationId xmlns:a16="http://schemas.microsoft.com/office/drawing/2014/main" id="{7CDAC8BC-5236-4934-A8C2-0B613458FFFB}"/>
              </a:ext>
            </a:extLst>
          </p:cNvPr>
          <p:cNvSpPr txBox="1"/>
          <p:nvPr/>
        </p:nvSpPr>
        <p:spPr>
          <a:xfrm>
            <a:off x="2810807" y="5481429"/>
            <a:ext cx="6226721" cy="369332"/>
          </a:xfrm>
          <a:prstGeom prst="rect">
            <a:avLst/>
          </a:prstGeom>
          <a:noFill/>
        </p:spPr>
        <p:txBody>
          <a:bodyPr wrap="square" lIns="91440" tIns="45720" rIns="91440" bIns="45720" rtlCol="0" anchor="b">
            <a:sp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888B8D"/>
                </a:solidFill>
                <a:effectLst/>
                <a:uLnTx/>
                <a:uFillTx/>
                <a:latin typeface="Arial"/>
                <a:ea typeface="+mn-ea"/>
                <a:cs typeface="Poppins"/>
              </a:rPr>
              <a:t>Stitching together a patchwork of regulations</a:t>
            </a:r>
          </a:p>
        </p:txBody>
      </p:sp>
      <p:sp>
        <p:nvSpPr>
          <p:cNvPr id="213" name="TextBox 212">
            <a:extLst>
              <a:ext uri="{FF2B5EF4-FFF2-40B4-BE49-F238E27FC236}">
                <a16:creationId xmlns:a16="http://schemas.microsoft.com/office/drawing/2014/main" id="{18D57AA9-B81D-4257-B1AE-A29B5BFCCA79}"/>
              </a:ext>
            </a:extLst>
          </p:cNvPr>
          <p:cNvSpPr txBox="1"/>
          <p:nvPr/>
        </p:nvSpPr>
        <p:spPr>
          <a:xfrm>
            <a:off x="2811943" y="5781828"/>
            <a:ext cx="725302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20" normalizeH="0" baseline="0" noProof="0">
                <a:ln>
                  <a:noFill/>
                </a:ln>
                <a:solidFill>
                  <a:srgbClr val="747994"/>
                </a:solidFill>
                <a:effectLst/>
                <a:uLnTx/>
                <a:uFillTx/>
                <a:latin typeface="Arial"/>
                <a:ea typeface="+mn-ea"/>
                <a:cs typeface="Poppins" pitchFamily="2" charset="77"/>
              </a:rPr>
              <a:t>Regulators will expand requirements on cyber/privacy due care but there will be limited unification of state, federal, and international expectations</a:t>
            </a:r>
          </a:p>
        </p:txBody>
      </p:sp>
      <p:sp>
        <p:nvSpPr>
          <p:cNvPr id="214" name="TextBox 213">
            <a:extLst>
              <a:ext uri="{FF2B5EF4-FFF2-40B4-BE49-F238E27FC236}">
                <a16:creationId xmlns:a16="http://schemas.microsoft.com/office/drawing/2014/main" id="{B9FFB5C2-10DE-4C2B-8DC9-DAA8EFC3401F}"/>
              </a:ext>
            </a:extLst>
          </p:cNvPr>
          <p:cNvSpPr txBox="1"/>
          <p:nvPr/>
        </p:nvSpPr>
        <p:spPr>
          <a:xfrm>
            <a:off x="3477125" y="2309996"/>
            <a:ext cx="5887789" cy="369332"/>
          </a:xfrm>
          <a:prstGeom prst="rect">
            <a:avLst/>
          </a:prstGeom>
          <a:noFill/>
        </p:spPr>
        <p:txBody>
          <a:bodyPr wrap="square" lIns="91440" tIns="45720" rIns="91440" bIns="45720" rtlCol="0" anchor="b">
            <a:sp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009CDE"/>
                </a:solidFill>
                <a:effectLst/>
                <a:uLnTx/>
                <a:uFillTx/>
                <a:latin typeface="Arial"/>
                <a:ea typeface="+mn-ea"/>
                <a:cs typeface="Poppins"/>
              </a:rPr>
              <a:t>The latest supply chain disruptions are now digital</a:t>
            </a:r>
          </a:p>
        </p:txBody>
      </p:sp>
      <p:sp>
        <p:nvSpPr>
          <p:cNvPr id="216" name="TextBox 215">
            <a:extLst>
              <a:ext uri="{FF2B5EF4-FFF2-40B4-BE49-F238E27FC236}">
                <a16:creationId xmlns:a16="http://schemas.microsoft.com/office/drawing/2014/main" id="{9777CC95-6E9D-4936-801A-B95151F86EA3}"/>
              </a:ext>
            </a:extLst>
          </p:cNvPr>
          <p:cNvSpPr txBox="1"/>
          <p:nvPr/>
        </p:nvSpPr>
        <p:spPr>
          <a:xfrm>
            <a:off x="3477124" y="2620565"/>
            <a:ext cx="6149083" cy="553998"/>
          </a:xfrm>
          <a:prstGeom prst="rect">
            <a:avLst/>
          </a:prstGeom>
          <a:noFill/>
        </p:spPr>
        <p:txBody>
          <a:bodyPr wrap="square" rtlCol="0">
            <a:spAutoFit/>
          </a:bodyPr>
          <a:lstStyle/>
          <a:p>
            <a:pPr marL="0" marR="0" lvl="3" indent="0" algn="l" defTabSz="914400" rtl="0" eaLnBrk="1" fontAlgn="base" latinLnBrk="0" hangingPunct="1">
              <a:lnSpc>
                <a:spcPct val="100000"/>
              </a:lnSpc>
              <a:spcBef>
                <a:spcPts val="0"/>
              </a:spcBef>
              <a:spcAft>
                <a:spcPts val="1800"/>
              </a:spcAft>
              <a:buClr>
                <a:srgbClr val="3F9C35"/>
              </a:buClr>
              <a:buSzPct val="160000"/>
              <a:buFontTx/>
              <a:buNone/>
              <a:tabLst/>
              <a:defRPr/>
            </a:pPr>
            <a:r>
              <a:rPr kumimoji="0" lang="en-US" sz="1500" b="0" i="0" u="none" strike="noStrike" kern="1200" cap="none" spc="-20" normalizeH="0" baseline="0" noProof="0">
                <a:ln>
                  <a:noFill/>
                </a:ln>
                <a:solidFill>
                  <a:srgbClr val="747994"/>
                </a:solidFill>
                <a:effectLst/>
                <a:uLnTx/>
                <a:uFillTx/>
                <a:latin typeface="Arial"/>
                <a:ea typeface="+mn-ea"/>
                <a:cs typeface="Poppins" pitchFamily="2" charset="77"/>
              </a:rPr>
              <a:t>Rising interconnectivity between business partnerships and vendors will result in more frequent and severe ‘ripples’ from cyber events</a:t>
            </a:r>
          </a:p>
        </p:txBody>
      </p:sp>
      <p:sp>
        <p:nvSpPr>
          <p:cNvPr id="217" name="TextBox 216">
            <a:extLst>
              <a:ext uri="{FF2B5EF4-FFF2-40B4-BE49-F238E27FC236}">
                <a16:creationId xmlns:a16="http://schemas.microsoft.com/office/drawing/2014/main" id="{3ED70B2A-DA6D-4ACC-89F4-E931FE9880B0}"/>
              </a:ext>
            </a:extLst>
          </p:cNvPr>
          <p:cNvSpPr txBox="1"/>
          <p:nvPr/>
        </p:nvSpPr>
        <p:spPr>
          <a:xfrm>
            <a:off x="3477125" y="4410560"/>
            <a:ext cx="5887789" cy="369332"/>
          </a:xfrm>
          <a:prstGeom prst="rect">
            <a:avLst/>
          </a:prstGeom>
          <a:noFill/>
        </p:spPr>
        <p:txBody>
          <a:bodyPr wrap="square" rtlCol="0" anchor="b">
            <a:sp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 normalizeH="0" baseline="0" noProof="0">
                <a:ln>
                  <a:noFill/>
                </a:ln>
                <a:solidFill>
                  <a:srgbClr val="63666A"/>
                </a:solidFill>
                <a:effectLst/>
                <a:uLnTx/>
                <a:uFillTx/>
                <a:latin typeface="Arial"/>
                <a:ea typeface="+mn-ea"/>
                <a:cs typeface="Poppins" pitchFamily="2" charset="77"/>
              </a:rPr>
              <a:t>The entrepreneurial spirit of cyber crime</a:t>
            </a:r>
          </a:p>
        </p:txBody>
      </p:sp>
      <p:sp>
        <p:nvSpPr>
          <p:cNvPr id="218" name="TextBox 217">
            <a:extLst>
              <a:ext uri="{FF2B5EF4-FFF2-40B4-BE49-F238E27FC236}">
                <a16:creationId xmlns:a16="http://schemas.microsoft.com/office/drawing/2014/main" id="{57F9E168-5028-4387-B0CB-573CE815580E}"/>
              </a:ext>
            </a:extLst>
          </p:cNvPr>
          <p:cNvSpPr txBox="1"/>
          <p:nvPr/>
        </p:nvSpPr>
        <p:spPr>
          <a:xfrm>
            <a:off x="3477125" y="4706431"/>
            <a:ext cx="6587840" cy="553998"/>
          </a:xfrm>
          <a:prstGeom prst="rect">
            <a:avLst/>
          </a:prstGeom>
          <a:noFill/>
        </p:spPr>
        <p:txBody>
          <a:bodyPr wrap="square" lIns="91440" tIns="45720" rIns="91440" bIns="45720" rtlCol="0" anchor="t">
            <a:spAutoFit/>
          </a:bodyPr>
          <a:lstStyle/>
          <a:p>
            <a:pPr marL="0" marR="0" lvl="3" indent="0" algn="l" defTabSz="914400" rtl="0" eaLnBrk="1" fontAlgn="base" latinLnBrk="0" hangingPunct="1">
              <a:lnSpc>
                <a:spcPct val="100000"/>
              </a:lnSpc>
              <a:spcBef>
                <a:spcPts val="0"/>
              </a:spcBef>
              <a:spcAft>
                <a:spcPts val="1800"/>
              </a:spcAft>
              <a:buClr>
                <a:srgbClr val="3F9C35"/>
              </a:buClr>
              <a:buSzPct val="160000"/>
              <a:buFontTx/>
              <a:buNone/>
              <a:tabLst/>
              <a:defRPr/>
            </a:pPr>
            <a:r>
              <a:rPr kumimoji="0" lang="en-US" sz="1500" b="0" i="0" u="none" strike="noStrike" kern="1200" cap="none" spc="-20" normalizeH="0" baseline="0" noProof="0">
                <a:ln>
                  <a:noFill/>
                </a:ln>
                <a:solidFill>
                  <a:srgbClr val="747994"/>
                </a:solidFill>
                <a:effectLst/>
                <a:uLnTx/>
                <a:uFillTx/>
                <a:latin typeface="Arial"/>
                <a:ea typeface="+mn-ea"/>
                <a:cs typeface="Poppins" pitchFamily="2" charset="77"/>
              </a:rPr>
              <a:t>Cyber crime will grow with an expansion of hosted services and investments in automation/machine learning to expand their reach and success rate</a:t>
            </a:r>
          </a:p>
        </p:txBody>
      </p:sp>
      <p:sp>
        <p:nvSpPr>
          <p:cNvPr id="2" name="Title 1">
            <a:extLst>
              <a:ext uri="{FF2B5EF4-FFF2-40B4-BE49-F238E27FC236}">
                <a16:creationId xmlns:a16="http://schemas.microsoft.com/office/drawing/2014/main" id="{1BC179F2-2439-4925-7C3C-D63DF6858C0C}"/>
              </a:ext>
            </a:extLst>
          </p:cNvPr>
          <p:cNvSpPr txBox="1">
            <a:spLocks/>
          </p:cNvSpPr>
          <p:nvPr/>
        </p:nvSpPr>
        <p:spPr>
          <a:xfrm>
            <a:off x="742306" y="662721"/>
            <a:ext cx="10620375" cy="554037"/>
          </a:xfrm>
          <a:prstGeom prst="rect">
            <a:avLst/>
          </a:prstGeom>
        </p:spPr>
        <p:txBody>
          <a:bodyPr vert="horz" wrap="square" lIns="0" tIns="0" rIns="0" bIns="0" rtlCol="0" anchor="t" anchorCtr="0">
            <a:normAutofit/>
          </a:bodyPr>
          <a:lst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9CDE"/>
                </a:solidFill>
                <a:effectLst/>
                <a:uLnTx/>
                <a:uFillTx/>
                <a:latin typeface="Arial"/>
                <a:ea typeface="+mj-ea"/>
                <a:cs typeface="+mj-cs"/>
              </a:rPr>
              <a:t>Understanding the rise in cyber risks</a:t>
            </a:r>
          </a:p>
        </p:txBody>
      </p:sp>
    </p:spTree>
    <p:custDataLst>
      <p:tags r:id="rId1"/>
    </p:custDataLst>
    <p:extLst>
      <p:ext uri="{BB962C8B-B14F-4D97-AF65-F5344CB8AC3E}">
        <p14:creationId xmlns:p14="http://schemas.microsoft.com/office/powerpoint/2010/main" val="25875833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815CD-FD06-283F-61C8-24D4F5924D1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0775834-24F7-62F1-A2DE-6E2EA5500C9B}"/>
              </a:ext>
            </a:extLst>
          </p:cNvPr>
          <p:cNvSpPr>
            <a:spLocks noGrp="1"/>
          </p:cNvSpPr>
          <p:nvPr>
            <p:ph type="title"/>
          </p:nvPr>
        </p:nvSpPr>
        <p:spPr>
          <a:xfrm>
            <a:off x="3365429" y="3429000"/>
            <a:ext cx="5461142" cy="1231106"/>
          </a:xfrm>
        </p:spPr>
        <p:txBody>
          <a:bodyPr/>
          <a:lstStyle/>
          <a:p>
            <a:r>
              <a:rPr lang="en-US"/>
              <a:t>Intro to Generative AI</a:t>
            </a:r>
          </a:p>
        </p:txBody>
      </p:sp>
    </p:spTree>
    <p:extLst>
      <p:ext uri="{BB962C8B-B14F-4D97-AF65-F5344CB8AC3E}">
        <p14:creationId xmlns:p14="http://schemas.microsoft.com/office/powerpoint/2010/main" val="1477378168"/>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6EBC7-3D4A-B06D-A72A-0F9204B058B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42F4744-ABA3-B049-EA33-419144DE7789}"/>
              </a:ext>
            </a:extLst>
          </p:cNvPr>
          <p:cNvSpPr>
            <a:spLocks noGrp="1"/>
          </p:cNvSpPr>
          <p:nvPr>
            <p:ph type="body" sz="quarter" idx="14"/>
            <p:custDataLst>
              <p:tags r:id="rId2"/>
            </p:custDataLst>
          </p:nvPr>
        </p:nvSpPr>
        <p:spPr>
          <a:xfrm>
            <a:off x="366554" y="873126"/>
            <a:ext cx="10987246" cy="330340"/>
          </a:xfrm>
          <a:solidFill>
            <a:srgbClr val="141439"/>
          </a:solidFill>
        </p:spPr>
        <p:txBody>
          <a:bodyPr>
            <a:noAutofit/>
          </a:bodyPr>
          <a:lstStyle/>
          <a:p>
            <a:r>
              <a:rPr lang="en-US"/>
              <a:t>RSM surveyed nearly 900 decision-makers to reveal what’s driving adoption of AI and where the challenges remain. The survey was conducted by RSM and Big Village from Feb. 21 through March 4 and garnered 966 responses. Survey respondents must have decision-making authority, be part of a decision-making group, or have significant influence on technology investments at their organization.</a:t>
            </a:r>
          </a:p>
          <a:p>
            <a:endParaRPr lang="en-US"/>
          </a:p>
        </p:txBody>
      </p:sp>
      <p:sp>
        <p:nvSpPr>
          <p:cNvPr id="5" name="Title 4">
            <a:extLst>
              <a:ext uri="{FF2B5EF4-FFF2-40B4-BE49-F238E27FC236}">
                <a16:creationId xmlns:a16="http://schemas.microsoft.com/office/drawing/2014/main" id="{523F6F98-3F67-1498-F340-79F1139984B3}"/>
              </a:ext>
            </a:extLst>
          </p:cNvPr>
          <p:cNvSpPr>
            <a:spLocks noGrp="1"/>
          </p:cNvSpPr>
          <p:nvPr>
            <p:ph type="title"/>
            <p:custDataLst>
              <p:tags r:id="rId3"/>
            </p:custDataLst>
          </p:nvPr>
        </p:nvSpPr>
        <p:spPr/>
        <p:txBody>
          <a:bodyPr/>
          <a:lstStyle/>
          <a:p>
            <a:r>
              <a:rPr lang="en-US"/>
              <a:t>AI and the Middle Market</a:t>
            </a:r>
          </a:p>
        </p:txBody>
      </p:sp>
      <p:graphicFrame>
        <p:nvGraphicFramePr>
          <p:cNvPr id="2" name="Table 1">
            <a:extLst>
              <a:ext uri="{FF2B5EF4-FFF2-40B4-BE49-F238E27FC236}">
                <a16:creationId xmlns:a16="http://schemas.microsoft.com/office/drawing/2014/main" id="{9D45BE5B-6B56-D5EE-8468-C1271A65271F}"/>
              </a:ext>
            </a:extLst>
          </p:cNvPr>
          <p:cNvGraphicFramePr>
            <a:graphicFrameLocks noGrp="1"/>
          </p:cNvGraphicFramePr>
          <p:nvPr>
            <p:custDataLst>
              <p:tags r:id="rId4"/>
            </p:custDataLst>
          </p:nvPr>
        </p:nvGraphicFramePr>
        <p:xfrm>
          <a:off x="5149948" y="1747282"/>
          <a:ext cx="6732639" cy="4319218"/>
        </p:xfrm>
        <a:graphic>
          <a:graphicData uri="http://schemas.openxmlformats.org/drawingml/2006/table">
            <a:tbl>
              <a:tblPr firstRow="1" bandRow="1">
                <a:tableStyleId>{CF0D33D4-9A44-4E33-B5EB-433491ED7D98}</a:tableStyleId>
              </a:tblPr>
              <a:tblGrid>
                <a:gridCol w="2674375">
                  <a:extLst>
                    <a:ext uri="{9D8B030D-6E8A-4147-A177-3AD203B41FA5}">
                      <a16:colId xmlns:a16="http://schemas.microsoft.com/office/drawing/2014/main" val="1986398922"/>
                    </a:ext>
                  </a:extLst>
                </a:gridCol>
                <a:gridCol w="4058264">
                  <a:extLst>
                    <a:ext uri="{9D8B030D-6E8A-4147-A177-3AD203B41FA5}">
                      <a16:colId xmlns:a16="http://schemas.microsoft.com/office/drawing/2014/main" val="3567052013"/>
                    </a:ext>
                  </a:extLst>
                </a:gridCol>
              </a:tblGrid>
              <a:tr h="1525117">
                <a:tc>
                  <a:txBody>
                    <a:bodyPr/>
                    <a:lstStyle/>
                    <a:p>
                      <a:pPr algn="ctr"/>
                      <a:r>
                        <a:rPr lang="en-US" sz="4000" b="1">
                          <a:solidFill>
                            <a:schemeClr val="accent2"/>
                          </a:solidFill>
                        </a:rPr>
                        <a:t>91%</a:t>
                      </a:r>
                      <a:r>
                        <a:rPr lang="en-US" sz="4000" b="1">
                          <a:solidFill>
                            <a:schemeClr val="bg1"/>
                          </a:solidFill>
                        </a:rPr>
                        <a:t> </a:t>
                      </a:r>
                    </a:p>
                    <a:p>
                      <a:pPr algn="ctr"/>
                      <a:r>
                        <a:rPr lang="en-US" sz="1400">
                          <a:solidFill>
                            <a:schemeClr val="bg1"/>
                          </a:solidFill>
                        </a:rPr>
                        <a:t>Use generative AI in their organization</a:t>
                      </a:r>
                    </a:p>
                  </a:txBody>
                  <a:tcPr anchor="ctr">
                    <a:lnL w="28575" cap="flat" cmpd="sng" algn="ctr">
                      <a:solidFill>
                        <a:schemeClr val="accent1"/>
                      </a:solidFill>
                      <a:prstDash val="solid"/>
                      <a:round/>
                      <a:headEnd type="none" w="med" len="med"/>
                      <a:tailEnd type="none" w="med" len="med"/>
                    </a:lnL>
                    <a:lnR>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41439"/>
                    </a:solidFill>
                  </a:tcPr>
                </a:tc>
                <a:tc>
                  <a:txBody>
                    <a:bodyPr/>
                    <a:lstStyle/>
                    <a:p>
                      <a:r>
                        <a:rPr lang="en-US" sz="1400">
                          <a:solidFill>
                            <a:schemeClr val="bg1"/>
                          </a:solidFill>
                        </a:rPr>
                        <a:t>The most popular use of AI was for text generation and summarization at 49%, while workflow development came in second with 45% usage.</a:t>
                      </a:r>
                    </a:p>
                  </a:txBody>
                  <a:tcPr anchor="ctr">
                    <a:lnL>
                      <a:noFill/>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41439"/>
                    </a:solidFill>
                  </a:tcPr>
                </a:tc>
                <a:extLst>
                  <a:ext uri="{0D108BD9-81ED-4DB2-BD59-A6C34878D82A}">
                    <a16:rowId xmlns:a16="http://schemas.microsoft.com/office/drawing/2014/main" val="2281040245"/>
                  </a:ext>
                </a:extLst>
              </a:tr>
              <a:tr h="1270046">
                <a:tc>
                  <a:txBody>
                    <a:bodyPr/>
                    <a:lstStyle/>
                    <a:p>
                      <a:pPr algn="ctr"/>
                      <a:r>
                        <a:rPr lang="en-US" sz="3600" b="1">
                          <a:solidFill>
                            <a:schemeClr val="tx2"/>
                          </a:solidFill>
                        </a:rPr>
                        <a:t>92% </a:t>
                      </a:r>
                    </a:p>
                    <a:p>
                      <a:pPr algn="ctr"/>
                      <a:r>
                        <a:rPr lang="en-US" sz="1400">
                          <a:solidFill>
                            <a:schemeClr val="bg1"/>
                          </a:solidFill>
                        </a:rPr>
                        <a:t>Say they’ve faced implementation challenges</a:t>
                      </a:r>
                    </a:p>
                  </a:txBody>
                  <a:tcPr anchor="ctr">
                    <a:lnL w="28575" cap="flat" cmpd="sng" algn="ctr">
                      <a:solidFill>
                        <a:schemeClr val="accent1"/>
                      </a:solidFill>
                      <a:prstDash val="solid"/>
                      <a:round/>
                      <a:headEnd type="none" w="med" len="med"/>
                      <a:tailEnd type="none" w="med" len="med"/>
                    </a:lnL>
                    <a:lnR>
                      <a:noFill/>
                    </a:lnR>
                    <a:lnT w="38100" cmpd="sng">
                      <a:noFill/>
                    </a:lnT>
                    <a:lnB w="38100" cmpd="sng">
                      <a:noFill/>
                    </a:lnB>
                    <a:lnTlToBr w="12700" cmpd="sng">
                      <a:noFill/>
                      <a:prstDash val="solid"/>
                    </a:lnTlToBr>
                    <a:lnBlToTr w="12700" cmpd="sng">
                      <a:noFill/>
                      <a:prstDash val="solid"/>
                    </a:lnBlToTr>
                    <a:solidFill>
                      <a:srgbClr val="141439"/>
                    </a:solidFill>
                  </a:tcPr>
                </a:tc>
                <a:tc>
                  <a:txBody>
                    <a:bodyPr/>
                    <a:lstStyle/>
                    <a:p>
                      <a:r>
                        <a:rPr lang="en-US" sz="1400">
                          <a:solidFill>
                            <a:schemeClr val="bg1"/>
                          </a:solidFill>
                        </a:rPr>
                        <a:t>Of those who have experienced issues, 41% expressed concerns around data quality making that the top problem companies faced.</a:t>
                      </a:r>
                    </a:p>
                  </a:txBody>
                  <a:tcPr anchor="ctr">
                    <a:lnL>
                      <a:noFill/>
                    </a:lnL>
                    <a:lnR w="28575" cap="flat" cmpd="sng" algn="ctr">
                      <a:solidFill>
                        <a:schemeClr val="accent1"/>
                      </a:solidFill>
                      <a:prstDash val="solid"/>
                      <a:round/>
                      <a:headEnd type="none" w="med" len="med"/>
                      <a:tailEnd type="none" w="med" len="med"/>
                    </a:lnR>
                    <a:lnT w="38100" cmpd="sng">
                      <a:noFill/>
                    </a:lnT>
                    <a:lnB w="38100" cmpd="sng">
                      <a:noFill/>
                    </a:lnB>
                    <a:lnTlToBr w="12700" cmpd="sng">
                      <a:noFill/>
                      <a:prstDash val="solid"/>
                    </a:lnTlToBr>
                    <a:lnBlToTr w="12700" cmpd="sng">
                      <a:noFill/>
                      <a:prstDash val="solid"/>
                    </a:lnBlToTr>
                    <a:solidFill>
                      <a:srgbClr val="141439"/>
                    </a:solidFill>
                  </a:tcPr>
                </a:tc>
                <a:extLst>
                  <a:ext uri="{0D108BD9-81ED-4DB2-BD59-A6C34878D82A}">
                    <a16:rowId xmlns:a16="http://schemas.microsoft.com/office/drawing/2014/main" val="784601061"/>
                  </a:ext>
                </a:extLst>
              </a:tr>
              <a:tr h="1524055">
                <a:tc>
                  <a:txBody>
                    <a:bodyPr/>
                    <a:lstStyle/>
                    <a:p>
                      <a:pPr algn="ctr"/>
                      <a:r>
                        <a:rPr lang="en-US" sz="3600" b="1">
                          <a:solidFill>
                            <a:schemeClr val="tx2"/>
                          </a:solidFill>
                        </a:rPr>
                        <a:t>62% </a:t>
                      </a:r>
                    </a:p>
                    <a:p>
                      <a:pPr algn="ctr"/>
                      <a:r>
                        <a:rPr lang="en-US" sz="1400">
                          <a:solidFill>
                            <a:schemeClr val="bg1"/>
                          </a:solidFill>
                        </a:rPr>
                        <a:t>Said generative AI has been harder to implement than expected</a:t>
                      </a:r>
                    </a:p>
                  </a:txBody>
                  <a:tcPr anchor="ctr">
                    <a:lnL w="28575" cap="flat" cmpd="sng" algn="ctr">
                      <a:solidFill>
                        <a:schemeClr val="accent1"/>
                      </a:solidFill>
                      <a:prstDash val="solid"/>
                      <a:round/>
                      <a:headEnd type="none" w="med" len="med"/>
                      <a:tailEnd type="none" w="med" len="med"/>
                    </a:lnL>
                    <a:lnR>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41439"/>
                    </a:solidFill>
                  </a:tcPr>
                </a:tc>
                <a:tc>
                  <a:txBody>
                    <a:bodyPr/>
                    <a:lstStyle/>
                    <a:p>
                      <a:r>
                        <a:rPr lang="en-US" sz="1400">
                          <a:solidFill>
                            <a:schemeClr val="bg1"/>
                          </a:solidFill>
                        </a:rPr>
                        <a:t>39% of respondents who were unprepared for AI implementation cited a lack of in-house expertise as their top issue, while 70% admitted to needing outside help to get the most out of their AI solutions.</a:t>
                      </a:r>
                    </a:p>
                  </a:txBody>
                  <a:tcPr anchor="ctr">
                    <a:lnL>
                      <a:noFill/>
                    </a:lnL>
                    <a:lnR w="28575" cap="flat" cmpd="sng" algn="ctr">
                      <a:solidFill>
                        <a:schemeClr val="accent1"/>
                      </a:solidFill>
                      <a:prstDash val="solid"/>
                      <a:round/>
                      <a:headEnd type="none" w="med" len="med"/>
                      <a:tailEnd type="none" w="med" len="med"/>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41439"/>
                    </a:solidFill>
                  </a:tcPr>
                </a:tc>
                <a:extLst>
                  <a:ext uri="{0D108BD9-81ED-4DB2-BD59-A6C34878D82A}">
                    <a16:rowId xmlns:a16="http://schemas.microsoft.com/office/drawing/2014/main" val="4156428141"/>
                  </a:ext>
                </a:extLst>
              </a:tr>
            </a:tbl>
          </a:graphicData>
        </a:graphic>
      </p:graphicFrame>
      <p:grpSp>
        <p:nvGrpSpPr>
          <p:cNvPr id="1024" name="Group 1023">
            <a:extLst>
              <a:ext uri="{FF2B5EF4-FFF2-40B4-BE49-F238E27FC236}">
                <a16:creationId xmlns:a16="http://schemas.microsoft.com/office/drawing/2014/main" id="{B098BE9F-E5F1-833B-BABC-FA2DF753DE4D}"/>
              </a:ext>
            </a:extLst>
          </p:cNvPr>
          <p:cNvGrpSpPr/>
          <p:nvPr>
            <p:custDataLst>
              <p:tags r:id="rId5"/>
            </p:custDataLst>
          </p:nvPr>
        </p:nvGrpSpPr>
        <p:grpSpPr>
          <a:xfrm>
            <a:off x="366553" y="2202372"/>
            <a:ext cx="4411923" cy="3239664"/>
            <a:chOff x="1702229" y="1869309"/>
            <a:chExt cx="7033783" cy="3239664"/>
          </a:xfrm>
        </p:grpSpPr>
        <p:sp>
          <p:nvSpPr>
            <p:cNvPr id="1025" name="Rectangle 1024">
              <a:extLst>
                <a:ext uri="{FF2B5EF4-FFF2-40B4-BE49-F238E27FC236}">
                  <a16:creationId xmlns:a16="http://schemas.microsoft.com/office/drawing/2014/main" id="{5D496553-AE0C-9AF9-FD47-2E6D2F7D9411}"/>
                </a:ext>
              </a:extLst>
            </p:cNvPr>
            <p:cNvSpPr/>
            <p:nvPr userDrawn="1"/>
          </p:nvSpPr>
          <p:spPr>
            <a:xfrm>
              <a:off x="1702229" y="1869309"/>
              <a:ext cx="7033783" cy="3239664"/>
            </a:xfrm>
            <a:prstGeom prst="rect">
              <a:avLst/>
            </a:prstGeom>
            <a:solidFill>
              <a:srgbClr val="3F9C35"/>
            </a:solidFill>
            <a:ln w="9525" cap="flat" cmpd="sng" algn="ctr">
              <a:noFill/>
              <a:prstDash val="solid"/>
              <a:miter lim="800000"/>
            </a:ln>
            <a:effectLst/>
          </p:spPr>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27" name="Rectangle 1026">
              <a:extLst>
                <a:ext uri="{FF2B5EF4-FFF2-40B4-BE49-F238E27FC236}">
                  <a16:creationId xmlns:a16="http://schemas.microsoft.com/office/drawing/2014/main" id="{A57CC4A8-151D-BAFD-4A4B-E95117E6D833}"/>
                </a:ext>
              </a:extLst>
            </p:cNvPr>
            <p:cNvSpPr/>
            <p:nvPr userDrawn="1"/>
          </p:nvSpPr>
          <p:spPr>
            <a:xfrm>
              <a:off x="1782283" y="1929167"/>
              <a:ext cx="6873674" cy="3119947"/>
            </a:xfrm>
            <a:prstGeom prst="rect">
              <a:avLst/>
            </a:prstGeom>
            <a:solidFill>
              <a:srgbClr val="00153D"/>
            </a:solidFill>
            <a:ln w="9525" cap="flat" cmpd="sng" algn="ctr">
              <a:noFill/>
              <a:prstDash val="solid"/>
              <a:miter lim="800000"/>
            </a:ln>
            <a:effectLst/>
          </p:spPr>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028" name="Group 1027">
            <a:extLst>
              <a:ext uri="{FF2B5EF4-FFF2-40B4-BE49-F238E27FC236}">
                <a16:creationId xmlns:a16="http://schemas.microsoft.com/office/drawing/2014/main" id="{C8467EC3-E347-3C38-667A-2D1CECFAAC1F}"/>
              </a:ext>
            </a:extLst>
          </p:cNvPr>
          <p:cNvGrpSpPr/>
          <p:nvPr>
            <p:custDataLst>
              <p:tags r:id="rId6"/>
            </p:custDataLst>
          </p:nvPr>
        </p:nvGrpSpPr>
        <p:grpSpPr>
          <a:xfrm>
            <a:off x="1976015" y="1671095"/>
            <a:ext cx="1181758" cy="936635"/>
            <a:chOff x="3089907" y="1397515"/>
            <a:chExt cx="1181758" cy="936635"/>
          </a:xfrm>
        </p:grpSpPr>
        <p:sp>
          <p:nvSpPr>
            <p:cNvPr id="1029" name="Rectangle 1028">
              <a:extLst>
                <a:ext uri="{FF2B5EF4-FFF2-40B4-BE49-F238E27FC236}">
                  <a16:creationId xmlns:a16="http://schemas.microsoft.com/office/drawing/2014/main" id="{9F5A5ED5-1BC8-29F8-A587-D24D689F4316}"/>
                </a:ext>
              </a:extLst>
            </p:cNvPr>
            <p:cNvSpPr/>
            <p:nvPr userDrawn="1"/>
          </p:nvSpPr>
          <p:spPr>
            <a:xfrm>
              <a:off x="3089907" y="1405421"/>
              <a:ext cx="1181758" cy="928729"/>
            </a:xfrm>
            <a:prstGeom prst="rect">
              <a:avLst/>
            </a:prstGeom>
            <a:solidFill>
              <a:srgbClr val="00153D"/>
            </a:solidFill>
            <a:ln w="9525" cap="flat" cmpd="sng" algn="ctr">
              <a:noFill/>
              <a:prstDash val="solid"/>
              <a:miter lim="800000"/>
            </a:ln>
            <a:effectLst/>
          </p:spPr>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30" name="Graphic 8">
              <a:extLst>
                <a:ext uri="{FF2B5EF4-FFF2-40B4-BE49-F238E27FC236}">
                  <a16:creationId xmlns:a16="http://schemas.microsoft.com/office/drawing/2014/main" id="{D279B7B4-B140-984A-8833-4C96EA91E819}"/>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1031" name="Group 1030">
            <a:extLst>
              <a:ext uri="{FF2B5EF4-FFF2-40B4-BE49-F238E27FC236}">
                <a16:creationId xmlns:a16="http://schemas.microsoft.com/office/drawing/2014/main" id="{54DF3E48-5243-F7B0-A0D5-2AAAA2D5F918}"/>
              </a:ext>
            </a:extLst>
          </p:cNvPr>
          <p:cNvGrpSpPr/>
          <p:nvPr>
            <p:custDataLst>
              <p:tags r:id="rId7"/>
            </p:custDataLst>
          </p:nvPr>
        </p:nvGrpSpPr>
        <p:grpSpPr>
          <a:xfrm>
            <a:off x="2157127" y="4915150"/>
            <a:ext cx="1181758" cy="1142060"/>
            <a:chOff x="7936099" y="4562975"/>
            <a:chExt cx="1181758" cy="1142060"/>
          </a:xfrm>
        </p:grpSpPr>
        <p:sp>
          <p:nvSpPr>
            <p:cNvPr id="1032" name="Rectangle 1031">
              <a:extLst>
                <a:ext uri="{FF2B5EF4-FFF2-40B4-BE49-F238E27FC236}">
                  <a16:creationId xmlns:a16="http://schemas.microsoft.com/office/drawing/2014/main" id="{3028AE6C-82B7-EE66-AF99-A3A601A333DF}"/>
                </a:ext>
              </a:extLst>
            </p:cNvPr>
            <p:cNvSpPr/>
            <p:nvPr userDrawn="1"/>
          </p:nvSpPr>
          <p:spPr>
            <a:xfrm>
              <a:off x="7936099" y="4562975"/>
              <a:ext cx="1181758" cy="928729"/>
            </a:xfrm>
            <a:prstGeom prst="rect">
              <a:avLst/>
            </a:prstGeom>
            <a:solidFill>
              <a:srgbClr val="00153D"/>
            </a:solidFill>
            <a:ln w="9525" cap="flat" cmpd="sng" algn="ctr">
              <a:noFill/>
              <a:prstDash val="solid"/>
              <a:miter lim="800000"/>
            </a:ln>
            <a:effectLst/>
          </p:spPr>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33" name="Graphic 8">
              <a:extLst>
                <a:ext uri="{FF2B5EF4-FFF2-40B4-BE49-F238E27FC236}">
                  <a16:creationId xmlns:a16="http://schemas.microsoft.com/office/drawing/2014/main" id="{C75FF612-4B44-8B57-A2AA-AB2D9882E157}"/>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grpSp>
      <p:sp>
        <p:nvSpPr>
          <p:cNvPr id="1034" name="Title 1">
            <a:extLst>
              <a:ext uri="{FF2B5EF4-FFF2-40B4-BE49-F238E27FC236}">
                <a16:creationId xmlns:a16="http://schemas.microsoft.com/office/drawing/2014/main" id="{8FA4D388-8977-58B8-8FC0-8BA9C252C153}"/>
              </a:ext>
            </a:extLst>
          </p:cNvPr>
          <p:cNvSpPr txBox="1">
            <a:spLocks/>
          </p:cNvSpPr>
          <p:nvPr>
            <p:custDataLst>
              <p:tags r:id="rId8"/>
            </p:custDataLst>
          </p:nvPr>
        </p:nvSpPr>
        <p:spPr>
          <a:xfrm>
            <a:off x="309413" y="2554291"/>
            <a:ext cx="4159491" cy="2535824"/>
          </a:xfrm>
          <a:prstGeom prst="rect">
            <a:avLst/>
          </a:prstGeom>
        </p:spPr>
        <p:txBody>
          <a:bodyPr vert="horz" wrap="square" lIns="0" tIns="0" rIns="0" bIns="0" rtlCol="0" anchor="t" anchorCtr="0">
            <a:noAutofit/>
          </a:bodyPr>
          <a:lstStyle>
            <a:lvl1pPr algn="ctr" defTabSz="914400" rtl="0" eaLnBrk="1" latinLnBrk="0" hangingPunct="1">
              <a:lnSpc>
                <a:spcPct val="100000"/>
              </a:lnSpc>
              <a:spcBef>
                <a:spcPct val="0"/>
              </a:spcBef>
              <a:buNone/>
              <a:defRPr lang="en-GB" sz="2800" b="0" kern="1200" cap="none">
                <a:solidFill>
                  <a:schemeClr val="bg1"/>
                </a:solidFill>
                <a:latin typeface="+mj-lt"/>
                <a:ea typeface="+mj-ea"/>
                <a:cs typeface="+mj-cs"/>
              </a:defRPr>
            </a:lvl1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ugeo"/>
                <a:ea typeface="+mn-ea"/>
                <a:cs typeface="+mn-cs"/>
              </a:rPr>
              <a:t>Companies recognize that AI is not a fad, and it's not a trend. Artificial intelligence is here, and it's going to change the way everyone operates, the way things work in the world. Companies don’t want to be left behind.</a:t>
            </a:r>
            <a:endParaRPr kumimoji="0" lang="en-US" sz="1600" b="0" i="0" u="none" strike="noStrike" kern="1200" cap="none" spc="0" normalizeH="0" baseline="0" noProof="0">
              <a:ln>
                <a:noFill/>
              </a:ln>
              <a:solidFill>
                <a:srgbClr val="FFFFFF"/>
              </a:solidFill>
              <a:effectLst/>
              <a:uLnTx/>
              <a:uFillTx/>
              <a:latin typeface="Sugeo"/>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3F9C35"/>
              </a:solidFill>
              <a:effectLst/>
              <a:uLnTx/>
              <a:uFillTx/>
              <a:latin typeface="Sugeo"/>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3F9C35"/>
                </a:solidFill>
                <a:effectLst/>
                <a:uLnTx/>
                <a:uFillTx/>
                <a:latin typeface="Sugeo"/>
                <a:ea typeface="+mn-ea"/>
                <a:cs typeface="+mn-cs"/>
              </a:rPr>
              <a:t>Joseph Fontanazza, Risk Consulting AI Governance Leader, RSM US LLP</a:t>
            </a:r>
            <a:endParaRPr kumimoji="0" lang="en-US" sz="1600" b="0" i="1" u="none" strike="noStrike" kern="1200" cap="none" spc="0" normalizeH="0" baseline="0" noProof="0">
              <a:ln>
                <a:noFill/>
              </a:ln>
              <a:solidFill>
                <a:srgbClr val="141439"/>
              </a:solidFill>
              <a:effectLst/>
              <a:uLnTx/>
              <a:uFillTx/>
              <a:latin typeface="Sugeo"/>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F9C35"/>
              </a:solidFill>
              <a:effectLst/>
              <a:uLnTx/>
              <a:uFillTx/>
              <a:latin typeface="Sugeo"/>
              <a:ea typeface="+mj-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ugeo"/>
              <a:ea typeface="+mj-ea"/>
              <a:cs typeface="+mj-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ugeo"/>
              <a:ea typeface="+mj-ea"/>
              <a:cs typeface="+mj-cs"/>
            </a:endParaRPr>
          </a:p>
        </p:txBody>
      </p:sp>
      <p:sp>
        <p:nvSpPr>
          <p:cNvPr id="4" name="TextBox 3">
            <a:extLst>
              <a:ext uri="{FF2B5EF4-FFF2-40B4-BE49-F238E27FC236}">
                <a16:creationId xmlns:a16="http://schemas.microsoft.com/office/drawing/2014/main" id="{9E389BA9-A430-946F-8B50-6EC9CE1FBC52}"/>
              </a:ext>
            </a:extLst>
          </p:cNvPr>
          <p:cNvSpPr txBox="1"/>
          <p:nvPr>
            <p:custDataLst>
              <p:tags r:id="rId9"/>
            </p:custDataLst>
          </p:nvPr>
        </p:nvSpPr>
        <p:spPr>
          <a:xfrm>
            <a:off x="165930" y="6606516"/>
            <a:ext cx="4308214"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Arial"/>
              </a:rPr>
              <a:t>Source: RSM Middle Market AI Survey 2025: U.S. and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107180402"/>
      </p:ext>
    </p:extLst>
  </p:cSld>
  <p:clrMapOvr>
    <a:masterClrMapping/>
  </p:clrMapOvr>
  <mc:AlternateContent xmlns:mc="http://schemas.openxmlformats.org/markup-compatibility/2006">
    <mc:Choice xmlns:p14="http://schemas.microsoft.com/office/powerpoint/2010/main" Requires="p14">
      <p:transition p14:dur="30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340359" y="364392"/>
            <a:ext cx="11166475" cy="434975"/>
          </a:xfrm>
        </p:spPr>
        <p:txBody>
          <a:bodyPr/>
          <a:lstStyle/>
          <a:p>
            <a:r>
              <a:rPr lang="en-US"/>
              <a:t>RSM business applications overview </a:t>
            </a:r>
          </a:p>
        </p:txBody>
      </p:sp>
      <p:pic>
        <p:nvPicPr>
          <p:cNvPr id="2050" name="Picture 2">
            <a:extLst>
              <a:ext uri="{FF2B5EF4-FFF2-40B4-BE49-F238E27FC236}">
                <a16:creationId xmlns:a16="http://schemas.microsoft.com/office/drawing/2014/main" id="{734CDC37-7302-A2EE-AB7D-78EBAA37EA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165" y="1295805"/>
            <a:ext cx="10821669" cy="5197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71271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782C8255-E60C-38F9-3FDE-EAE89ADC79E7}"/>
              </a:ext>
            </a:extLst>
          </p:cNvPr>
          <p:cNvSpPr/>
          <p:nvPr/>
        </p:nvSpPr>
        <p:spPr>
          <a:xfrm>
            <a:off x="11570490" y="1744692"/>
            <a:ext cx="61915" cy="159168"/>
          </a:xfrm>
          <a:prstGeom prst="rtTriangle">
            <a:avLst/>
          </a:prstGeom>
          <a:solidFill>
            <a:srgbClr val="F0F0F0">
              <a:alpha val="48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3" name="Right Triangle 2">
            <a:extLst>
              <a:ext uri="{FF2B5EF4-FFF2-40B4-BE49-F238E27FC236}">
                <a16:creationId xmlns:a16="http://schemas.microsoft.com/office/drawing/2014/main" id="{976A1AD0-A667-D60A-6837-7A7CAE251A5E}"/>
              </a:ext>
            </a:extLst>
          </p:cNvPr>
          <p:cNvSpPr/>
          <p:nvPr/>
        </p:nvSpPr>
        <p:spPr>
          <a:xfrm flipH="1">
            <a:off x="10901357" y="1744692"/>
            <a:ext cx="61915" cy="159168"/>
          </a:xfrm>
          <a:prstGeom prst="rtTriangle">
            <a:avLst/>
          </a:prstGeom>
          <a:solidFill>
            <a:srgbClr val="F0F0F0">
              <a:alpha val="48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654CC4B4-8825-9D1F-FECF-2458C6FC95F4}"/>
              </a:ext>
            </a:extLst>
          </p:cNvPr>
          <p:cNvGraphicFramePr>
            <a:graphicFrameLocks noGrp="1"/>
          </p:cNvGraphicFramePr>
          <p:nvPr/>
        </p:nvGraphicFramePr>
        <p:xfrm>
          <a:off x="696036" y="1846805"/>
          <a:ext cx="11100307" cy="4153303"/>
        </p:xfrm>
        <a:graphic>
          <a:graphicData uri="http://schemas.openxmlformats.org/drawingml/2006/table">
            <a:tbl>
              <a:tblPr firstRow="1">
                <a:tableStyleId>{21E4AEA4-8DFA-4A89-87EB-49C32662AFE0}</a:tableStyleId>
              </a:tblPr>
              <a:tblGrid>
                <a:gridCol w="3780061">
                  <a:extLst>
                    <a:ext uri="{9D8B030D-6E8A-4147-A177-3AD203B41FA5}">
                      <a16:colId xmlns:a16="http://schemas.microsoft.com/office/drawing/2014/main" val="1294783088"/>
                    </a:ext>
                  </a:extLst>
                </a:gridCol>
                <a:gridCol w="3660123">
                  <a:extLst>
                    <a:ext uri="{9D8B030D-6E8A-4147-A177-3AD203B41FA5}">
                      <a16:colId xmlns:a16="http://schemas.microsoft.com/office/drawing/2014/main" val="2109958192"/>
                    </a:ext>
                  </a:extLst>
                </a:gridCol>
                <a:gridCol w="3660123">
                  <a:extLst>
                    <a:ext uri="{9D8B030D-6E8A-4147-A177-3AD203B41FA5}">
                      <a16:colId xmlns:a16="http://schemas.microsoft.com/office/drawing/2014/main" val="2211017965"/>
                    </a:ext>
                  </a:extLst>
                </a:gridCol>
              </a:tblGrid>
              <a:tr h="575621">
                <a:tc>
                  <a:txBody>
                    <a:bodyPr/>
                    <a:lstStyle/>
                    <a:p>
                      <a:pPr algn="ctr"/>
                      <a:r>
                        <a:rPr lang="en-US" sz="2000" b="1">
                          <a:solidFill>
                            <a:schemeClr val="bg1"/>
                          </a:solidFill>
                        </a:rPr>
                        <a:t>Traditional AI</a:t>
                      </a:r>
                      <a:endParaRPr lang="en-US" sz="2000">
                        <a:solidFill>
                          <a:schemeClr val="bg1"/>
                        </a:solidFill>
                      </a:endParaRPr>
                    </a:p>
                  </a:txBody>
                  <a:tcPr marL="44077" marR="44077" marT="22039" marB="22039"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US" sz="2000" b="1">
                          <a:solidFill>
                            <a:schemeClr val="bg1"/>
                          </a:solidFill>
                        </a:rPr>
                        <a:t>Generative AI</a:t>
                      </a:r>
                      <a:endParaRPr lang="en-US" sz="2000">
                        <a:solidFill>
                          <a:schemeClr val="bg1"/>
                        </a:solidFill>
                      </a:endParaRPr>
                    </a:p>
                  </a:txBody>
                  <a:tcPr marL="44077" marR="44077" marT="22039" marB="22039"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2000" b="1">
                          <a:solidFill>
                            <a:schemeClr val="bg1"/>
                          </a:solidFill>
                        </a:rPr>
                        <a:t>Agentic AI</a:t>
                      </a:r>
                      <a:endParaRPr lang="en-US" sz="2000">
                        <a:solidFill>
                          <a:schemeClr val="bg1"/>
                        </a:solidFill>
                      </a:endParaRPr>
                    </a:p>
                  </a:txBody>
                  <a:tcPr marL="44077" marR="44077" marT="22039" marB="22039"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200380888"/>
                  </a:ext>
                </a:extLst>
              </a:tr>
              <a:tr h="2581119">
                <a:tc>
                  <a:txBody>
                    <a:bodyPr/>
                    <a:lstStyle/>
                    <a:p>
                      <a:r>
                        <a:rPr lang="en-US" sz="2000">
                          <a:solidFill>
                            <a:schemeClr val="bg1"/>
                          </a:solidFill>
                        </a:rPr>
                        <a:t>Uses structured data to identify patterns and make predictions helping inform and improve </a:t>
                      </a:r>
                      <a:r>
                        <a:rPr lang="en-US" sz="2000" b="1" i="1">
                          <a:solidFill>
                            <a:schemeClr val="accent1"/>
                          </a:solidFill>
                        </a:rPr>
                        <a:t>data-driven decision</a:t>
                      </a:r>
                      <a:r>
                        <a:rPr lang="en-US" sz="2000">
                          <a:solidFill>
                            <a:schemeClr val="accent1"/>
                          </a:solidFill>
                        </a:rPr>
                        <a:t> </a:t>
                      </a:r>
                      <a:r>
                        <a:rPr lang="en-US" sz="2000">
                          <a:solidFill>
                            <a:schemeClr val="bg1"/>
                          </a:solidFill>
                        </a:rPr>
                        <a:t>making.</a:t>
                      </a:r>
                    </a:p>
                  </a:txBody>
                  <a:tcPr marT="22039" marB="2203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2000">
                          <a:solidFill>
                            <a:schemeClr val="bg1"/>
                          </a:solidFill>
                        </a:rPr>
                        <a:t>Trained on unstructured data for </a:t>
                      </a:r>
                      <a:r>
                        <a:rPr lang="en-US" sz="2000" b="1" i="1">
                          <a:solidFill>
                            <a:schemeClr val="accent1"/>
                          </a:solidFill>
                        </a:rPr>
                        <a:t>generating new content </a:t>
                      </a:r>
                      <a:r>
                        <a:rPr lang="en-US" sz="2000">
                          <a:solidFill>
                            <a:schemeClr val="bg1"/>
                          </a:solidFill>
                        </a:rPr>
                        <a:t>based on user queries (conversational, multi-modal)</a:t>
                      </a:r>
                    </a:p>
                  </a:txBody>
                  <a:tcPr marT="22039" marB="2203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2000">
                          <a:solidFill>
                            <a:schemeClr val="bg1"/>
                          </a:solidFill>
                        </a:rPr>
                        <a:t>AI that can </a:t>
                      </a:r>
                      <a:r>
                        <a:rPr lang="en-US" sz="2000" b="1" i="1">
                          <a:solidFill>
                            <a:schemeClr val="accent1"/>
                          </a:solidFill>
                        </a:rPr>
                        <a:t>handle dynamic tasks with minimal oversight</a:t>
                      </a:r>
                      <a:r>
                        <a:rPr lang="en-US" sz="2000">
                          <a:solidFill>
                            <a:schemeClr val="bg1"/>
                          </a:solidFill>
                        </a:rPr>
                        <a:t>, act autonomously to achieve goals, make decisions, and orchestrate tools/workflows.</a:t>
                      </a:r>
                    </a:p>
                  </a:txBody>
                  <a:tcPr marT="22039" marB="2203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228400"/>
                  </a:ext>
                </a:extLst>
              </a:tr>
              <a:tr h="996563">
                <a:tc>
                  <a:txBody>
                    <a:bodyPr/>
                    <a:lstStyle/>
                    <a:p>
                      <a:pPr marL="285750" indent="-285750">
                        <a:buFontTx/>
                        <a:buChar char="-"/>
                      </a:pPr>
                      <a:r>
                        <a:rPr lang="en-US" sz="2000">
                          <a:solidFill>
                            <a:schemeClr val="bg1"/>
                          </a:solidFill>
                        </a:rPr>
                        <a:t>Highly effective in narrow scope of application</a:t>
                      </a:r>
                    </a:p>
                  </a:txBody>
                  <a:tcPr marT="22039" marB="22039"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indent="-285750">
                        <a:buFontTx/>
                        <a:buChar char="-"/>
                      </a:pPr>
                      <a:r>
                        <a:rPr lang="en-US" sz="2000">
                          <a:solidFill>
                            <a:schemeClr val="bg1"/>
                          </a:solidFill>
                        </a:rPr>
                        <a:t>Needs domain-specific fine-tuning; Computation intensive</a:t>
                      </a:r>
                    </a:p>
                  </a:txBody>
                  <a:tcPr marT="22039" marB="22039"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indent="-285750">
                        <a:buFontTx/>
                        <a:buChar char="-"/>
                      </a:pPr>
                      <a:r>
                        <a:rPr lang="en-US" sz="2000">
                          <a:solidFill>
                            <a:schemeClr val="bg1"/>
                          </a:solidFill>
                        </a:rPr>
                        <a:t>Force multiplier; risk of unverified or unsafe decisions </a:t>
                      </a:r>
                    </a:p>
                  </a:txBody>
                  <a:tcPr marT="22039" marB="22039"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30655797"/>
                  </a:ext>
                </a:extLst>
              </a:tr>
            </a:tbl>
          </a:graphicData>
        </a:graphic>
      </p:graphicFrame>
      <p:sp>
        <p:nvSpPr>
          <p:cNvPr id="9" name="Title 2">
            <a:extLst>
              <a:ext uri="{FF2B5EF4-FFF2-40B4-BE49-F238E27FC236}">
                <a16:creationId xmlns:a16="http://schemas.microsoft.com/office/drawing/2014/main" id="{67F2CA87-665D-65F4-780F-06EF6B93D2CB}"/>
              </a:ext>
            </a:extLst>
          </p:cNvPr>
          <p:cNvSpPr txBox="1">
            <a:spLocks/>
          </p:cNvSpPr>
          <p:nvPr/>
        </p:nvSpPr>
        <p:spPr>
          <a:xfrm>
            <a:off x="914400" y="228600"/>
            <a:ext cx="10621792" cy="923330"/>
          </a:xfrm>
          <a:prstGeom prst="rect">
            <a:avLst/>
          </a:prstGeom>
        </p:spPr>
        <p:txBody>
          <a:bodyPr vert="horz" lIns="0" tIns="45720" rIns="0" bIns="45720" rtlCol="0" anchor="b">
            <a:normAutofit/>
          </a:bodyPr>
          <a:lstStyle>
            <a:lvl1pPr algn="l" defTabSz="914400" rtl="0" eaLnBrk="1" latinLnBrk="0" hangingPunct="1">
              <a:lnSpc>
                <a:spcPct val="90000"/>
              </a:lnSpc>
              <a:spcBef>
                <a:spcPct val="0"/>
              </a:spcBef>
              <a:buNone/>
              <a:defRPr sz="3200" b="1" kern="1200" cap="none" baseline="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9CDE"/>
                </a:solidFill>
                <a:effectLst/>
                <a:uLnTx/>
                <a:uFillTx/>
                <a:latin typeface="Arial" panose="020B0604020202020204" pitchFamily="34" charset="0"/>
                <a:ea typeface="+mj-ea"/>
                <a:cs typeface="Arial" panose="020B0604020202020204" pitchFamily="34" charset="0"/>
              </a:rPr>
              <a:t>Organizations need a spectrum of AI capabilities</a:t>
            </a:r>
            <a:br>
              <a:rPr kumimoji="0" lang="en-US" sz="3200" b="1" i="0" u="none" strike="noStrike" kern="1200" cap="none" spc="0" normalizeH="0" baseline="0" noProof="0">
                <a:ln>
                  <a:noFill/>
                </a:ln>
                <a:solidFill>
                  <a:srgbClr val="009CDE"/>
                </a:solidFill>
                <a:effectLst/>
                <a:uLnTx/>
                <a:uFillTx/>
                <a:latin typeface="Arial" panose="020B0604020202020204" pitchFamily="34" charset="0"/>
                <a:ea typeface="+mj-ea"/>
                <a:cs typeface="Arial" panose="020B0604020202020204" pitchFamily="34" charset="0"/>
              </a:rPr>
            </a:br>
            <a:r>
              <a:rPr kumimoji="0" lang="en-US" sz="2400" b="1" i="1" u="none" strike="noStrike" kern="1200" cap="none" spc="0" normalizeH="0" baseline="0" noProof="0">
                <a:ln>
                  <a:noFill/>
                </a:ln>
                <a:solidFill>
                  <a:srgbClr val="009CDE"/>
                </a:solidFill>
                <a:effectLst/>
                <a:uLnTx/>
                <a:uFillTx/>
                <a:latin typeface="Arial" panose="020B0604020202020204" pitchFamily="34" charset="0"/>
                <a:ea typeface="+mj-ea"/>
                <a:cs typeface="Arial" panose="020B0604020202020204" pitchFamily="34" charset="0"/>
              </a:rPr>
              <a:t>Fundamentally new ways to process information and identify risk signals</a:t>
            </a:r>
          </a:p>
        </p:txBody>
      </p:sp>
      <p:sp>
        <p:nvSpPr>
          <p:cNvPr id="10" name="Rectangle 9">
            <a:extLst>
              <a:ext uri="{FF2B5EF4-FFF2-40B4-BE49-F238E27FC236}">
                <a16:creationId xmlns:a16="http://schemas.microsoft.com/office/drawing/2014/main" id="{1DC2B709-0E71-4A1F-9B6E-BAE15580FBCD}"/>
              </a:ext>
            </a:extLst>
          </p:cNvPr>
          <p:cNvSpPr/>
          <p:nvPr/>
        </p:nvSpPr>
        <p:spPr>
          <a:xfrm>
            <a:off x="696036" y="2412573"/>
            <a:ext cx="3725839" cy="3587535"/>
          </a:xfrm>
          <a:prstGeom prst="rect">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867B7A1-E926-2408-3B32-BCEFB507D37F}"/>
              </a:ext>
            </a:extLst>
          </p:cNvPr>
          <p:cNvSpPr/>
          <p:nvPr/>
        </p:nvSpPr>
        <p:spPr>
          <a:xfrm>
            <a:off x="4487221" y="2412573"/>
            <a:ext cx="3630303" cy="3587535"/>
          </a:xfrm>
          <a:prstGeom prst="rect">
            <a:avLst/>
          </a:prstGeom>
          <a:no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49ACDC0D-7EB5-C780-B4D0-46C4581A33AB}"/>
              </a:ext>
            </a:extLst>
          </p:cNvPr>
          <p:cNvSpPr/>
          <p:nvPr/>
        </p:nvSpPr>
        <p:spPr>
          <a:xfrm>
            <a:off x="8169222" y="2412573"/>
            <a:ext cx="3599825" cy="3587535"/>
          </a:xfrm>
          <a:prstGeom prst="rect">
            <a:avLst/>
          </a:prstGeom>
          <a:noFill/>
          <a:ln w="9525">
            <a:solidFill>
              <a:schemeClr val="accent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17CDAC53-BBAB-CD49-AA6F-8E2D1A8808B5}"/>
              </a:ext>
            </a:extLst>
          </p:cNvPr>
          <p:cNvPicPr>
            <a:picLocks noChangeAspect="1"/>
          </p:cNvPicPr>
          <p:nvPr/>
        </p:nvPicPr>
        <p:blipFill>
          <a:blip r:embed="rId2">
            <a:lum bright="70000" contrast="-70000"/>
            <a:extLst>
              <a:ext uri="{BEBA8EAE-BF5A-486C-A8C5-ECC9F3942E4B}">
                <a14:imgProps xmlns:a14="http://schemas.microsoft.com/office/drawing/2010/main">
                  <a14:imgLayer r:embed="rId3">
                    <a14:imgEffect>
                      <a14:artisticPhotocopy/>
                    </a14:imgEffect>
                  </a14:imgLayer>
                </a14:imgProps>
              </a:ext>
            </a:extLst>
          </a:blip>
          <a:stretch>
            <a:fillRect/>
          </a:stretch>
        </p:blipFill>
        <p:spPr>
          <a:xfrm>
            <a:off x="782914" y="1821913"/>
            <a:ext cx="615553" cy="615553"/>
          </a:xfrm>
          <a:prstGeom prst="rect">
            <a:avLst/>
          </a:prstGeom>
        </p:spPr>
      </p:pic>
      <p:pic>
        <p:nvPicPr>
          <p:cNvPr id="14" name="Picture 13">
            <a:extLst>
              <a:ext uri="{FF2B5EF4-FFF2-40B4-BE49-F238E27FC236}">
                <a16:creationId xmlns:a16="http://schemas.microsoft.com/office/drawing/2014/main" id="{2C47EB06-EB63-1482-5BE8-7CF353FD5F71}"/>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Layer>
                </a14:imgProps>
              </a:ext>
            </a:extLst>
          </a:blip>
          <a:stretch>
            <a:fillRect/>
          </a:stretch>
        </p:blipFill>
        <p:spPr>
          <a:xfrm>
            <a:off x="4724936" y="1888175"/>
            <a:ext cx="483068" cy="483068"/>
          </a:xfrm>
          <a:prstGeom prst="rect">
            <a:avLst/>
          </a:prstGeom>
        </p:spPr>
      </p:pic>
      <p:pic>
        <p:nvPicPr>
          <p:cNvPr id="15" name="Graphic 14" descr="Robot outline">
            <a:extLst>
              <a:ext uri="{FF2B5EF4-FFF2-40B4-BE49-F238E27FC236}">
                <a16:creationId xmlns:a16="http://schemas.microsoft.com/office/drawing/2014/main" id="{F3392239-C363-4BBB-3BED-D598DCF129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70088" y="1820507"/>
            <a:ext cx="615553" cy="615553"/>
          </a:xfrm>
          <a:prstGeom prst="rect">
            <a:avLst/>
          </a:prstGeom>
        </p:spPr>
      </p:pic>
    </p:spTree>
    <p:extLst>
      <p:ext uri="{BB962C8B-B14F-4D97-AF65-F5344CB8AC3E}">
        <p14:creationId xmlns:p14="http://schemas.microsoft.com/office/powerpoint/2010/main" val="22054569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15678E-50A3-166E-8179-345C8311BDA4}"/>
              </a:ext>
            </a:extLst>
          </p:cNvPr>
          <p:cNvSpPr/>
          <p:nvPr/>
        </p:nvSpPr>
        <p:spPr>
          <a:xfrm flipV="1">
            <a:off x="8156690" y="2028355"/>
            <a:ext cx="3498118" cy="383628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0913C883-F6AF-112D-6FD0-071D100D0C10}"/>
              </a:ext>
            </a:extLst>
          </p:cNvPr>
          <p:cNvSpPr/>
          <p:nvPr/>
        </p:nvSpPr>
        <p:spPr>
          <a:xfrm flipV="1">
            <a:off x="4346941" y="2029851"/>
            <a:ext cx="3498118" cy="383315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7CBCC57E-F555-936F-B2DB-060BB8D83EB7}"/>
              </a:ext>
            </a:extLst>
          </p:cNvPr>
          <p:cNvSpPr/>
          <p:nvPr/>
        </p:nvSpPr>
        <p:spPr>
          <a:xfrm flipV="1">
            <a:off x="563429" y="2029853"/>
            <a:ext cx="3498118" cy="38331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RSM Logo" descr="Z:\RSM International\1 Design\2015\Brand\Guidelines\Logos\Logos-03.png">
            <a:extLst>
              <a:ext uri="{FF2B5EF4-FFF2-40B4-BE49-F238E27FC236}">
                <a16:creationId xmlns:a16="http://schemas.microsoft.com/office/drawing/2014/main" id="{B71FBBED-4BC4-191A-E1DF-BABFCCCD7E8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992316" y="305090"/>
            <a:ext cx="900000" cy="385227"/>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2">
            <a:extLst>
              <a:ext uri="{FF2B5EF4-FFF2-40B4-BE49-F238E27FC236}">
                <a16:creationId xmlns:a16="http://schemas.microsoft.com/office/drawing/2014/main" id="{2C64F5C9-A8AB-5BE9-FF62-C6EE949CDC9E}"/>
              </a:ext>
            </a:extLst>
          </p:cNvPr>
          <p:cNvSpPr txBox="1">
            <a:spLocks/>
          </p:cNvSpPr>
          <p:nvPr/>
        </p:nvSpPr>
        <p:spPr>
          <a:xfrm>
            <a:off x="563429" y="523865"/>
            <a:ext cx="9629777" cy="1913566"/>
          </a:xfrm>
          <a:prstGeom prst="rect">
            <a:avLst/>
          </a:prstGeom>
        </p:spPr>
        <p:txBody>
          <a:bodyPr/>
          <a:lstStyle>
            <a:lvl1pPr algn="l" defTabSz="914400" rtl="0" eaLnBrk="1" latinLnBrk="0" hangingPunct="1">
              <a:lnSpc>
                <a:spcPct val="100000"/>
              </a:lnSpc>
              <a:spcBef>
                <a:spcPct val="0"/>
              </a:spcBef>
              <a:buNone/>
              <a:defRPr sz="360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3400"/>
              </a:lnSpc>
              <a:spcBef>
                <a:spcPct val="0"/>
              </a:spcBef>
              <a:spcAft>
                <a:spcPts val="700"/>
              </a:spcAft>
              <a:buClrTx/>
              <a:buSzTx/>
              <a:buFontTx/>
              <a:buNone/>
              <a:tabLst/>
              <a:defRPr/>
            </a:pPr>
            <a:r>
              <a:rPr kumimoji="0" lang="en-CA" sz="2800" b="1" i="0" u="none" strike="noStrike" kern="1200" cap="none" spc="0" normalizeH="0" baseline="0" noProof="0">
                <a:ln>
                  <a:noFill/>
                </a:ln>
                <a:solidFill>
                  <a:srgbClr val="009CDE"/>
                </a:solidFill>
                <a:effectLst/>
                <a:uLnTx/>
                <a:uFillTx/>
                <a:latin typeface="Arial" panose="020B0604020202020204" pitchFamily="34" charset="0"/>
                <a:ea typeface="+mj-ea"/>
                <a:cs typeface="Arial" panose="020B0604020202020204" pitchFamily="34" charset="0"/>
              </a:rPr>
              <a:t>AI in Practice</a:t>
            </a:r>
            <a:endParaRPr kumimoji="0" lang="en-CA" sz="2800" b="1" i="0" u="none" strike="noStrike" kern="1200" cap="none" spc="0" normalizeH="0" baseline="0" noProof="0">
              <a:ln>
                <a:noFill/>
              </a:ln>
              <a:solidFill>
                <a:srgbClr val="00153C"/>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ts val="3200"/>
              </a:lnSpc>
              <a:spcBef>
                <a:spcPct val="0"/>
              </a:spcBef>
              <a:spcAft>
                <a:spcPts val="13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Organizations are realizing value with AI in three main areas:</a:t>
            </a:r>
            <a:br>
              <a:rPr kumimoji="0" lang="en-US" sz="20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br>
            <a:endParaRPr kumimoji="0" lang="en-CA" sz="20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4" name="TextBox 3">
            <a:extLst>
              <a:ext uri="{FF2B5EF4-FFF2-40B4-BE49-F238E27FC236}">
                <a16:creationId xmlns:a16="http://schemas.microsoft.com/office/drawing/2014/main" id="{61798E2B-AE57-5FE9-8DC1-A9DA1CBB594B}"/>
              </a:ext>
            </a:extLst>
          </p:cNvPr>
          <p:cNvSpPr txBox="1"/>
          <p:nvPr/>
        </p:nvSpPr>
        <p:spPr>
          <a:xfrm>
            <a:off x="8374041" y="2494722"/>
            <a:ext cx="3143149" cy="3277820"/>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200"/>
              </a:spcAft>
              <a:buClr>
                <a:srgbClr val="009CDE"/>
              </a:buClr>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terprise Intelligence</a:t>
            </a:r>
          </a:p>
          <a:p>
            <a:pPr marL="0" marR="0" lvl="1" indent="0" algn="l" defTabSz="914400" rtl="0" eaLnBrk="1" fontAlgn="auto" latinLnBrk="0" hangingPunct="1">
              <a:lnSpc>
                <a:spcPct val="100000"/>
              </a:lnSpc>
              <a:spcBef>
                <a:spcPts val="0"/>
              </a:spcBef>
              <a:spcAft>
                <a:spcPts val="1200"/>
              </a:spcAft>
              <a:buClr>
                <a:srgbClr val="009CDE"/>
              </a:buClr>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xtracting data from across the organization, including structured and unstructured information, and consolidating for enterprise delivery of information, helping enable better decision making at scale.</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ales, Cost, Customer, etc. Analysis</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lligent Forecasting and Demand Planning</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I and Predictive Analytics</a:t>
            </a:r>
          </a:p>
        </p:txBody>
      </p:sp>
      <p:sp>
        <p:nvSpPr>
          <p:cNvPr id="11" name="TextBox 10">
            <a:extLst>
              <a:ext uri="{FF2B5EF4-FFF2-40B4-BE49-F238E27FC236}">
                <a16:creationId xmlns:a16="http://schemas.microsoft.com/office/drawing/2014/main" id="{4DEBBB91-2E40-07BB-7E82-A85A7DD89020}"/>
              </a:ext>
            </a:extLst>
          </p:cNvPr>
          <p:cNvSpPr txBox="1"/>
          <p:nvPr/>
        </p:nvSpPr>
        <p:spPr>
          <a:xfrm>
            <a:off x="4610947" y="2497853"/>
            <a:ext cx="2886448" cy="2662267"/>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200"/>
              </a:spcAft>
              <a:buClr>
                <a:srgbClr val="009CDE"/>
              </a:buClr>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se Case Agents</a:t>
            </a:r>
          </a:p>
          <a:p>
            <a:pPr marL="0" marR="0" lvl="1" indent="0" algn="l" defTabSz="914400" rtl="0" eaLnBrk="1" fontAlgn="auto" latinLnBrk="0" hangingPunct="1">
              <a:lnSpc>
                <a:spcPct val="100000"/>
              </a:lnSpc>
              <a:spcBef>
                <a:spcPts val="0"/>
              </a:spcBef>
              <a:spcAft>
                <a:spcPts val="1200"/>
              </a:spcAft>
              <a:buClr>
                <a:srgbClr val="009CDE"/>
              </a:buClr>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ined over internal company data, AI optimizes workflows and enhances response time, enabling employees to focus on high-value creative work </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I IT Service Desk</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I HR Assistant</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I Customer Service</a:t>
            </a:r>
          </a:p>
        </p:txBody>
      </p:sp>
      <p:sp>
        <p:nvSpPr>
          <p:cNvPr id="12" name="TextBox 11">
            <a:extLst>
              <a:ext uri="{FF2B5EF4-FFF2-40B4-BE49-F238E27FC236}">
                <a16:creationId xmlns:a16="http://schemas.microsoft.com/office/drawing/2014/main" id="{35B9CFB6-4390-A065-C604-29DD01E10808}"/>
              </a:ext>
            </a:extLst>
          </p:cNvPr>
          <p:cNvSpPr txBox="1"/>
          <p:nvPr/>
        </p:nvSpPr>
        <p:spPr>
          <a:xfrm>
            <a:off x="817296" y="2532949"/>
            <a:ext cx="3075254" cy="2846933"/>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1200"/>
              </a:spcAft>
              <a:buClr>
                <a:srgbClr val="009CDE"/>
              </a:buClr>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sonal Productivity</a:t>
            </a:r>
          </a:p>
          <a:p>
            <a:pPr marL="0" marR="0" lvl="1" indent="0" algn="l" defTabSz="914400" rtl="0" eaLnBrk="1" fontAlgn="auto" latinLnBrk="0" hangingPunct="1">
              <a:lnSpc>
                <a:spcPct val="100000"/>
              </a:lnSpc>
              <a:spcBef>
                <a:spcPts val="0"/>
              </a:spcBef>
              <a:spcAft>
                <a:spcPts val="1200"/>
              </a:spcAft>
              <a:buClr>
                <a:srgbClr val="009CDE"/>
              </a:buClr>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oost productivity by providing the “guide on the side”, helping employees save 5, 10, 30+ minutes on tasks they perform daily.</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eeting organization and summarization</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arrative generation, data entry, and document comparison</a:t>
            </a:r>
          </a:p>
          <a:p>
            <a:pPr marL="285750" marR="0" lvl="1" indent="-285750" algn="l" defTabSz="914400" rtl="0" eaLnBrk="1" fontAlgn="auto" latinLnBrk="0" hangingPunct="1">
              <a:lnSpc>
                <a:spcPct val="100000"/>
              </a:lnSpc>
              <a:spcBef>
                <a:spcPts val="0"/>
              </a:spcBef>
              <a:spcAft>
                <a:spcPts val="1200"/>
              </a:spcAft>
              <a:buClr>
                <a:srgbClr val="009CDE"/>
              </a:buClr>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nual and repetitive tasks</a:t>
            </a:r>
          </a:p>
        </p:txBody>
      </p:sp>
      <p:pic>
        <p:nvPicPr>
          <p:cNvPr id="21" name="Picture 20">
            <a:extLst>
              <a:ext uri="{FF2B5EF4-FFF2-40B4-BE49-F238E27FC236}">
                <a16:creationId xmlns:a16="http://schemas.microsoft.com/office/drawing/2014/main" id="{17BEFD7D-E327-A81E-BF75-DF017A0DF9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76387" y="2175379"/>
            <a:ext cx="242277" cy="242277"/>
          </a:xfrm>
          <a:prstGeom prst="rect">
            <a:avLst/>
          </a:prstGeom>
        </p:spPr>
      </p:pic>
      <p:pic>
        <p:nvPicPr>
          <p:cNvPr id="22" name="Picture 21">
            <a:extLst>
              <a:ext uri="{FF2B5EF4-FFF2-40B4-BE49-F238E27FC236}">
                <a16:creationId xmlns:a16="http://schemas.microsoft.com/office/drawing/2014/main" id="{FE65CAB8-7BD2-3A08-3791-6FBF5ED072B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3140" y="2158429"/>
            <a:ext cx="289169" cy="289169"/>
          </a:xfrm>
          <a:prstGeom prst="rect">
            <a:avLst/>
          </a:prstGeom>
        </p:spPr>
      </p:pic>
      <p:pic>
        <p:nvPicPr>
          <p:cNvPr id="23" name="Picture 22">
            <a:extLst>
              <a:ext uri="{FF2B5EF4-FFF2-40B4-BE49-F238E27FC236}">
                <a16:creationId xmlns:a16="http://schemas.microsoft.com/office/drawing/2014/main" id="{79215048-730F-A7D4-92E6-0E9A65F9DE5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2728" y="2174381"/>
            <a:ext cx="283308" cy="283308"/>
          </a:xfrm>
          <a:prstGeom prst="rect">
            <a:avLst/>
          </a:prstGeom>
        </p:spPr>
      </p:pic>
    </p:spTree>
    <p:extLst>
      <p:ext uri="{BB962C8B-B14F-4D97-AF65-F5344CB8AC3E}">
        <p14:creationId xmlns:p14="http://schemas.microsoft.com/office/powerpoint/2010/main" val="315395835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08FBA-E041-421B-B6B4-7C3B80C121D6}"/>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794CCC9B-B3DC-9770-6AF7-DF61C7F8EE7E}"/>
              </a:ext>
            </a:extLst>
          </p:cNvPr>
          <p:cNvGrpSpPr/>
          <p:nvPr>
            <p:custDataLst>
              <p:tags r:id="rId2"/>
            </p:custDataLst>
          </p:nvPr>
        </p:nvGrpSpPr>
        <p:grpSpPr>
          <a:xfrm>
            <a:off x="3810002" y="1524000"/>
            <a:ext cx="4876802" cy="4222033"/>
            <a:chOff x="3274238" y="1143000"/>
            <a:chExt cx="5643528" cy="4885817"/>
          </a:xfrm>
        </p:grpSpPr>
        <p:grpSp>
          <p:nvGrpSpPr>
            <p:cNvPr id="6" name="Graphic 5">
              <a:extLst>
                <a:ext uri="{FF2B5EF4-FFF2-40B4-BE49-F238E27FC236}">
                  <a16:creationId xmlns:a16="http://schemas.microsoft.com/office/drawing/2014/main" id="{F038AA6F-44F1-7FB8-223D-E0E82598534D}"/>
                </a:ext>
              </a:extLst>
            </p:cNvPr>
            <p:cNvGrpSpPr/>
            <p:nvPr/>
          </p:nvGrpSpPr>
          <p:grpSpPr>
            <a:xfrm>
              <a:off x="3274238" y="1143000"/>
              <a:ext cx="5643528" cy="4885817"/>
              <a:chOff x="3119473" y="776668"/>
              <a:chExt cx="5953052" cy="5153787"/>
            </a:xfrm>
          </p:grpSpPr>
          <p:sp>
            <p:nvSpPr>
              <p:cNvPr id="22" name="Freeform 21">
                <a:extLst>
                  <a:ext uri="{FF2B5EF4-FFF2-40B4-BE49-F238E27FC236}">
                    <a16:creationId xmlns:a16="http://schemas.microsoft.com/office/drawing/2014/main" id="{A6F8EDF0-0EEB-0E60-E0E7-91056BBACA4D}"/>
                  </a:ext>
                </a:extLst>
              </p:cNvPr>
              <p:cNvSpPr/>
              <p:nvPr/>
            </p:nvSpPr>
            <p:spPr>
              <a:xfrm>
                <a:off x="3156061" y="4752971"/>
                <a:ext cx="5879877" cy="1177484"/>
              </a:xfrm>
              <a:custGeom>
                <a:avLst/>
                <a:gdLst>
                  <a:gd name="connsiteX0" fmla="*/ 3840411 w 5879877"/>
                  <a:gd name="connsiteY0" fmla="*/ 0 h 1177484"/>
                  <a:gd name="connsiteX1" fmla="*/ 2973577 w 5879877"/>
                  <a:gd name="connsiteY1" fmla="*/ 0 h 1177484"/>
                  <a:gd name="connsiteX2" fmla="*/ 2906301 w 5879877"/>
                  <a:gd name="connsiteY2" fmla="*/ 0 h 1177484"/>
                  <a:gd name="connsiteX3" fmla="*/ 2039466 w 5879877"/>
                  <a:gd name="connsiteY3" fmla="*/ 0 h 1177484"/>
                  <a:gd name="connsiteX4" fmla="*/ 0 w 5879877"/>
                  <a:gd name="connsiteY4" fmla="*/ 1177484 h 1177484"/>
                  <a:gd name="connsiteX5" fmla="*/ 2906301 w 5879877"/>
                  <a:gd name="connsiteY5" fmla="*/ 1177484 h 1177484"/>
                  <a:gd name="connsiteX6" fmla="*/ 2973577 w 5879877"/>
                  <a:gd name="connsiteY6" fmla="*/ 1177484 h 1177484"/>
                  <a:gd name="connsiteX7" fmla="*/ 5879878 w 5879877"/>
                  <a:gd name="connsiteY7" fmla="*/ 1177484 h 1177484"/>
                  <a:gd name="connsiteX8" fmla="*/ 3840411 w 5879877"/>
                  <a:gd name="connsiteY8" fmla="*/ 0 h 117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9877" h="1177484">
                    <a:moveTo>
                      <a:pt x="3840411" y="0"/>
                    </a:moveTo>
                    <a:lnTo>
                      <a:pt x="2973577" y="0"/>
                    </a:lnTo>
                    <a:lnTo>
                      <a:pt x="2906301" y="0"/>
                    </a:lnTo>
                    <a:lnTo>
                      <a:pt x="2039466" y="0"/>
                    </a:lnTo>
                    <a:lnTo>
                      <a:pt x="0" y="1177484"/>
                    </a:lnTo>
                    <a:lnTo>
                      <a:pt x="2906301" y="1177484"/>
                    </a:lnTo>
                    <a:lnTo>
                      <a:pt x="2973577" y="1177484"/>
                    </a:lnTo>
                    <a:lnTo>
                      <a:pt x="5879878" y="1177484"/>
                    </a:lnTo>
                    <a:lnTo>
                      <a:pt x="3840411" y="0"/>
                    </a:lnTo>
                    <a:close/>
                  </a:path>
                </a:pathLst>
              </a:custGeom>
              <a:solidFill>
                <a:srgbClr val="E87722"/>
              </a:solidFill>
              <a:ln w="1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23" name="Freeform 22">
                <a:extLst>
                  <a:ext uri="{FF2B5EF4-FFF2-40B4-BE49-F238E27FC236}">
                    <a16:creationId xmlns:a16="http://schemas.microsoft.com/office/drawing/2014/main" id="{D9668BE9-B59D-0783-A6D2-0CA70FE4ED86}"/>
                  </a:ext>
                </a:extLst>
              </p:cNvPr>
              <p:cNvSpPr/>
              <p:nvPr/>
            </p:nvSpPr>
            <p:spPr>
              <a:xfrm>
                <a:off x="6129638" y="776668"/>
                <a:ext cx="2942887" cy="5097208"/>
              </a:xfrm>
              <a:custGeom>
                <a:avLst/>
                <a:gdLst>
                  <a:gd name="connsiteX0" fmla="*/ 1488272 w 2942887"/>
                  <a:gd name="connsiteY0" fmla="*/ 2577734 h 5097208"/>
                  <a:gd name="connsiteX1" fmla="*/ 1454616 w 2942887"/>
                  <a:gd name="connsiteY1" fmla="*/ 2519475 h 5097208"/>
                  <a:gd name="connsiteX2" fmla="*/ 0 w 2942887"/>
                  <a:gd name="connsiteY2" fmla="*/ 0 h 5097208"/>
                  <a:gd name="connsiteX3" fmla="*/ 0 w 2942887"/>
                  <a:gd name="connsiteY3" fmla="*/ 2354986 h 5097208"/>
                  <a:gd name="connsiteX4" fmla="*/ 434883 w 2942887"/>
                  <a:gd name="connsiteY4" fmla="*/ 3108217 h 5097208"/>
                  <a:gd name="connsiteX5" fmla="*/ 468521 w 2942887"/>
                  <a:gd name="connsiteY5" fmla="*/ 3166493 h 5097208"/>
                  <a:gd name="connsiteX6" fmla="*/ 903404 w 2942887"/>
                  <a:gd name="connsiteY6" fmla="*/ 3919724 h 5097208"/>
                  <a:gd name="connsiteX7" fmla="*/ 2942888 w 2942887"/>
                  <a:gd name="connsiteY7" fmla="*/ 5097209 h 5097208"/>
                  <a:gd name="connsiteX8" fmla="*/ 1488272 w 2942887"/>
                  <a:gd name="connsiteY8" fmla="*/ 2577734 h 5097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2887" h="5097208">
                    <a:moveTo>
                      <a:pt x="1488272" y="2577734"/>
                    </a:moveTo>
                    <a:lnTo>
                      <a:pt x="1454616" y="2519475"/>
                    </a:lnTo>
                    <a:lnTo>
                      <a:pt x="0" y="0"/>
                    </a:lnTo>
                    <a:lnTo>
                      <a:pt x="0" y="2354986"/>
                    </a:lnTo>
                    <a:lnTo>
                      <a:pt x="434883" y="3108217"/>
                    </a:lnTo>
                    <a:lnTo>
                      <a:pt x="468521" y="3166493"/>
                    </a:lnTo>
                    <a:lnTo>
                      <a:pt x="903404" y="3919724"/>
                    </a:lnTo>
                    <a:lnTo>
                      <a:pt x="2942888" y="5097209"/>
                    </a:lnTo>
                    <a:lnTo>
                      <a:pt x="1488272" y="2577734"/>
                    </a:lnTo>
                    <a:close/>
                  </a:path>
                </a:pathLst>
              </a:custGeom>
              <a:gradFill>
                <a:gsLst>
                  <a:gs pos="21000">
                    <a:schemeClr val="tx2"/>
                  </a:gs>
                  <a:gs pos="59000">
                    <a:schemeClr val="tx2">
                      <a:alpha val="91098"/>
                    </a:schemeClr>
                  </a:gs>
                  <a:gs pos="80000">
                    <a:srgbClr val="244638"/>
                  </a:gs>
                  <a:gs pos="100000">
                    <a:schemeClr val="tx1"/>
                  </a:gs>
                </a:gsLst>
                <a:lin ang="9000000" scaled="0"/>
              </a:gradFill>
              <a:ln w="1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sp>
            <p:nvSpPr>
              <p:cNvPr id="24" name="Freeform 23">
                <a:extLst>
                  <a:ext uri="{FF2B5EF4-FFF2-40B4-BE49-F238E27FC236}">
                    <a16:creationId xmlns:a16="http://schemas.microsoft.com/office/drawing/2014/main" id="{9A80ECAA-2004-93AB-3BC6-E11F2FB9F6C5}"/>
                  </a:ext>
                </a:extLst>
              </p:cNvPr>
              <p:cNvSpPr/>
              <p:nvPr/>
            </p:nvSpPr>
            <p:spPr>
              <a:xfrm>
                <a:off x="3119473" y="776668"/>
                <a:ext cx="2942887" cy="5097208"/>
              </a:xfrm>
              <a:custGeom>
                <a:avLst/>
                <a:gdLst>
                  <a:gd name="connsiteX0" fmla="*/ 1488272 w 2942887"/>
                  <a:gd name="connsiteY0" fmla="*/ 2519475 h 5097208"/>
                  <a:gd name="connsiteX1" fmla="*/ 1454616 w 2942887"/>
                  <a:gd name="connsiteY1" fmla="*/ 2577734 h 5097208"/>
                  <a:gd name="connsiteX2" fmla="*/ 0 w 2942887"/>
                  <a:gd name="connsiteY2" fmla="*/ 5097209 h 5097208"/>
                  <a:gd name="connsiteX3" fmla="*/ 2039483 w 2942887"/>
                  <a:gd name="connsiteY3" fmla="*/ 3919724 h 5097208"/>
                  <a:gd name="connsiteX4" fmla="*/ 2474366 w 2942887"/>
                  <a:gd name="connsiteY4" fmla="*/ 3166493 h 5097208"/>
                  <a:gd name="connsiteX5" fmla="*/ 2508005 w 2942887"/>
                  <a:gd name="connsiteY5" fmla="*/ 3108217 h 5097208"/>
                  <a:gd name="connsiteX6" fmla="*/ 2942888 w 2942887"/>
                  <a:gd name="connsiteY6" fmla="*/ 2354986 h 5097208"/>
                  <a:gd name="connsiteX7" fmla="*/ 2942888 w 2942887"/>
                  <a:gd name="connsiteY7" fmla="*/ 0 h 5097208"/>
                  <a:gd name="connsiteX8" fmla="*/ 1488272 w 2942887"/>
                  <a:gd name="connsiteY8" fmla="*/ 2519475 h 5097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2887" h="5097208">
                    <a:moveTo>
                      <a:pt x="1488272" y="2519475"/>
                    </a:moveTo>
                    <a:lnTo>
                      <a:pt x="1454616" y="2577734"/>
                    </a:lnTo>
                    <a:lnTo>
                      <a:pt x="0" y="5097209"/>
                    </a:lnTo>
                    <a:lnTo>
                      <a:pt x="2039483" y="3919724"/>
                    </a:lnTo>
                    <a:lnTo>
                      <a:pt x="2474366" y="3166493"/>
                    </a:lnTo>
                    <a:lnTo>
                      <a:pt x="2508005" y="3108217"/>
                    </a:lnTo>
                    <a:lnTo>
                      <a:pt x="2942888" y="2354986"/>
                    </a:lnTo>
                    <a:lnTo>
                      <a:pt x="2942888" y="0"/>
                    </a:lnTo>
                    <a:lnTo>
                      <a:pt x="1488272" y="2519475"/>
                    </a:lnTo>
                    <a:close/>
                  </a:path>
                </a:pathLst>
              </a:custGeom>
              <a:gradFill>
                <a:gsLst>
                  <a:gs pos="0">
                    <a:schemeClr val="accent1"/>
                  </a:gs>
                  <a:gs pos="55000">
                    <a:schemeClr val="accent1"/>
                  </a:gs>
                  <a:gs pos="81000">
                    <a:schemeClr val="tx1"/>
                  </a:gs>
                </a:gsLst>
                <a:lin ang="1800000" scaled="0"/>
              </a:gradFill>
              <a:ln w="1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1439"/>
                  </a:solidFill>
                  <a:effectLst/>
                  <a:uLnTx/>
                  <a:uFillTx/>
                  <a:latin typeface="Arial"/>
                  <a:ea typeface="+mn-ea"/>
                  <a:cs typeface="+mn-cs"/>
                </a:endParaRPr>
              </a:p>
            </p:txBody>
          </p:sp>
        </p:grpSp>
        <p:sp>
          <p:nvSpPr>
            <p:cNvPr id="7" name="TextBox 6">
              <a:extLst>
                <a:ext uri="{FF2B5EF4-FFF2-40B4-BE49-F238E27FC236}">
                  <a16:creationId xmlns:a16="http://schemas.microsoft.com/office/drawing/2014/main" id="{901C5E19-E465-A847-110B-94BC5AB7CAD1}"/>
                </a:ext>
              </a:extLst>
            </p:cNvPr>
            <p:cNvSpPr txBox="1"/>
            <p:nvPr/>
          </p:nvSpPr>
          <p:spPr>
            <a:xfrm rot="18000000">
              <a:off x="3281651" y="3517888"/>
              <a:ext cx="3532379" cy="46301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ugeo"/>
                  <a:ea typeface="+mn-ea"/>
                  <a:cs typeface="Arial Black" panose="020B0604020202020204" pitchFamily="34" charset="0"/>
                </a:rPr>
                <a:t>Run the Enterprise</a:t>
              </a:r>
            </a:p>
          </p:txBody>
        </p:sp>
        <p:sp>
          <p:nvSpPr>
            <p:cNvPr id="19" name="TextBox 18">
              <a:extLst>
                <a:ext uri="{FF2B5EF4-FFF2-40B4-BE49-F238E27FC236}">
                  <a16:creationId xmlns:a16="http://schemas.microsoft.com/office/drawing/2014/main" id="{C7B99CDD-B847-2097-A0C2-CB5526C54EC3}"/>
                </a:ext>
              </a:extLst>
            </p:cNvPr>
            <p:cNvSpPr txBox="1"/>
            <p:nvPr/>
          </p:nvSpPr>
          <p:spPr>
            <a:xfrm rot="3610871">
              <a:off x="5375627" y="3550879"/>
              <a:ext cx="3603362" cy="46301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ugeo"/>
                  <a:ea typeface="+mn-ea"/>
                  <a:cs typeface="Arial Black" panose="020B0604020202020204" pitchFamily="34" charset="0"/>
                </a:rPr>
                <a:t>Grow the Enterprise</a:t>
              </a:r>
            </a:p>
          </p:txBody>
        </p:sp>
        <p:sp>
          <p:nvSpPr>
            <p:cNvPr id="20" name="TextBox 19">
              <a:extLst>
                <a:ext uri="{FF2B5EF4-FFF2-40B4-BE49-F238E27FC236}">
                  <a16:creationId xmlns:a16="http://schemas.microsoft.com/office/drawing/2014/main" id="{265181E8-09E4-92EE-53C7-4E4588C04617}"/>
                </a:ext>
              </a:extLst>
            </p:cNvPr>
            <p:cNvSpPr txBox="1"/>
            <p:nvPr/>
          </p:nvSpPr>
          <p:spPr>
            <a:xfrm>
              <a:off x="4267201" y="5410200"/>
              <a:ext cx="3657600" cy="46301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ugeo"/>
                  <a:ea typeface="+mn-ea"/>
                  <a:cs typeface="Arial Black" panose="020B0604020202020204" pitchFamily="34" charset="0"/>
                </a:rPr>
                <a:t>Protect the Enterprise</a:t>
              </a:r>
            </a:p>
          </p:txBody>
        </p:sp>
        <p:sp>
          <p:nvSpPr>
            <p:cNvPr id="21" name="TextBox 20">
              <a:extLst>
                <a:ext uri="{FF2B5EF4-FFF2-40B4-BE49-F238E27FC236}">
                  <a16:creationId xmlns:a16="http://schemas.microsoft.com/office/drawing/2014/main" id="{98D2BCBA-2BC3-4764-EE59-729C92412161}"/>
                </a:ext>
              </a:extLst>
            </p:cNvPr>
            <p:cNvSpPr txBox="1"/>
            <p:nvPr/>
          </p:nvSpPr>
          <p:spPr>
            <a:xfrm flipH="1">
              <a:off x="5295563" y="3986747"/>
              <a:ext cx="1659672" cy="85479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ugeo"/>
                  <a:ea typeface="Montserrat" charset="0"/>
                  <a:cs typeface="Arial Black" panose="020B0604020202020204" pitchFamily="34" charset="0"/>
                </a:rPr>
                <a:t>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ugeo"/>
                  <a:ea typeface="Montserrat" charset="0"/>
                  <a:cs typeface="Arial Black" panose="020B0604020202020204" pitchFamily="34" charset="0"/>
                </a:rPr>
                <a:t>AI Value </a:t>
              </a:r>
              <a:br>
                <a:rPr kumimoji="0" lang="en-US" sz="1400" b="1" i="0" u="none" strike="noStrike" kern="1200" cap="none" spc="0" normalizeH="0" baseline="0" noProof="0">
                  <a:ln>
                    <a:noFill/>
                  </a:ln>
                  <a:solidFill>
                    <a:srgbClr val="FFFFFF"/>
                  </a:solidFill>
                  <a:effectLst/>
                  <a:uLnTx/>
                  <a:uFillTx/>
                  <a:latin typeface="Sugeo"/>
                  <a:ea typeface="Montserrat" charset="0"/>
                  <a:cs typeface="Arial Black" panose="020B0604020202020204" pitchFamily="34" charset="0"/>
                </a:rPr>
              </a:br>
              <a:r>
                <a:rPr kumimoji="0" lang="en-US" sz="1400" b="1" i="0" u="none" strike="noStrike" kern="1200" cap="none" spc="0" normalizeH="0" baseline="0" noProof="0">
                  <a:ln>
                    <a:noFill/>
                  </a:ln>
                  <a:solidFill>
                    <a:srgbClr val="FFFFFF"/>
                  </a:solidFill>
                  <a:effectLst/>
                  <a:uLnTx/>
                  <a:uFillTx/>
                  <a:latin typeface="Sugeo"/>
                  <a:ea typeface="Montserrat" charset="0"/>
                  <a:cs typeface="Arial Black" panose="020B0604020202020204" pitchFamily="34" charset="0"/>
                </a:rPr>
                <a:t>Proposition </a:t>
              </a:r>
              <a:endParaRPr kumimoji="0" lang="en-US" sz="2000" b="1" i="0" u="none" strike="noStrike" kern="1200" cap="none" spc="0" normalizeH="0" baseline="0" noProof="0">
                <a:ln>
                  <a:noFill/>
                </a:ln>
                <a:solidFill>
                  <a:srgbClr val="FFFFFF"/>
                </a:solidFill>
                <a:effectLst/>
                <a:uLnTx/>
                <a:uFillTx/>
                <a:latin typeface="Sugeo"/>
                <a:ea typeface="Montserrat" charset="0"/>
                <a:cs typeface="Arial Black" panose="020B0604020202020204" pitchFamily="34" charset="0"/>
              </a:endParaRPr>
            </a:p>
          </p:txBody>
        </p:sp>
      </p:grpSp>
      <p:sp>
        <p:nvSpPr>
          <p:cNvPr id="3" name="Text Placeholder 2">
            <a:extLst>
              <a:ext uri="{FF2B5EF4-FFF2-40B4-BE49-F238E27FC236}">
                <a16:creationId xmlns:a16="http://schemas.microsoft.com/office/drawing/2014/main" id="{A7628A5C-9555-3BE6-AD99-48F36DFA6705}"/>
              </a:ext>
            </a:extLst>
          </p:cNvPr>
          <p:cNvSpPr>
            <a:spLocks noGrp="1"/>
          </p:cNvSpPr>
          <p:nvPr>
            <p:ph type="body" sz="quarter" idx="14"/>
            <p:custDataLst>
              <p:tags r:id="rId3"/>
            </p:custDataLst>
          </p:nvPr>
        </p:nvSpPr>
        <p:spPr/>
        <p:txBody>
          <a:bodyPr>
            <a:noAutofit/>
          </a:bodyPr>
          <a:lstStyle/>
          <a:p>
            <a:r>
              <a:rPr lang="en-US" b="1"/>
              <a:t>RSM’s AI Value Proposition </a:t>
            </a:r>
            <a:r>
              <a:rPr lang="en-US" b="0"/>
              <a:t>captures the three key value drivers that executives care about most: operational efficiency, revenue growth, and risk management. By leveraging AI driven solutions, we hel</a:t>
            </a:r>
            <a:r>
              <a:rPr lang="en-US"/>
              <a:t>p your enterprise run smarter, grow faster, and stay protected. </a:t>
            </a:r>
          </a:p>
        </p:txBody>
      </p:sp>
      <p:sp>
        <p:nvSpPr>
          <p:cNvPr id="5" name="Title 4">
            <a:extLst>
              <a:ext uri="{FF2B5EF4-FFF2-40B4-BE49-F238E27FC236}">
                <a16:creationId xmlns:a16="http://schemas.microsoft.com/office/drawing/2014/main" id="{D8EB5807-5618-2434-BA50-8A33472B37CE}"/>
              </a:ext>
            </a:extLst>
          </p:cNvPr>
          <p:cNvSpPr>
            <a:spLocks noGrp="1"/>
          </p:cNvSpPr>
          <p:nvPr>
            <p:ph type="title"/>
            <p:custDataLst>
              <p:tags r:id="rId4"/>
            </p:custDataLst>
          </p:nvPr>
        </p:nvSpPr>
        <p:spPr/>
        <p:txBody>
          <a:bodyPr/>
          <a:lstStyle/>
          <a:p>
            <a:r>
              <a:rPr lang="en-US"/>
              <a:t>The AI Advantage: Run, Grow, Protect Your Business</a:t>
            </a:r>
          </a:p>
        </p:txBody>
      </p:sp>
      <p:sp>
        <p:nvSpPr>
          <p:cNvPr id="67" name="TextBox 66">
            <a:extLst>
              <a:ext uri="{FF2B5EF4-FFF2-40B4-BE49-F238E27FC236}">
                <a16:creationId xmlns:a16="http://schemas.microsoft.com/office/drawing/2014/main" id="{B58F3E96-A03C-81A1-CAA6-0BF1DA2EC647}"/>
              </a:ext>
            </a:extLst>
          </p:cNvPr>
          <p:cNvSpPr txBox="1"/>
          <p:nvPr>
            <p:custDataLst>
              <p:tags r:id="rId5"/>
            </p:custDataLst>
          </p:nvPr>
        </p:nvSpPr>
        <p:spPr>
          <a:xfrm>
            <a:off x="1330172" y="2595381"/>
            <a:ext cx="2755561" cy="32002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9CDE"/>
                </a:solidFill>
                <a:effectLst/>
                <a:uLnTx/>
                <a:uFillTx/>
                <a:latin typeface="Sugeo"/>
                <a:ea typeface="+mn-ea"/>
                <a:cs typeface="+mn-cs"/>
              </a:rPr>
              <a:t>Capture operational </a:t>
            </a:r>
            <a:br>
              <a:rPr kumimoji="0" lang="en-US" sz="1800" b="1" i="0" u="none" strike="noStrike" kern="1200" cap="none" spc="0" normalizeH="0" baseline="0" noProof="0">
                <a:ln>
                  <a:noFill/>
                </a:ln>
                <a:solidFill>
                  <a:srgbClr val="009CDE"/>
                </a:solidFill>
                <a:effectLst/>
                <a:uLnTx/>
                <a:uFillTx/>
                <a:latin typeface="Sugeo"/>
                <a:ea typeface="+mn-ea"/>
                <a:cs typeface="+mn-cs"/>
              </a:rPr>
            </a:br>
            <a:r>
              <a:rPr kumimoji="0" lang="en-US" sz="1800" b="1" i="0" u="none" strike="noStrike" kern="1200" cap="none" spc="0" normalizeH="0" baseline="0" noProof="0">
                <a:ln>
                  <a:noFill/>
                </a:ln>
                <a:solidFill>
                  <a:srgbClr val="009CDE"/>
                </a:solidFill>
                <a:effectLst/>
                <a:uLnTx/>
                <a:uFillTx/>
                <a:latin typeface="Sugeo"/>
                <a:ea typeface="+mn-ea"/>
                <a:cs typeface="+mn-cs"/>
              </a:rPr>
              <a:t>efficiencies using AI</a:t>
            </a:r>
          </a:p>
        </p:txBody>
      </p:sp>
      <p:sp>
        <p:nvSpPr>
          <p:cNvPr id="68" name="TextBox 67">
            <a:extLst>
              <a:ext uri="{FF2B5EF4-FFF2-40B4-BE49-F238E27FC236}">
                <a16:creationId xmlns:a16="http://schemas.microsoft.com/office/drawing/2014/main" id="{E2E47933-C0ED-E473-2F6C-E8FAE2EAF37E}"/>
              </a:ext>
            </a:extLst>
          </p:cNvPr>
          <p:cNvSpPr txBox="1"/>
          <p:nvPr>
            <p:custDataLst>
              <p:tags r:id="rId6"/>
            </p:custDataLst>
          </p:nvPr>
        </p:nvSpPr>
        <p:spPr>
          <a:xfrm>
            <a:off x="3461369" y="5860206"/>
            <a:ext cx="2514600" cy="32002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87722"/>
                </a:solidFill>
                <a:effectLst/>
                <a:uLnTx/>
                <a:uFillTx/>
                <a:latin typeface="Sugeo"/>
                <a:ea typeface="+mn-ea"/>
                <a:cs typeface="+mn-cs"/>
              </a:rPr>
              <a:t>Mitigate risk and maintain compliance </a:t>
            </a:r>
          </a:p>
        </p:txBody>
      </p:sp>
      <p:sp>
        <p:nvSpPr>
          <p:cNvPr id="69" name="TextBox 68">
            <a:extLst>
              <a:ext uri="{FF2B5EF4-FFF2-40B4-BE49-F238E27FC236}">
                <a16:creationId xmlns:a16="http://schemas.microsoft.com/office/drawing/2014/main" id="{5AE2D23C-BC22-00F7-5FC2-95C0921E3B3B}"/>
              </a:ext>
            </a:extLst>
          </p:cNvPr>
          <p:cNvSpPr txBox="1"/>
          <p:nvPr>
            <p:custDataLst>
              <p:tags r:id="rId7"/>
            </p:custDataLst>
          </p:nvPr>
        </p:nvSpPr>
        <p:spPr>
          <a:xfrm>
            <a:off x="7744046" y="3433597"/>
            <a:ext cx="2541919" cy="314894"/>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F9C35"/>
                </a:solidFill>
                <a:effectLst/>
                <a:uLnTx/>
                <a:uFillTx/>
                <a:latin typeface="Sugeo"/>
                <a:ea typeface="+mn-ea"/>
                <a:cs typeface="+mn-cs"/>
              </a:rPr>
              <a:t>Fuel revenue growth with AI powered innovations</a:t>
            </a:r>
          </a:p>
        </p:txBody>
      </p:sp>
      <p:sp>
        <p:nvSpPr>
          <p:cNvPr id="8" name="Arrow: Pentagon 7">
            <a:extLst>
              <a:ext uri="{FF2B5EF4-FFF2-40B4-BE49-F238E27FC236}">
                <a16:creationId xmlns:a16="http://schemas.microsoft.com/office/drawing/2014/main" id="{C6469535-B6A5-31C9-0511-B91C5CB079F7}"/>
              </a:ext>
            </a:extLst>
          </p:cNvPr>
          <p:cNvSpPr/>
          <p:nvPr>
            <p:custDataLst>
              <p:tags r:id="rId8"/>
            </p:custDataLst>
          </p:nvPr>
        </p:nvSpPr>
        <p:spPr>
          <a:xfrm rot="5400000" flipV="1">
            <a:off x="5981158" y="6044006"/>
            <a:ext cx="515468" cy="45719"/>
          </a:xfrm>
          <a:prstGeom prst="homePlate">
            <a:avLst/>
          </a:prstGeom>
          <a:gradFill flip="none" rotWithShape="1">
            <a:gsLst>
              <a:gs pos="0">
                <a:srgbClr val="141439"/>
              </a:gs>
              <a:gs pos="100000">
                <a:srgbClr val="E8772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9" name="Arrow: Pentagon 8">
            <a:extLst>
              <a:ext uri="{FF2B5EF4-FFF2-40B4-BE49-F238E27FC236}">
                <a16:creationId xmlns:a16="http://schemas.microsoft.com/office/drawing/2014/main" id="{E8E7562A-2D4C-F9DD-FEC7-A33817AD7FFD}"/>
              </a:ext>
            </a:extLst>
          </p:cNvPr>
          <p:cNvSpPr/>
          <p:nvPr>
            <p:custDataLst>
              <p:tags r:id="rId9"/>
            </p:custDataLst>
          </p:nvPr>
        </p:nvSpPr>
        <p:spPr>
          <a:xfrm>
            <a:off x="7798667" y="3936885"/>
            <a:ext cx="3271155" cy="45719"/>
          </a:xfrm>
          <a:prstGeom prst="homePlate">
            <a:avLst/>
          </a:prstGeom>
          <a:gradFill flip="none" rotWithShape="1">
            <a:gsLst>
              <a:gs pos="0">
                <a:srgbClr val="141439"/>
              </a:gs>
              <a:gs pos="48000">
                <a:schemeClr val="accent2">
                  <a:lumMod val="97000"/>
                  <a:lumOff val="3000"/>
                </a:schemeClr>
              </a:gs>
              <a:gs pos="100000">
                <a:schemeClr val="accent2">
                  <a:lumMod val="60000"/>
                  <a:lumOff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ED7691B8-2EFB-A31C-7DA4-A7830D10E9E6}"/>
              </a:ext>
            </a:extLst>
          </p:cNvPr>
          <p:cNvSpPr txBox="1"/>
          <p:nvPr>
            <p:custDataLst>
              <p:tags r:id="rId10"/>
            </p:custDataLst>
          </p:nvPr>
        </p:nvSpPr>
        <p:spPr>
          <a:xfrm>
            <a:off x="2151276" y="3276573"/>
            <a:ext cx="3188044" cy="452718"/>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9CDE"/>
                </a:solidFill>
                <a:effectLst/>
                <a:uLnTx/>
                <a:uFillTx/>
                <a:latin typeface="Arial"/>
                <a:ea typeface="+mn-ea"/>
                <a:cs typeface="+mn-cs"/>
              </a:rPr>
              <a:t>Cut costs and boost productivity at scale</a:t>
            </a:r>
          </a:p>
        </p:txBody>
      </p:sp>
      <p:sp>
        <p:nvSpPr>
          <p:cNvPr id="12" name="TextBox 11">
            <a:extLst>
              <a:ext uri="{FF2B5EF4-FFF2-40B4-BE49-F238E27FC236}">
                <a16:creationId xmlns:a16="http://schemas.microsoft.com/office/drawing/2014/main" id="{7697855F-479C-C99D-E9E5-D48BD1252804}"/>
              </a:ext>
            </a:extLst>
          </p:cNvPr>
          <p:cNvSpPr txBox="1"/>
          <p:nvPr>
            <p:custDataLst>
              <p:tags r:id="rId11"/>
            </p:custDataLst>
          </p:nvPr>
        </p:nvSpPr>
        <p:spPr>
          <a:xfrm>
            <a:off x="6852035" y="5854473"/>
            <a:ext cx="1844001" cy="452718"/>
          </a:xfrm>
          <a:prstGeom prst="rect">
            <a:avLst/>
          </a:prstGeom>
          <a:noFill/>
        </p:spPr>
        <p:txBody>
          <a:bodyPr wrap="square" lIns="0" r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E87722"/>
                </a:solidFill>
                <a:effectLst/>
                <a:uLnTx/>
                <a:uFillTx/>
                <a:latin typeface="Arial"/>
                <a:ea typeface="+mn-ea"/>
                <a:cs typeface="+mn-cs"/>
              </a:rPr>
              <a:t>Strengthen security, resilience and business trust</a:t>
            </a:r>
          </a:p>
        </p:txBody>
      </p:sp>
      <p:sp>
        <p:nvSpPr>
          <p:cNvPr id="13" name="TextBox 12">
            <a:extLst>
              <a:ext uri="{FF2B5EF4-FFF2-40B4-BE49-F238E27FC236}">
                <a16:creationId xmlns:a16="http://schemas.microsoft.com/office/drawing/2014/main" id="{2863E5C5-85C7-47E9-428C-155BF69717A7}"/>
              </a:ext>
            </a:extLst>
          </p:cNvPr>
          <p:cNvSpPr txBox="1"/>
          <p:nvPr>
            <p:custDataLst>
              <p:tags r:id="rId12"/>
            </p:custDataLst>
          </p:nvPr>
        </p:nvSpPr>
        <p:spPr>
          <a:xfrm>
            <a:off x="8656827" y="4038600"/>
            <a:ext cx="3188044" cy="452718"/>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3F9C35"/>
                </a:solidFill>
                <a:effectLst/>
                <a:uLnTx/>
                <a:uFillTx/>
                <a:latin typeface="Arial"/>
                <a:ea typeface="+mn-ea"/>
                <a:cs typeface="+mn-cs"/>
              </a:rPr>
              <a:t>Unlock new avenues for growth</a:t>
            </a:r>
          </a:p>
        </p:txBody>
      </p:sp>
      <p:sp>
        <p:nvSpPr>
          <p:cNvPr id="14" name="Arrow: Pentagon 13">
            <a:extLst>
              <a:ext uri="{FF2B5EF4-FFF2-40B4-BE49-F238E27FC236}">
                <a16:creationId xmlns:a16="http://schemas.microsoft.com/office/drawing/2014/main" id="{5E49EEF1-2628-87DB-C5E3-A6DE43644C20}"/>
              </a:ext>
            </a:extLst>
          </p:cNvPr>
          <p:cNvSpPr/>
          <p:nvPr>
            <p:custDataLst>
              <p:tags r:id="rId13"/>
            </p:custDataLst>
          </p:nvPr>
        </p:nvSpPr>
        <p:spPr>
          <a:xfrm rot="10800000">
            <a:off x="1744266" y="3214067"/>
            <a:ext cx="3271155" cy="45719"/>
          </a:xfrm>
          <a:prstGeom prst="homePlate">
            <a:avLst/>
          </a:prstGeom>
          <a:gradFill flip="none" rotWithShape="1">
            <a:gsLst>
              <a:gs pos="0">
                <a:srgbClr val="141439"/>
              </a:gs>
              <a:gs pos="100000">
                <a:srgbClr val="009CDE"/>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294381146"/>
      </p:ext>
    </p:extLst>
  </p:cSld>
  <p:clrMapOvr>
    <a:masterClrMapping/>
  </p:clrMapOvr>
  <mc:AlternateContent xmlns:mc="http://schemas.openxmlformats.org/markup-compatibility/2006">
    <mc:Choice xmlns:p14="http://schemas.microsoft.com/office/powerpoint/2010/main" Requires="p14">
      <p:transition p14:dur="300">
        <p:fade/>
      </p:transition>
    </mc:Choice>
    <mc:Fallback>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51E25-BD3A-CBC4-C383-A182BA3629C8}"/>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6E4F1641-DA4F-587F-857E-D4DD9268223F}"/>
              </a:ext>
            </a:extLst>
          </p:cNvPr>
          <p:cNvSpPr/>
          <p:nvPr>
            <p:custDataLst>
              <p:tags r:id="rId2"/>
            </p:custDataLst>
          </p:nvPr>
        </p:nvSpPr>
        <p:spPr>
          <a:xfrm>
            <a:off x="601239" y="2916995"/>
            <a:ext cx="1704107" cy="596883"/>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Stage 0:</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Awareness &amp; Exploration</a:t>
            </a:r>
          </a:p>
        </p:txBody>
      </p:sp>
      <p:sp>
        <p:nvSpPr>
          <p:cNvPr id="13" name="Rectangle 12">
            <a:extLst>
              <a:ext uri="{FF2B5EF4-FFF2-40B4-BE49-F238E27FC236}">
                <a16:creationId xmlns:a16="http://schemas.microsoft.com/office/drawing/2014/main" id="{8803B6B0-FA21-AAF4-6E41-97B55AE261E1}"/>
              </a:ext>
            </a:extLst>
          </p:cNvPr>
          <p:cNvSpPr/>
          <p:nvPr>
            <p:custDataLst>
              <p:tags r:id="rId3"/>
            </p:custDataLst>
          </p:nvPr>
        </p:nvSpPr>
        <p:spPr>
          <a:xfrm>
            <a:off x="2457360" y="2796497"/>
            <a:ext cx="1704107" cy="71738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Stage 1: Use Case, Solution Design, Business Case</a:t>
            </a:r>
          </a:p>
        </p:txBody>
      </p:sp>
      <p:sp>
        <p:nvSpPr>
          <p:cNvPr id="14" name="Rectangle 13">
            <a:extLst>
              <a:ext uri="{FF2B5EF4-FFF2-40B4-BE49-F238E27FC236}">
                <a16:creationId xmlns:a16="http://schemas.microsoft.com/office/drawing/2014/main" id="{73832D76-D5A8-C219-018E-F92D35F72CF8}"/>
              </a:ext>
            </a:extLst>
          </p:cNvPr>
          <p:cNvSpPr/>
          <p:nvPr>
            <p:custDataLst>
              <p:tags r:id="rId4"/>
            </p:custDataLst>
          </p:nvPr>
        </p:nvSpPr>
        <p:spPr>
          <a:xfrm>
            <a:off x="4313482" y="2675998"/>
            <a:ext cx="1704107" cy="83788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Stage 2: Environment Readiness</a:t>
            </a:r>
          </a:p>
        </p:txBody>
      </p:sp>
      <p:sp>
        <p:nvSpPr>
          <p:cNvPr id="15" name="Rectangle 14">
            <a:extLst>
              <a:ext uri="{FF2B5EF4-FFF2-40B4-BE49-F238E27FC236}">
                <a16:creationId xmlns:a16="http://schemas.microsoft.com/office/drawing/2014/main" id="{C80E67E7-2804-22AB-E46B-9726E7CCA26A}"/>
              </a:ext>
            </a:extLst>
          </p:cNvPr>
          <p:cNvSpPr/>
          <p:nvPr>
            <p:custDataLst>
              <p:tags r:id="rId5"/>
            </p:custDataLst>
          </p:nvPr>
        </p:nvSpPr>
        <p:spPr>
          <a:xfrm>
            <a:off x="6169603" y="2555499"/>
            <a:ext cx="1704107" cy="95837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Stage 3:</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Pilot + Validation</a:t>
            </a:r>
          </a:p>
        </p:txBody>
      </p:sp>
      <p:sp>
        <p:nvSpPr>
          <p:cNvPr id="16" name="Rectangle 15">
            <a:extLst>
              <a:ext uri="{FF2B5EF4-FFF2-40B4-BE49-F238E27FC236}">
                <a16:creationId xmlns:a16="http://schemas.microsoft.com/office/drawing/2014/main" id="{A904C7AC-E13E-82F4-4F43-AD558AA3B4C5}"/>
              </a:ext>
            </a:extLst>
          </p:cNvPr>
          <p:cNvSpPr/>
          <p:nvPr>
            <p:custDataLst>
              <p:tags r:id="rId6"/>
            </p:custDataLst>
          </p:nvPr>
        </p:nvSpPr>
        <p:spPr>
          <a:xfrm>
            <a:off x="8025724" y="2435000"/>
            <a:ext cx="1704107" cy="1078878"/>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Stage 4:</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Adoption + Integration</a:t>
            </a:r>
          </a:p>
        </p:txBody>
      </p:sp>
      <p:sp>
        <p:nvSpPr>
          <p:cNvPr id="17" name="Rectangle 16">
            <a:extLst>
              <a:ext uri="{FF2B5EF4-FFF2-40B4-BE49-F238E27FC236}">
                <a16:creationId xmlns:a16="http://schemas.microsoft.com/office/drawing/2014/main" id="{428206B2-D50E-9773-42F8-69A279ED70F2}"/>
              </a:ext>
            </a:extLst>
          </p:cNvPr>
          <p:cNvSpPr/>
          <p:nvPr>
            <p:custDataLst>
              <p:tags r:id="rId7"/>
            </p:custDataLst>
          </p:nvPr>
        </p:nvSpPr>
        <p:spPr>
          <a:xfrm>
            <a:off x="9881846" y="2314501"/>
            <a:ext cx="1704107" cy="1199377"/>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Stage 5: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Segoe UI"/>
                <a:ea typeface="+mn-ea"/>
                <a:cs typeface="+mn-cs"/>
              </a:rPr>
              <a:t>Scale + Optimize</a:t>
            </a:r>
          </a:p>
        </p:txBody>
      </p:sp>
      <p:sp>
        <p:nvSpPr>
          <p:cNvPr id="30" name="Rectangle 29">
            <a:extLst>
              <a:ext uri="{FF2B5EF4-FFF2-40B4-BE49-F238E27FC236}">
                <a16:creationId xmlns:a16="http://schemas.microsoft.com/office/drawing/2014/main" id="{927710BE-BBAA-ED6D-5330-8C43E81BE7EA}"/>
              </a:ext>
            </a:extLst>
          </p:cNvPr>
          <p:cNvSpPr/>
          <p:nvPr>
            <p:custDataLst>
              <p:tags r:id="rId8"/>
            </p:custDataLst>
          </p:nvPr>
        </p:nvSpPr>
        <p:spPr>
          <a:xfrm>
            <a:off x="601239" y="3696873"/>
            <a:ext cx="1704107" cy="793038"/>
          </a:xfrm>
          <a:prstGeom prst="rect">
            <a:avLst/>
          </a:prstGeom>
        </p:spPr>
        <p:txBody>
          <a:bodyPr wrap="square" lIns="0" tIns="0" rIns="0" bIns="0" anchor="t">
            <a:spAutoFit/>
          </a:bodyPr>
          <a:lstStyle/>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Initial interest forming</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Informal learning, workshops, research</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No formal projects</a:t>
            </a:r>
          </a:p>
        </p:txBody>
      </p:sp>
      <p:sp>
        <p:nvSpPr>
          <p:cNvPr id="31" name="Rectangle 30">
            <a:extLst>
              <a:ext uri="{FF2B5EF4-FFF2-40B4-BE49-F238E27FC236}">
                <a16:creationId xmlns:a16="http://schemas.microsoft.com/office/drawing/2014/main" id="{3A6C9F02-373F-1F30-C226-9CF9AE62197B}"/>
              </a:ext>
            </a:extLst>
          </p:cNvPr>
          <p:cNvSpPr/>
          <p:nvPr>
            <p:custDataLst>
              <p:tags r:id="rId9"/>
            </p:custDataLst>
          </p:nvPr>
        </p:nvSpPr>
        <p:spPr>
          <a:xfrm>
            <a:off x="2457360" y="3696873"/>
            <a:ext cx="1704107" cy="1291636"/>
          </a:xfrm>
          <a:prstGeom prst="rect">
            <a:avLst/>
          </a:prstGeom>
        </p:spPr>
        <p:txBody>
          <a:bodyPr wrap="square" lIns="0" tIns="0" rIns="0" bIns="0" anchor="t">
            <a:spAutoFit/>
          </a:bodyPr>
          <a:lstStyle/>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Identify and prioritize AI use cases</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Architect solutions</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Develop ROI business cases to secure investment and gain approval</a:t>
            </a:r>
          </a:p>
        </p:txBody>
      </p:sp>
      <p:sp>
        <p:nvSpPr>
          <p:cNvPr id="32" name="Rectangle 31">
            <a:extLst>
              <a:ext uri="{FF2B5EF4-FFF2-40B4-BE49-F238E27FC236}">
                <a16:creationId xmlns:a16="http://schemas.microsoft.com/office/drawing/2014/main" id="{9F72536F-3D8D-F57F-A9A8-0D98F72C387F}"/>
              </a:ext>
            </a:extLst>
          </p:cNvPr>
          <p:cNvSpPr/>
          <p:nvPr>
            <p:custDataLst>
              <p:tags r:id="rId10"/>
            </p:custDataLst>
          </p:nvPr>
        </p:nvSpPr>
        <p:spPr>
          <a:xfrm>
            <a:off x="4313481" y="3696873"/>
            <a:ext cx="1704107" cy="1892313"/>
          </a:xfrm>
          <a:prstGeom prst="rect">
            <a:avLst/>
          </a:prstGeom>
        </p:spPr>
        <p:txBody>
          <a:bodyPr wrap="square" lIns="0" tIns="0" rIns="0" bIns="0" anchor="t">
            <a:spAutoFit/>
          </a:bodyPr>
          <a:lstStyle/>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Prepare data, technology infrastructure, processes, and organizational capabilities needed for AI solutions</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Build target AI tech stack to better govern and accelerate AI agents </a:t>
            </a:r>
          </a:p>
        </p:txBody>
      </p:sp>
      <p:sp>
        <p:nvSpPr>
          <p:cNvPr id="33" name="Rectangle 32">
            <a:extLst>
              <a:ext uri="{FF2B5EF4-FFF2-40B4-BE49-F238E27FC236}">
                <a16:creationId xmlns:a16="http://schemas.microsoft.com/office/drawing/2014/main" id="{0E147BBA-F65B-23D9-7448-AD4FC3F5B9C9}"/>
              </a:ext>
            </a:extLst>
          </p:cNvPr>
          <p:cNvSpPr/>
          <p:nvPr>
            <p:custDataLst>
              <p:tags r:id="rId11"/>
            </p:custDataLst>
          </p:nvPr>
        </p:nvSpPr>
        <p:spPr>
          <a:xfrm>
            <a:off x="6169602" y="3696873"/>
            <a:ext cx="1704107" cy="1393715"/>
          </a:xfrm>
          <a:prstGeom prst="rect">
            <a:avLst/>
          </a:prstGeom>
        </p:spPr>
        <p:txBody>
          <a:bodyPr wrap="square" lIns="0" tIns="0" rIns="0" bIns="0" anchor="t">
            <a:spAutoFit/>
          </a:bodyPr>
          <a:lstStyle/>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Execute targeted pilots and POCs to test AI solutions in your environment</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Validate business impact and user acceptance prior to broad rollout </a:t>
            </a:r>
          </a:p>
        </p:txBody>
      </p:sp>
      <p:sp>
        <p:nvSpPr>
          <p:cNvPr id="34" name="Rectangle 33">
            <a:extLst>
              <a:ext uri="{FF2B5EF4-FFF2-40B4-BE49-F238E27FC236}">
                <a16:creationId xmlns:a16="http://schemas.microsoft.com/office/drawing/2014/main" id="{74C01680-A98C-098F-2A8D-481691EE5320}"/>
              </a:ext>
            </a:extLst>
          </p:cNvPr>
          <p:cNvSpPr/>
          <p:nvPr>
            <p:custDataLst>
              <p:tags r:id="rId12"/>
            </p:custDataLst>
          </p:nvPr>
        </p:nvSpPr>
        <p:spPr>
          <a:xfrm>
            <a:off x="8025723" y="3696873"/>
            <a:ext cx="1704107" cy="1790234"/>
          </a:xfrm>
          <a:prstGeom prst="rect">
            <a:avLst/>
          </a:prstGeom>
        </p:spPr>
        <p:txBody>
          <a:bodyPr wrap="square" lIns="0" tIns="0" rIns="0" bIns="0" anchor="t">
            <a:spAutoFit/>
          </a:bodyPr>
          <a:lstStyle/>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Deploy AI solutions in production across processes or business units</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Integrate AI into core systems and workflows with formal governance</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Quantify return on investment</a:t>
            </a:r>
          </a:p>
        </p:txBody>
      </p:sp>
      <p:sp>
        <p:nvSpPr>
          <p:cNvPr id="35" name="Rectangle 34">
            <a:extLst>
              <a:ext uri="{FF2B5EF4-FFF2-40B4-BE49-F238E27FC236}">
                <a16:creationId xmlns:a16="http://schemas.microsoft.com/office/drawing/2014/main" id="{B13B8FD9-7604-5672-8661-52036B64B4C3}"/>
              </a:ext>
            </a:extLst>
          </p:cNvPr>
          <p:cNvSpPr/>
          <p:nvPr>
            <p:custDataLst>
              <p:tags r:id="rId13"/>
            </p:custDataLst>
          </p:nvPr>
        </p:nvSpPr>
        <p:spPr>
          <a:xfrm>
            <a:off x="9881846" y="3696873"/>
            <a:ext cx="1704107" cy="895117"/>
          </a:xfrm>
          <a:prstGeom prst="rect">
            <a:avLst/>
          </a:prstGeom>
          <a:solidFill>
            <a:srgbClr val="141439"/>
          </a:solidFill>
        </p:spPr>
        <p:txBody>
          <a:bodyPr wrap="square" lIns="0" tIns="0" rIns="0" bIns="0" anchor="t">
            <a:spAutoFit/>
          </a:bodyPr>
          <a:lstStyle/>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Expand AI usage enterprise-wide with scalable platforms</a:t>
            </a:r>
          </a:p>
          <a:p>
            <a:pPr marL="212400" marR="0" lvl="0" indent="-212400" algn="l" defTabSz="121898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solidFill>
                <a:effectLst/>
                <a:uLnTx/>
                <a:uFillTx/>
                <a:latin typeface="Segoe UI"/>
                <a:ea typeface="Open Sans" panose="020B0606030504020204" pitchFamily="34" charset="0"/>
                <a:cs typeface="Open Sans" panose="020B0606030504020204" pitchFamily="34" charset="0"/>
              </a:rPr>
              <a:t>Continuously monitor + optimize </a:t>
            </a:r>
          </a:p>
        </p:txBody>
      </p:sp>
      <p:sp>
        <p:nvSpPr>
          <p:cNvPr id="36" name="Arrow: Right 35">
            <a:extLst>
              <a:ext uri="{FF2B5EF4-FFF2-40B4-BE49-F238E27FC236}">
                <a16:creationId xmlns:a16="http://schemas.microsoft.com/office/drawing/2014/main" id="{004FAC11-8F77-86E9-E945-D62B29A99220}"/>
              </a:ext>
            </a:extLst>
          </p:cNvPr>
          <p:cNvSpPr/>
          <p:nvPr>
            <p:custDataLst>
              <p:tags r:id="rId14"/>
            </p:custDataLst>
          </p:nvPr>
        </p:nvSpPr>
        <p:spPr>
          <a:xfrm>
            <a:off x="608536" y="1533217"/>
            <a:ext cx="10977416" cy="722228"/>
          </a:xfrm>
          <a:prstGeom prst="rightArrow">
            <a:avLst>
              <a:gd name="adj1" fmla="val 59476"/>
              <a:gd name="adj2" fmla="val 67373"/>
            </a:avLst>
          </a:prstGeom>
          <a:gradFill flip="none" rotWithShape="1">
            <a:gsLst>
              <a:gs pos="0">
                <a:srgbClr val="141439"/>
              </a:gs>
              <a:gs pos="100000">
                <a:srgbClr val="3F9C3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prstClr val="white"/>
                </a:solidFill>
                <a:effectLst/>
                <a:uLnTx/>
                <a:uFillTx/>
                <a:latin typeface="Segoe UI"/>
                <a:ea typeface="+mn-ea"/>
                <a:cs typeface="+mn-cs"/>
              </a:rPr>
              <a:t>Path to Enterprise AI Maturity</a:t>
            </a:r>
          </a:p>
        </p:txBody>
      </p:sp>
      <p:sp>
        <p:nvSpPr>
          <p:cNvPr id="22" name="Title 4">
            <a:extLst>
              <a:ext uri="{FF2B5EF4-FFF2-40B4-BE49-F238E27FC236}">
                <a16:creationId xmlns:a16="http://schemas.microsoft.com/office/drawing/2014/main" id="{28E6EC93-5632-28DF-EA41-1EEE08A469E9}"/>
              </a:ext>
            </a:extLst>
          </p:cNvPr>
          <p:cNvSpPr>
            <a:spLocks noGrp="1"/>
          </p:cNvSpPr>
          <p:nvPr>
            <p:ph type="title"/>
            <p:custDataLst>
              <p:tags r:id="rId15"/>
            </p:custDataLst>
          </p:nvPr>
        </p:nvSpPr>
        <p:spPr>
          <a:xfrm>
            <a:off x="350851" y="233125"/>
            <a:ext cx="10621792" cy="430887"/>
          </a:xfrm>
        </p:spPr>
        <p:txBody>
          <a:bodyPr/>
          <a:lstStyle/>
          <a:p>
            <a:r>
              <a:rPr lang="en-US"/>
              <a:t>Path to Enterprise AI Maturity</a:t>
            </a:r>
            <a:endParaRPr lang="en-US">
              <a:solidFill>
                <a:srgbClr val="E87722"/>
              </a:solidFill>
            </a:endParaRPr>
          </a:p>
        </p:txBody>
      </p:sp>
      <p:sp>
        <p:nvSpPr>
          <p:cNvPr id="23" name="Text Placeholder 2">
            <a:extLst>
              <a:ext uri="{FF2B5EF4-FFF2-40B4-BE49-F238E27FC236}">
                <a16:creationId xmlns:a16="http://schemas.microsoft.com/office/drawing/2014/main" id="{FC38130E-B9DC-5794-DB18-EA394F0398BC}"/>
              </a:ext>
            </a:extLst>
          </p:cNvPr>
          <p:cNvSpPr txBox="1">
            <a:spLocks/>
          </p:cNvSpPr>
          <p:nvPr>
            <p:custDataLst>
              <p:tags r:id="rId16"/>
            </p:custDataLst>
          </p:nvPr>
        </p:nvSpPr>
        <p:spPr>
          <a:xfrm>
            <a:off x="387558" y="750411"/>
            <a:ext cx="10621792" cy="33034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200" b="0" kern="1200" cap="none" baseline="0">
                <a:solidFill>
                  <a:schemeClr val="bg1"/>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Successfully embedding AI into your organization requires more than technology. It demands a clear strategy, aligned capabilities, and a cultural shift. As your trusted partner, we guide you through a proven roadmap from identifying high-impact opportunities to designing pilot initiatives and scaling enterprise grade AI solutions. </a:t>
            </a:r>
          </a:p>
        </p:txBody>
      </p:sp>
    </p:spTree>
    <p:custDataLst>
      <p:tags r:id="rId1"/>
    </p:custDataLst>
    <p:extLst>
      <p:ext uri="{BB962C8B-B14F-4D97-AF65-F5344CB8AC3E}">
        <p14:creationId xmlns:p14="http://schemas.microsoft.com/office/powerpoint/2010/main" val="15418461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AB51D-B4CB-1C46-8394-9AEC0DAAB5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0CB6D6-AE67-8E96-528D-DF2D636A079B}"/>
              </a:ext>
            </a:extLst>
          </p:cNvPr>
          <p:cNvSpPr>
            <a:spLocks noGrp="1"/>
          </p:cNvSpPr>
          <p:nvPr>
            <p:ph type="title"/>
          </p:nvPr>
        </p:nvSpPr>
        <p:spPr>
          <a:xfrm>
            <a:off x="2349358" y="1791610"/>
            <a:ext cx="5588142" cy="553998"/>
          </a:xfrm>
        </p:spPr>
        <p:txBody>
          <a:bodyPr/>
          <a:lstStyle/>
          <a:p>
            <a:r>
              <a:rPr lang="en-US" sz="3600"/>
              <a:t>Breakout Session</a:t>
            </a:r>
          </a:p>
        </p:txBody>
      </p:sp>
      <p:sp>
        <p:nvSpPr>
          <p:cNvPr id="6" name="Content Placeholder 2">
            <a:extLst>
              <a:ext uri="{FF2B5EF4-FFF2-40B4-BE49-F238E27FC236}">
                <a16:creationId xmlns:a16="http://schemas.microsoft.com/office/drawing/2014/main" id="{8B856ED1-424A-3F79-B7D0-6D5ADADDE663}"/>
              </a:ext>
            </a:extLst>
          </p:cNvPr>
          <p:cNvSpPr txBox="1">
            <a:spLocks/>
          </p:cNvSpPr>
          <p:nvPr/>
        </p:nvSpPr>
        <p:spPr>
          <a:xfrm>
            <a:off x="2145806" y="2528149"/>
            <a:ext cx="8826994" cy="4639732"/>
          </a:xfrm>
          <a:prstGeom prst="rect">
            <a:avLst/>
          </a:prstGeom>
        </p:spPr>
        <p:txBody>
          <a:bodyPr>
            <a:normAutofit/>
          </a:bodyPr>
          <a:lstStyle>
            <a:lvl1pPr marL="0" indent="0" algn="l" defTabSz="1088333" rtl="0" eaLnBrk="1" latinLnBrk="0" hangingPunct="1">
              <a:lnSpc>
                <a:spcPct val="100000"/>
              </a:lnSpc>
              <a:spcBef>
                <a:spcPts val="1000"/>
              </a:spcBef>
              <a:spcAft>
                <a:spcPts val="0"/>
              </a:spcAft>
              <a:buFontTx/>
              <a:buNone/>
              <a:defRPr sz="2800" b="0" kern="1200">
                <a:solidFill>
                  <a:schemeClr val="tx1"/>
                </a:solidFill>
                <a:latin typeface="+mn-lt"/>
                <a:ea typeface="+mn-ea"/>
                <a:cs typeface="+mn-cs"/>
              </a:defRPr>
            </a:lvl1pPr>
            <a:lvl2pPr marL="228600" indent="-228600" algn="l" defTabSz="1088333" rtl="0" eaLnBrk="1" latinLnBrk="0" hangingPunct="1">
              <a:lnSpc>
                <a:spcPct val="100000"/>
              </a:lnSpc>
              <a:spcBef>
                <a:spcPts val="1000"/>
              </a:spcBef>
              <a:spcAft>
                <a:spcPts val="0"/>
              </a:spcAft>
              <a:buClr>
                <a:srgbClr val="63666A"/>
              </a:buClr>
              <a:buFont typeface="Wingdings" panose="05000000000000000000" pitchFamily="2" charset="2"/>
              <a:buChar char=""/>
              <a:defRPr sz="2800" kern="1200">
                <a:solidFill>
                  <a:schemeClr val="tx1"/>
                </a:solidFill>
                <a:latin typeface="+mn-lt"/>
                <a:ea typeface="+mn-ea"/>
                <a:cs typeface="+mn-cs"/>
              </a:defRPr>
            </a:lvl2pPr>
            <a:lvl3pPr marL="6858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defRPr sz="2400" kern="1200" baseline="0">
                <a:solidFill>
                  <a:schemeClr val="tx1"/>
                </a:solidFill>
                <a:latin typeface="+mn-lt"/>
                <a:ea typeface="+mn-ea"/>
                <a:cs typeface="+mn-cs"/>
              </a:defRPr>
            </a:lvl3pPr>
            <a:lvl4pPr marL="1143000" indent="-228600" algn="l" defTabSz="1088333" rtl="0" eaLnBrk="1" latinLnBrk="0" hangingPunct="1">
              <a:lnSpc>
                <a:spcPct val="100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1600200" indent="-228600" algn="l" defTabSz="1088333" rtl="0" eaLnBrk="1" latinLnBrk="0" hangingPunct="1">
              <a:lnSpc>
                <a:spcPct val="100000"/>
              </a:lnSpc>
              <a:spcBef>
                <a:spcPts val="500"/>
              </a:spcBef>
              <a:spcAft>
                <a:spcPts val="0"/>
              </a:spcAft>
              <a:buClr>
                <a:schemeClr val="tx1"/>
              </a:buClr>
              <a:buFont typeface="Calibri" panose="020F0502020204030204" pitchFamily="34" charset="0"/>
              <a:buChar char="⁻"/>
              <a:tabLst/>
              <a:defRPr sz="1800" kern="1200" baseline="0">
                <a:solidFill>
                  <a:schemeClr val="tx1"/>
                </a:solidFill>
                <a:latin typeface="+mn-lt"/>
                <a:ea typeface="+mn-ea"/>
                <a:cs typeface="+mn-cs"/>
              </a:defRPr>
            </a:lvl5pPr>
            <a:lvl6pPr marL="2057400" indent="-228600" algn="l" defTabSz="1088333" rtl="0" eaLnBrk="1" latinLnBrk="0" hangingPunct="1">
              <a:lnSpc>
                <a:spcPct val="100000"/>
              </a:lnSpc>
              <a:spcBef>
                <a:spcPts val="500"/>
              </a:spcBef>
              <a:spcAft>
                <a:spcPts val="0"/>
              </a:spcAft>
              <a:buFont typeface="Arial" panose="020B0604020202020204" pitchFamily="34" charset="0"/>
              <a:buChar char="•"/>
              <a:defRPr sz="1800" kern="1200" cap="none" baseline="0">
                <a:solidFill>
                  <a:schemeClr val="tx1"/>
                </a:solidFill>
                <a:latin typeface="+mn-lt"/>
                <a:ea typeface="+mn-ea"/>
                <a:cs typeface="+mn-cs"/>
              </a:defRPr>
            </a:lvl6pPr>
            <a:lvl7pPr marL="0" indent="0" algn="l" defTabSz="1088333" rtl="0" eaLnBrk="1" latinLnBrk="0" hangingPunct="1">
              <a:lnSpc>
                <a:spcPct val="110000"/>
              </a:lnSpc>
              <a:spcBef>
                <a:spcPts val="0"/>
              </a:spcBef>
              <a:spcAft>
                <a:spcPts val="1333"/>
              </a:spcAft>
              <a:buFontTx/>
              <a:buNone/>
              <a:defRPr sz="3200" kern="1200" cap="none" baseline="0">
                <a:solidFill>
                  <a:schemeClr val="tx2"/>
                </a:solidFill>
                <a:latin typeface="+mj-lt"/>
                <a:ea typeface="+mn-ea"/>
                <a:cs typeface="+mn-cs"/>
              </a:defRPr>
            </a:lvl7pPr>
            <a:lvl8pPr marL="0" indent="0" algn="l" defTabSz="1088333" rtl="0" eaLnBrk="1" latinLnBrk="0" hangingPunct="1">
              <a:lnSpc>
                <a:spcPct val="110000"/>
              </a:lnSpc>
              <a:spcBef>
                <a:spcPts val="0"/>
              </a:spcBef>
              <a:spcAft>
                <a:spcPts val="681"/>
              </a:spcAft>
              <a:buFontTx/>
              <a:buNone/>
              <a:defRPr sz="3200" b="0" kern="1200" baseline="0">
                <a:solidFill>
                  <a:schemeClr val="accent1"/>
                </a:solidFill>
                <a:latin typeface="+mn-lt"/>
                <a:ea typeface="+mn-ea"/>
                <a:cs typeface="+mn-cs"/>
              </a:defRPr>
            </a:lvl8pPr>
            <a:lvl9pPr marL="0" indent="0" algn="l" defTabSz="1088333" rtl="0" eaLnBrk="1" latinLnBrk="0" hangingPunct="1">
              <a:lnSpc>
                <a:spcPct val="110000"/>
              </a:lnSpc>
              <a:spcBef>
                <a:spcPts val="0"/>
              </a:spcBef>
              <a:spcAft>
                <a:spcPts val="1136"/>
              </a:spcAft>
              <a:buFontTx/>
              <a:buNone/>
              <a:defRPr sz="2133" b="1" kern="1200" baseline="0">
                <a:solidFill>
                  <a:schemeClr val="accent1"/>
                </a:solidFill>
                <a:latin typeface="+mj-lt"/>
                <a:ea typeface="+mn-ea"/>
                <a:cs typeface="+mn-cs"/>
              </a:defRPr>
            </a:lvl9pPr>
          </a:lstStyle>
          <a:p>
            <a:pPr marL="342900" indent="-342900">
              <a:spcBef>
                <a:spcPts val="0"/>
              </a:spcBef>
              <a:buFont typeface="Arial" panose="020B0604020202020204" pitchFamily="34" charset="0"/>
              <a:buChar char="•"/>
            </a:pPr>
            <a:r>
              <a:rPr lang="en-US" sz="2400">
                <a:solidFill>
                  <a:schemeClr val="bg1"/>
                </a:solidFill>
              </a:rPr>
              <a:t>You will be able to select your virtual breakout rooms for open discussion</a:t>
            </a:r>
          </a:p>
          <a:p>
            <a:pPr>
              <a:spcBef>
                <a:spcPts val="0"/>
              </a:spcBef>
            </a:pPr>
            <a:endParaRPr lang="en-US" sz="2400">
              <a:solidFill>
                <a:schemeClr val="bg1"/>
              </a:solidFill>
            </a:endParaRPr>
          </a:p>
          <a:p>
            <a:pPr marL="342900" indent="-342900">
              <a:spcBef>
                <a:spcPts val="0"/>
              </a:spcBef>
              <a:buFont typeface="Arial" panose="020B0604020202020204" pitchFamily="34" charset="0"/>
              <a:buChar char="•"/>
            </a:pPr>
            <a:r>
              <a:rPr lang="en-US" sz="2400">
                <a:solidFill>
                  <a:schemeClr val="bg1"/>
                </a:solidFill>
              </a:rPr>
              <a:t>Discussion questions:</a:t>
            </a:r>
          </a:p>
          <a:p>
            <a:pPr marL="571500" lvl="1" indent="-342900">
              <a:buClr>
                <a:schemeClr val="bg1"/>
              </a:buClr>
              <a:buFont typeface="Arial" panose="020B0604020202020204" pitchFamily="34" charset="0"/>
              <a:buChar char="‒"/>
            </a:pPr>
            <a:r>
              <a:rPr lang="en-US" sz="1600">
                <a:solidFill>
                  <a:schemeClr val="bg1"/>
                </a:solidFill>
              </a:rPr>
              <a:t>Now that you have heard about topics like systems trends, infrastructure security, and artificial intelligence (AI), were these on your radar? Will they be?</a:t>
            </a:r>
          </a:p>
          <a:p>
            <a:pPr marL="571500" lvl="1" indent="-342900">
              <a:buClr>
                <a:schemeClr val="bg1"/>
              </a:buClr>
              <a:buFont typeface="Arial" panose="020B0604020202020204" pitchFamily="34" charset="0"/>
              <a:buChar char="‒"/>
            </a:pPr>
            <a:r>
              <a:rPr lang="en-US" sz="1600">
                <a:solidFill>
                  <a:schemeClr val="bg1"/>
                </a:solidFill>
              </a:rPr>
              <a:t>Which areas are of primary focus for your organization?</a:t>
            </a:r>
          </a:p>
          <a:p>
            <a:pPr marL="571500" lvl="1" indent="-342900">
              <a:buClr>
                <a:schemeClr val="bg1"/>
              </a:buClr>
              <a:buFont typeface="Arial" panose="020B0604020202020204" pitchFamily="34" charset="0"/>
              <a:buChar char="‒"/>
            </a:pPr>
            <a:endParaRPr lang="en-US" sz="1600">
              <a:solidFill>
                <a:schemeClr val="bg1"/>
              </a:solidFill>
            </a:endParaRPr>
          </a:p>
          <a:p>
            <a:pPr marL="342900" indent="-342900">
              <a:buFont typeface="Arial" panose="020B0604020202020204" pitchFamily="34" charset="0"/>
              <a:buChar char="•"/>
            </a:pPr>
            <a:r>
              <a:rPr lang="en-US" sz="2400">
                <a:solidFill>
                  <a:schemeClr val="bg1"/>
                </a:solidFill>
              </a:rPr>
              <a:t>Pick someone to recap your group’s discussion when we all return to the general room</a:t>
            </a:r>
          </a:p>
        </p:txBody>
      </p:sp>
    </p:spTree>
    <p:extLst>
      <p:ext uri="{BB962C8B-B14F-4D97-AF65-F5344CB8AC3E}">
        <p14:creationId xmlns:p14="http://schemas.microsoft.com/office/powerpoint/2010/main" val="10498547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8D7C3-CBB5-1418-4C10-6CF13E9BDA51}"/>
              </a:ext>
            </a:extLst>
          </p:cNvPr>
          <p:cNvSpPr>
            <a:spLocks noGrp="1"/>
          </p:cNvSpPr>
          <p:nvPr>
            <p:ph type="title" idx="4294967295"/>
          </p:nvPr>
        </p:nvSpPr>
        <p:spPr>
          <a:xfrm>
            <a:off x="327334" y="803275"/>
            <a:ext cx="8220075" cy="712788"/>
          </a:xfrm>
        </p:spPr>
        <p:txBody>
          <a:bodyPr/>
          <a:lstStyle/>
          <a:p>
            <a:r>
              <a:rPr lang="en-US"/>
              <a:t>SELF- Select Break Out Instructions</a:t>
            </a:r>
          </a:p>
        </p:txBody>
      </p:sp>
      <p:sp>
        <p:nvSpPr>
          <p:cNvPr id="6" name="Rectangle 5">
            <a:extLst>
              <a:ext uri="{FF2B5EF4-FFF2-40B4-BE49-F238E27FC236}">
                <a16:creationId xmlns:a16="http://schemas.microsoft.com/office/drawing/2014/main" id="{0ABCF6B9-BFC2-A81F-FCDA-4C840465C05E}"/>
              </a:ext>
            </a:extLst>
          </p:cNvPr>
          <p:cNvSpPr>
            <a:spLocks noChangeArrowheads="1"/>
          </p:cNvSpPr>
          <p:nvPr/>
        </p:nvSpPr>
        <p:spPr bwMode="auto">
          <a:xfrm>
            <a:off x="327334" y="1870086"/>
            <a:ext cx="8220075" cy="4314813"/>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a:ln>
                <a:noFill/>
              </a:ln>
              <a:effectLst/>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sz="2000" b="0" i="0" u="none" strike="noStrike" cap="none" normalizeH="0" baseline="0">
                <a:ln>
                  <a:noFill/>
                </a:ln>
                <a:effectLst/>
              </a:rPr>
              <a:t>Click </a:t>
            </a:r>
            <a:r>
              <a:rPr kumimoji="0" lang="en-US" altLang="en-US" sz="2000" b="1" i="0" u="none" strike="noStrike" cap="none" normalizeH="0" baseline="0">
                <a:ln>
                  <a:noFill/>
                </a:ln>
                <a:effectLst/>
              </a:rPr>
              <a:t>Breakout Rooms</a:t>
            </a:r>
            <a:r>
              <a:rPr lang="en-US" altLang="en-US" sz="2000"/>
              <a:t> </a:t>
            </a:r>
            <a:r>
              <a:rPr kumimoji="0" lang="en-US" altLang="en-US" sz="2000" b="0" i="0" u="none" strike="noStrike" cap="none" normalizeH="0" baseline="0">
                <a:ln>
                  <a:noFill/>
                </a:ln>
                <a:effectLst/>
              </a:rPr>
              <a:t>in your meeting controls.</a:t>
            </a:r>
            <a:br>
              <a:rPr kumimoji="0" lang="en-US" altLang="en-US" sz="2000" b="0" i="0" u="none" strike="noStrike" cap="none" normalizeH="0" baseline="0">
                <a:ln>
                  <a:noFill/>
                </a:ln>
                <a:effectLst/>
              </a:rPr>
            </a:br>
            <a:r>
              <a:rPr kumimoji="0" lang="en-US" altLang="en-US" sz="2000" b="0" i="0" u="none" strike="noStrike" cap="none" normalizeH="0" baseline="0">
                <a:ln>
                  <a:noFill/>
                </a:ln>
                <a:effectLst/>
              </a:rPr>
              <a:t>This will display the list of open breakout rooms created by the host.</a:t>
            </a:r>
          </a:p>
          <a:p>
            <a:pPr marL="0" marR="0" lvl="0" indent="0" algn="l" defTabSz="914400" rtl="0" eaLnBrk="0" fontAlgn="base" latinLnBrk="0" hangingPunct="0">
              <a:lnSpc>
                <a:spcPct val="100000"/>
              </a:lnSpc>
              <a:spcBef>
                <a:spcPct val="0"/>
              </a:spcBef>
              <a:spcAft>
                <a:spcPct val="0"/>
              </a:spcAft>
              <a:buClrTx/>
              <a:buSzTx/>
              <a:tabLst/>
            </a:pPr>
            <a:r>
              <a:rPr kumimoji="0" lang="en-US" altLang="en-US" sz="2000" b="0" i="0" u="none" strike="noStrike" cap="none" normalizeH="0" baseline="0">
                <a:ln>
                  <a:noFill/>
                </a:ln>
                <a:effectLst/>
              </a:rPr>
              <a:t> </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n-US" altLang="en-US" sz="2000" b="0" i="0" u="none" strike="noStrike" cap="none" normalizeH="0" baseline="0">
                <a:ln>
                  <a:noFill/>
                </a:ln>
                <a:effectLst/>
              </a:rPr>
              <a:t>(Optional) Click </a:t>
            </a:r>
            <a:r>
              <a:rPr kumimoji="0" lang="en-US" altLang="en-US" sz="2000" b="1" i="0" u="none" strike="noStrike" cap="none" normalizeH="0" baseline="0">
                <a:ln>
                  <a:noFill/>
                </a:ln>
                <a:effectLst/>
              </a:rPr>
              <a:t>Expand All</a:t>
            </a:r>
            <a:r>
              <a:rPr kumimoji="0" lang="en-US" altLang="en-US" sz="2000" b="0" i="0" u="none" strike="noStrike" cap="none" normalizeH="0" baseline="0">
                <a:ln>
                  <a:noFill/>
                </a:ln>
                <a:effectLst/>
              </a:rPr>
              <a:t> to expand all available rooms. </a:t>
            </a:r>
            <a:br>
              <a:rPr kumimoji="0" lang="en-US" altLang="en-US" sz="2000" b="0" i="0" u="none" strike="noStrike" cap="none" normalizeH="0" baseline="0">
                <a:ln>
                  <a:noFill/>
                </a:ln>
                <a:effectLst/>
              </a:rPr>
            </a:br>
            <a:r>
              <a:rPr kumimoji="0" lang="en-US" altLang="en-US" sz="2000" b="1" i="0" u="none" strike="noStrike" cap="none" normalizeH="0" baseline="0">
                <a:ln>
                  <a:noFill/>
                </a:ln>
                <a:effectLst/>
              </a:rPr>
              <a:t>Note</a:t>
            </a:r>
            <a:r>
              <a:rPr kumimoji="0" lang="en-US" altLang="en-US" sz="2000" b="0" i="0" u="none" strike="noStrike" cap="none" normalizeH="0" baseline="0">
                <a:ln>
                  <a:noFill/>
                </a:ln>
                <a:effectLst/>
              </a:rPr>
              <a:t>: The </a:t>
            </a:r>
            <a:r>
              <a:rPr kumimoji="0" lang="en-US" altLang="en-US" sz="2000" b="1" i="0" u="none" strike="noStrike" cap="none" normalizeH="0" baseline="0">
                <a:ln>
                  <a:noFill/>
                </a:ln>
                <a:effectLst/>
              </a:rPr>
              <a:t>Expand All</a:t>
            </a:r>
            <a:r>
              <a:rPr kumimoji="0" lang="en-US" altLang="en-US" sz="2000" b="0" i="0" u="none" strike="noStrike" cap="none" normalizeH="0" baseline="0">
                <a:ln>
                  <a:noFill/>
                </a:ln>
                <a:effectLst/>
              </a:rPr>
              <a:t> and </a:t>
            </a:r>
            <a:r>
              <a:rPr kumimoji="0" lang="en-US" altLang="en-US" sz="2000" b="1" i="0" u="none" strike="noStrike" cap="none" normalizeH="0" baseline="0">
                <a:ln>
                  <a:noFill/>
                </a:ln>
                <a:effectLst/>
              </a:rPr>
              <a:t>Collapse All</a:t>
            </a:r>
            <a:r>
              <a:rPr kumimoji="0" lang="en-US" altLang="en-US" sz="2000" b="0" i="0" u="none" strike="noStrike" cap="none" normalizeH="0" baseline="0">
                <a:ln>
                  <a:noFill/>
                </a:ln>
                <a:effectLst/>
              </a:rPr>
              <a:t> options require version </a:t>
            </a:r>
            <a:r>
              <a:rPr kumimoji="0" lang="en-US" altLang="en-US" sz="2000" b="1" i="0" u="none" strike="noStrike" cap="none" normalizeH="0" baseline="0">
                <a:ln>
                  <a:noFill/>
                </a:ln>
                <a:effectLst/>
              </a:rPr>
              <a:t>5.9.6</a:t>
            </a:r>
            <a:r>
              <a:rPr kumimoji="0" lang="en-US" altLang="en-US" sz="2000" b="0" i="0" u="none" strike="noStrike" cap="none" normalizeH="0" baseline="0">
                <a:ln>
                  <a:noFill/>
                </a:ln>
                <a:effectLst/>
              </a:rPr>
              <a:t> or higher. </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2000" b="0" i="0" u="none" strike="noStrike" cap="none" normalizeH="0" baseline="0">
              <a:ln>
                <a:noFill/>
              </a:ln>
              <a:effectLst/>
            </a:endParaRP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n-US" altLang="en-US" sz="2000" b="0" i="0" u="none" strike="noStrike" cap="none" normalizeH="0" baseline="0">
                <a:ln>
                  <a:noFill/>
                </a:ln>
                <a:effectLst/>
              </a:rPr>
              <a:t>Hover your pointer over the number to the right of breakout room you wish to join, click </a:t>
            </a:r>
            <a:r>
              <a:rPr kumimoji="0" lang="en-US" altLang="en-US" sz="2000" b="1" i="0" u="none" strike="noStrike" cap="none" normalizeH="0" baseline="0">
                <a:ln>
                  <a:noFill/>
                </a:ln>
                <a:effectLst/>
              </a:rPr>
              <a:t>Join</a:t>
            </a:r>
            <a:r>
              <a:rPr kumimoji="0" lang="en-US" altLang="en-US" sz="2000" b="0" i="0" u="none" strike="noStrike" cap="none" normalizeH="0" baseline="0">
                <a:ln>
                  <a:noFill/>
                </a:ln>
                <a:effectLst/>
              </a:rPr>
              <a:t>, then confirm by clicking </a:t>
            </a:r>
            <a:r>
              <a:rPr kumimoji="0" lang="en-US" altLang="en-US" sz="2000" b="1" i="0" u="none" strike="noStrike" cap="none" normalizeH="0" baseline="0">
                <a:ln>
                  <a:noFill/>
                </a:ln>
                <a:effectLst/>
              </a:rPr>
              <a:t>Join</a:t>
            </a:r>
            <a:r>
              <a:rPr kumimoji="0" lang="en-US" altLang="en-US" sz="2000" b="0" i="0" u="none" strike="noStrike" cap="none" normalizeH="0" baseline="0">
                <a:ln>
                  <a:noFill/>
                </a:ln>
                <a:effectLst/>
              </a:rPr>
              <a:t>. </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2000" b="0" i="0" u="none" strike="noStrike" cap="none" normalizeH="0" baseline="0">
              <a:ln>
                <a:noFill/>
              </a:ln>
              <a:effectLst/>
            </a:endParaRP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n-US" altLang="en-US" sz="2000" b="0" i="0" u="none" strike="noStrike" cap="none" normalizeH="0" baseline="0">
                <a:ln>
                  <a:noFill/>
                </a:ln>
                <a:effectLst/>
              </a:rPr>
              <a:t>Repeat to join other breakout rooms, or click </a:t>
            </a:r>
            <a:r>
              <a:rPr kumimoji="0" lang="en-US" altLang="en-US" sz="2000" b="1" i="0" u="none" strike="noStrike" cap="none" normalizeH="0" baseline="0">
                <a:ln>
                  <a:noFill/>
                </a:ln>
                <a:effectLst/>
              </a:rPr>
              <a:t>Leave Room </a:t>
            </a:r>
            <a:r>
              <a:rPr kumimoji="0" lang="en-US" altLang="en-US" sz="2000" b="0" i="0" u="none" strike="noStrike" cap="none" normalizeH="0" baseline="0">
                <a:ln>
                  <a:noFill/>
                </a:ln>
                <a:effectLst/>
              </a:rPr>
              <a:t>to return to the main session.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a:ln>
                <a:noFill/>
              </a:ln>
              <a:solidFill>
                <a:schemeClr val="bg1"/>
              </a:solidFill>
              <a:effectLst/>
            </a:endParaRPr>
          </a:p>
        </p:txBody>
      </p:sp>
      <p:pic>
        <p:nvPicPr>
          <p:cNvPr id="1030" name="Picture 6">
            <a:extLst>
              <a:ext uri="{FF2B5EF4-FFF2-40B4-BE49-F238E27FC236}">
                <a16:creationId xmlns:a16="http://schemas.microsoft.com/office/drawing/2014/main" id="{897792AF-209D-0E38-1A86-65547F3B18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0800" y="-525463"/>
            <a:ext cx="304800"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Zoom Participant Controls">
            <a:extLst>
              <a:ext uri="{FF2B5EF4-FFF2-40B4-BE49-F238E27FC236}">
                <a16:creationId xmlns:a16="http://schemas.microsoft.com/office/drawing/2014/main" id="{9812CAFE-49CF-4E3E-AB22-5B8CEA8455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6875" y="1159669"/>
            <a:ext cx="3937000" cy="20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0069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5C43D-6DE8-7ABC-3223-3300B1CA7F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28C3AD-FD68-E53B-4360-FFABE87D09BE}"/>
              </a:ext>
            </a:extLst>
          </p:cNvPr>
          <p:cNvSpPr>
            <a:spLocks noGrp="1"/>
          </p:cNvSpPr>
          <p:nvPr>
            <p:ph type="title"/>
          </p:nvPr>
        </p:nvSpPr>
        <p:spPr/>
        <p:txBody>
          <a:bodyPr/>
          <a:lstStyle/>
          <a:p>
            <a:r>
              <a:rPr lang="en-US"/>
              <a:t>Breakout Session</a:t>
            </a:r>
          </a:p>
        </p:txBody>
      </p:sp>
      <p:sp>
        <p:nvSpPr>
          <p:cNvPr id="3" name="Content Placeholder 2">
            <a:extLst>
              <a:ext uri="{FF2B5EF4-FFF2-40B4-BE49-F238E27FC236}">
                <a16:creationId xmlns:a16="http://schemas.microsoft.com/office/drawing/2014/main" id="{209232B2-6716-D4D4-888A-409823977C89}"/>
              </a:ext>
            </a:extLst>
          </p:cNvPr>
          <p:cNvSpPr>
            <a:spLocks noGrp="1"/>
          </p:cNvSpPr>
          <p:nvPr>
            <p:ph idx="4294967295"/>
          </p:nvPr>
        </p:nvSpPr>
        <p:spPr>
          <a:xfrm>
            <a:off x="635000" y="1617663"/>
            <a:ext cx="7900988" cy="4638675"/>
          </a:xfrm>
        </p:spPr>
        <p:txBody>
          <a:bodyPr anchor="ctr">
            <a:normAutofit/>
          </a:bodyPr>
          <a:lstStyle/>
          <a:p>
            <a:pPr marL="0" indent="0" algn="ctr">
              <a:buNone/>
            </a:pPr>
            <a:r>
              <a:rPr lang="en-US" sz="4400">
                <a:solidFill>
                  <a:schemeClr val="bg1"/>
                </a:solidFill>
              </a:rPr>
              <a:t>RECAP</a:t>
            </a:r>
          </a:p>
        </p:txBody>
      </p:sp>
    </p:spTree>
    <p:extLst>
      <p:ext uri="{BB962C8B-B14F-4D97-AF65-F5344CB8AC3E}">
        <p14:creationId xmlns:p14="http://schemas.microsoft.com/office/powerpoint/2010/main" val="2402670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scend ">
            <a:extLst>
              <a:ext uri="{FF2B5EF4-FFF2-40B4-BE49-F238E27FC236}">
                <a16:creationId xmlns:a16="http://schemas.microsoft.com/office/drawing/2014/main" id="{0AC15CB8-2922-8384-5849-E7666B466C4E}"/>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sharpenSoften amount="1000"/>
                    </a14:imgEffect>
                  </a14:imgLayer>
                </a14:imgProps>
              </a:ext>
              <a:ext uri="{28A0092B-C50C-407E-A947-70E740481C1C}">
                <a14:useLocalDpi xmlns:a14="http://schemas.microsoft.com/office/drawing/2010/main" val="0"/>
              </a:ext>
            </a:extLst>
          </a:blip>
          <a:srcRect/>
          <a:stretch>
            <a:fillRect/>
          </a:stretch>
        </p:blipFill>
        <p:spPr bwMode="auto">
          <a:xfrm>
            <a:off x="519850" y="5603410"/>
            <a:ext cx="2182483" cy="63741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64DC282-CCB5-3892-0CF1-A5643A57AAB4}"/>
              </a:ext>
            </a:extLst>
          </p:cNvPr>
          <p:cNvSpPr>
            <a:spLocks noGrp="1"/>
          </p:cNvSpPr>
          <p:nvPr>
            <p:ph type="title"/>
          </p:nvPr>
        </p:nvSpPr>
        <p:spPr>
          <a:xfrm>
            <a:off x="4287838" y="2976562"/>
            <a:ext cx="6176962" cy="706437"/>
          </a:xfrm>
        </p:spPr>
        <p:txBody>
          <a:bodyPr/>
          <a:lstStyle/>
          <a:p>
            <a:r>
              <a:rPr lang="en-US"/>
              <a:t>QUESTIONS &amp; ANSWERS</a:t>
            </a:r>
          </a:p>
        </p:txBody>
      </p:sp>
    </p:spTree>
    <p:extLst>
      <p:ext uri="{BB962C8B-B14F-4D97-AF65-F5344CB8AC3E}">
        <p14:creationId xmlns:p14="http://schemas.microsoft.com/office/powerpoint/2010/main" val="465528988"/>
      </p:ext>
    </p:extLst>
  </p:cSld>
  <p:clrMapOvr>
    <a:masterClrMapping/>
  </p:clrMapOvr>
  <p:extLst>
    <p:ext uri="{6950BFC3-D8DA-4A85-94F7-54DA5524770B}">
      <p188:commentRel xmlns:p188="http://schemas.microsoft.com/office/powerpoint/2018/8/main" r:id="rId3"/>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00A21-9B5A-4FD1-BD61-287A7DA463B2}"/>
              </a:ext>
            </a:extLst>
          </p:cNvPr>
          <p:cNvSpPr>
            <a:spLocks noGrp="1"/>
          </p:cNvSpPr>
          <p:nvPr>
            <p:ph type="title" idx="4294967295"/>
          </p:nvPr>
        </p:nvSpPr>
        <p:spPr>
          <a:xfrm>
            <a:off x="254000" y="387350"/>
            <a:ext cx="10741025" cy="496888"/>
          </a:xfrm>
        </p:spPr>
        <p:txBody>
          <a:bodyPr/>
          <a:lstStyle/>
          <a:p>
            <a:r>
              <a:rPr lang="en-US"/>
              <a:t>Expectations for next meeting</a:t>
            </a:r>
          </a:p>
        </p:txBody>
      </p:sp>
      <p:sp>
        <p:nvSpPr>
          <p:cNvPr id="3" name="Content Placeholder 2">
            <a:extLst>
              <a:ext uri="{FF2B5EF4-FFF2-40B4-BE49-F238E27FC236}">
                <a16:creationId xmlns:a16="http://schemas.microsoft.com/office/drawing/2014/main" id="{E3BE820D-56CE-434F-861F-ADC19C10C2E1}"/>
              </a:ext>
            </a:extLst>
          </p:cNvPr>
          <p:cNvSpPr>
            <a:spLocks noGrp="1"/>
          </p:cNvSpPr>
          <p:nvPr>
            <p:ph idx="4294967295"/>
          </p:nvPr>
        </p:nvSpPr>
        <p:spPr>
          <a:xfrm>
            <a:off x="254000" y="1325563"/>
            <a:ext cx="10845800" cy="4554537"/>
          </a:xfrm>
        </p:spPr>
        <p:txBody>
          <a:bodyPr>
            <a:normAutofit/>
          </a:bodyPr>
          <a:lstStyle/>
          <a:p>
            <a:pPr marL="0" indent="0">
              <a:buNone/>
            </a:pPr>
            <a:r>
              <a:rPr lang="en-US" sz="2400"/>
              <a:t>What’s we’ll cover in our January meeting…</a:t>
            </a:r>
          </a:p>
          <a:p>
            <a:pPr marL="342900" indent="-342900">
              <a:buFont typeface="Arial" panose="020B0604020202020204" pitchFamily="34" charset="0"/>
              <a:buChar char="•"/>
            </a:pPr>
            <a:r>
              <a:rPr lang="en-US" sz="2400"/>
              <a:t>Summarize what we learned from the tool submissions across the Ascend businesses</a:t>
            </a:r>
          </a:p>
          <a:p>
            <a:pPr marL="342900" indent="-342900">
              <a:buFont typeface="Arial" panose="020B0604020202020204" pitchFamily="34" charset="0"/>
              <a:buChar char="•"/>
            </a:pPr>
            <a:r>
              <a:rPr lang="en-US" sz="2400"/>
              <a:t>Provide an overall assessment and general recommendations based on aggregated findings and gaps</a:t>
            </a:r>
          </a:p>
          <a:p>
            <a:pPr marL="342900" indent="-342900">
              <a:buFont typeface="Arial" panose="020B0604020202020204" pitchFamily="34" charset="0"/>
              <a:buChar char="•"/>
            </a:pPr>
            <a:r>
              <a:rPr lang="en-US" sz="2400"/>
              <a:t>Scheduled time-slots for RSM coaches to meet individually with Ascend business in breakout rooms to discuss their assessment and provide customized recommendations</a:t>
            </a:r>
          </a:p>
          <a:p>
            <a:endParaRPr lang="en-US" sz="2400"/>
          </a:p>
        </p:txBody>
      </p:sp>
    </p:spTree>
    <p:extLst>
      <p:ext uri="{BB962C8B-B14F-4D97-AF65-F5344CB8AC3E}">
        <p14:creationId xmlns:p14="http://schemas.microsoft.com/office/powerpoint/2010/main" val="2403737526"/>
      </p:ext>
    </p:extLst>
  </p:cSld>
  <p:clrMapOvr>
    <a:masterClrMapping/>
  </p:clrMapOvr>
  <p:extLst>
    <p:ext uri="{6950BFC3-D8DA-4A85-94F7-54DA5524770B}">
      <p188:commentRel xmlns:p188="http://schemas.microsoft.com/office/powerpoint/2018/8/main" r:id="rId2"/>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00A21-9B5A-4FD1-BD61-287A7DA463B2}"/>
              </a:ext>
            </a:extLst>
          </p:cNvPr>
          <p:cNvSpPr>
            <a:spLocks noGrp="1"/>
          </p:cNvSpPr>
          <p:nvPr>
            <p:ph type="title" idx="4294967295"/>
          </p:nvPr>
        </p:nvSpPr>
        <p:spPr>
          <a:xfrm>
            <a:off x="368300" y="256381"/>
            <a:ext cx="10741025" cy="496888"/>
          </a:xfrm>
        </p:spPr>
        <p:txBody>
          <a:bodyPr/>
          <a:lstStyle/>
          <a:p>
            <a:r>
              <a:rPr lang="en-US"/>
              <a:t>Closing remarks</a:t>
            </a:r>
          </a:p>
        </p:txBody>
      </p:sp>
      <p:sp>
        <p:nvSpPr>
          <p:cNvPr id="3" name="Content Placeholder 2">
            <a:extLst>
              <a:ext uri="{FF2B5EF4-FFF2-40B4-BE49-F238E27FC236}">
                <a16:creationId xmlns:a16="http://schemas.microsoft.com/office/drawing/2014/main" id="{E3BE820D-56CE-434F-861F-ADC19C10C2E1}"/>
              </a:ext>
            </a:extLst>
          </p:cNvPr>
          <p:cNvSpPr>
            <a:spLocks noGrp="1"/>
          </p:cNvSpPr>
          <p:nvPr>
            <p:ph idx="4294967295"/>
          </p:nvPr>
        </p:nvSpPr>
        <p:spPr>
          <a:xfrm>
            <a:off x="368300" y="1164432"/>
            <a:ext cx="10845800" cy="5173662"/>
          </a:xfrm>
        </p:spPr>
        <p:txBody>
          <a:bodyPr>
            <a:normAutofit/>
          </a:bodyPr>
          <a:lstStyle/>
          <a:p>
            <a:pPr marL="0" indent="0">
              <a:buNone/>
            </a:pPr>
            <a:r>
              <a:rPr lang="en-US" sz="2400"/>
              <a:t>In today’s session we…</a:t>
            </a:r>
          </a:p>
          <a:p>
            <a:pPr marL="342900" indent="-342900">
              <a:buFont typeface="Arial" panose="020B0604020202020204" pitchFamily="34" charset="0"/>
              <a:buChar char="•"/>
            </a:pPr>
            <a:r>
              <a:rPr lang="en-US" sz="2400"/>
              <a:t>Provided information to help you think strategically about your financial systems and transformation considerations to support your company’s growth</a:t>
            </a:r>
          </a:p>
          <a:p>
            <a:pPr marL="571500" lvl="1" indent="-342900">
              <a:buFont typeface="Arial" panose="020B0604020202020204" pitchFamily="34" charset="0"/>
              <a:buChar char="•"/>
            </a:pPr>
            <a:r>
              <a:rPr lang="en-US" sz="2400"/>
              <a:t>Guidance on recognizing when to invest in technology</a:t>
            </a:r>
          </a:p>
          <a:p>
            <a:pPr marL="571500" lvl="1" indent="-342900">
              <a:buFont typeface="Arial" panose="020B0604020202020204" pitchFamily="34" charset="0"/>
              <a:buChar char="•"/>
            </a:pPr>
            <a:r>
              <a:rPr lang="en-US" sz="2400"/>
              <a:t>Considerations for assessing system architecture and infrastructure</a:t>
            </a:r>
          </a:p>
          <a:p>
            <a:pPr marL="571500" lvl="1" indent="-342900">
              <a:buFont typeface="Arial" panose="020B0604020202020204" pitchFamily="34" charset="0"/>
              <a:buChar char="•"/>
            </a:pPr>
            <a:r>
              <a:rPr lang="en-US" sz="2400"/>
              <a:t>Related technology topics that can impact your business</a:t>
            </a:r>
          </a:p>
          <a:p>
            <a:pPr marL="342900" indent="-342900">
              <a:buFont typeface="Arial" panose="020B0604020202020204" pitchFamily="34" charset="0"/>
              <a:buChar char="•"/>
            </a:pPr>
            <a:r>
              <a:rPr lang="en-US" sz="2400"/>
              <a:t>Held breakouts in small groups so Ascend business can continue building a network of peers and mentors </a:t>
            </a:r>
          </a:p>
          <a:p>
            <a:pPr marL="342900" indent="-342900">
              <a:buFont typeface="Arial" panose="020B0604020202020204" pitchFamily="34" charset="0"/>
              <a:buChar char="•"/>
            </a:pPr>
            <a:r>
              <a:rPr lang="en-US" sz="2400"/>
              <a:t>Explained the financial management systems assessment tool that we’ll use to help you apply learnings from the program to your business</a:t>
            </a:r>
          </a:p>
        </p:txBody>
      </p:sp>
    </p:spTree>
    <p:extLst>
      <p:ext uri="{BB962C8B-B14F-4D97-AF65-F5344CB8AC3E}">
        <p14:creationId xmlns:p14="http://schemas.microsoft.com/office/powerpoint/2010/main" val="3231802360"/>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qr code on a white background&#10;&#10;AI-generated content may be incorrect.">
            <a:extLst>
              <a:ext uri="{FF2B5EF4-FFF2-40B4-BE49-F238E27FC236}">
                <a16:creationId xmlns:a16="http://schemas.microsoft.com/office/drawing/2014/main" id="{7FDB4F3F-A050-6AB0-1327-D434BA690728}"/>
              </a:ext>
            </a:extLst>
          </p:cNvPr>
          <p:cNvPicPr>
            <a:picLocks noChangeAspect="1"/>
          </p:cNvPicPr>
          <p:nvPr/>
        </p:nvPicPr>
        <p:blipFill>
          <a:blip r:embed="rId2"/>
          <a:stretch>
            <a:fillRect/>
          </a:stretch>
        </p:blipFill>
        <p:spPr>
          <a:xfrm>
            <a:off x="4264025" y="1479065"/>
            <a:ext cx="3663950" cy="3663950"/>
          </a:xfrm>
          <a:prstGeom prst="rect">
            <a:avLst/>
          </a:prstGeom>
        </p:spPr>
      </p:pic>
      <p:sp>
        <p:nvSpPr>
          <p:cNvPr id="4" name="Text Placeholder 7">
            <a:extLst>
              <a:ext uri="{FF2B5EF4-FFF2-40B4-BE49-F238E27FC236}">
                <a16:creationId xmlns:a16="http://schemas.microsoft.com/office/drawing/2014/main" id="{619C2868-85EF-E629-1949-6B8253457D9D}"/>
              </a:ext>
            </a:extLst>
          </p:cNvPr>
          <p:cNvSpPr txBox="1">
            <a:spLocks/>
          </p:cNvSpPr>
          <p:nvPr/>
        </p:nvSpPr>
        <p:spPr>
          <a:xfrm>
            <a:off x="4264025" y="5378935"/>
            <a:ext cx="3663950" cy="584685"/>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a:solidFill>
                  <a:srgbClr val="009CDE"/>
                </a:solidFill>
                <a:ea typeface="Calibri" panose="020F0502020204030204" pitchFamily="34" charset="0"/>
              </a:rPr>
              <a:t>Connect with RSM</a:t>
            </a:r>
          </a:p>
          <a:p>
            <a:pPr marL="0" indent="0" algn="ctr">
              <a:buNone/>
            </a:pPr>
            <a:r>
              <a:rPr lang="en-US" sz="1600" b="1">
                <a:solidFill>
                  <a:srgbClr val="009CDE"/>
                </a:solidFill>
                <a:ea typeface="Calibri" panose="020F0502020204030204" pitchFamily="34" charset="0"/>
              </a:rPr>
              <a:t>Ascend National Cohort 2025-26</a:t>
            </a:r>
          </a:p>
        </p:txBody>
      </p:sp>
    </p:spTree>
    <p:extLst>
      <p:ext uri="{BB962C8B-B14F-4D97-AF65-F5344CB8AC3E}">
        <p14:creationId xmlns:p14="http://schemas.microsoft.com/office/powerpoint/2010/main" val="27502407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502F4C0-A4F9-2073-74B2-DE497F00BA72}"/>
              </a:ext>
            </a:extLst>
          </p:cNvPr>
          <p:cNvSpPr>
            <a:spLocks noGrp="1"/>
          </p:cNvSpPr>
          <p:nvPr>
            <p:ph type="body" sz="quarter" idx="10"/>
          </p:nvPr>
        </p:nvSpPr>
        <p:spPr>
          <a:xfrm>
            <a:off x="839025" y="2444525"/>
            <a:ext cx="10393300" cy="1308050"/>
          </a:xfrm>
        </p:spPr>
        <p:txBody>
          <a:bodyPr/>
          <a:lstStyle/>
          <a:p>
            <a:r>
              <a:rPr lang="en-US" sz="4000"/>
              <a:t>Thank you </a:t>
            </a:r>
          </a:p>
          <a:p>
            <a:r>
              <a:rPr lang="en-US" sz="4000"/>
              <a:t>for your time and attention</a:t>
            </a:r>
          </a:p>
        </p:txBody>
      </p:sp>
      <p:sp>
        <p:nvSpPr>
          <p:cNvPr id="2" name="Slide Number Placeholder 1">
            <a:extLst>
              <a:ext uri="{FF2B5EF4-FFF2-40B4-BE49-F238E27FC236}">
                <a16:creationId xmlns:a16="http://schemas.microsoft.com/office/drawing/2014/main" id="{4B2BEF5E-A6D2-4D4F-B488-62C72B664924}"/>
              </a:ext>
            </a:extLst>
          </p:cNvPr>
          <p:cNvSpPr>
            <a:spLocks noGrp="1"/>
          </p:cNvSpPr>
          <p:nvPr>
            <p:ph type="sldNum" sz="quarter" idx="4294967295"/>
          </p:nvPr>
        </p:nvSpPr>
        <p:spPr>
          <a:xfrm>
            <a:off x="0" y="0"/>
            <a:ext cx="0" cy="0"/>
          </a:xfrm>
          <a:prstGeom prst="rect">
            <a:avLst/>
          </a:prstGeom>
        </p:spPr>
        <p:txBody>
          <a:bodyPr/>
          <a:lstStyle/>
          <a:p>
            <a:fld id="{936A99BC-3C9D-4DF8-8B8C-E1FD2BDF0AD4}" type="slidenum">
              <a:rPr lang="en-US" smtClean="0"/>
              <a:t>50</a:t>
            </a:fld>
            <a:endParaRPr lang="en-US"/>
          </a:p>
        </p:txBody>
      </p:sp>
      <p:pic>
        <p:nvPicPr>
          <p:cNvPr id="3" name="Picture 2" descr="Ascend ">
            <a:extLst>
              <a:ext uri="{FF2B5EF4-FFF2-40B4-BE49-F238E27FC236}">
                <a16:creationId xmlns:a16="http://schemas.microsoft.com/office/drawing/2014/main" id="{1CAD2487-2CC5-D964-BC18-74903264CB44}"/>
              </a:ext>
            </a:extLst>
          </p:cNvPr>
          <p:cNvPicPr>
            <a:picLocks noChangeAspect="1" noChangeArrowheads="1"/>
          </p:cNvPicPr>
          <p:nvPr/>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sharpenSoften amount="1000"/>
                    </a14:imgEffect>
                  </a14:imgLayer>
                </a14:imgProps>
              </a:ext>
              <a:ext uri="{28A0092B-C50C-407E-A947-70E740481C1C}">
                <a14:useLocalDpi xmlns:a14="http://schemas.microsoft.com/office/drawing/2010/main" val="0"/>
              </a:ext>
            </a:extLst>
          </a:blip>
          <a:srcRect/>
          <a:stretch>
            <a:fillRect/>
          </a:stretch>
        </p:blipFill>
        <p:spPr bwMode="auto">
          <a:xfrm>
            <a:off x="344360" y="5547992"/>
            <a:ext cx="2182483" cy="637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2143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5929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254C0FE-78E8-2B23-04F2-3570B674EAE3}"/>
              </a:ext>
            </a:extLst>
          </p:cNvPr>
          <p:cNvSpPr>
            <a:spLocks noGrp="1"/>
          </p:cNvSpPr>
          <p:nvPr>
            <p:ph type="sldNum" sz="quarter" idx="4"/>
          </p:nvPr>
        </p:nvSpPr>
        <p:spPr/>
        <p:txBody>
          <a:bodyPr/>
          <a:lstStyle/>
          <a:p>
            <a:pPr algn="r"/>
            <a:r>
              <a:rPr lang="en-GB"/>
              <a:t>RSM | </a:t>
            </a:r>
            <a:fld id="{D3664AF6-26E3-4378-990F-C4F4E21208D6}" type="slidenum">
              <a:rPr smtClean="0"/>
              <a:pPr algn="r"/>
              <a:t>52</a:t>
            </a:fld>
            <a:endParaRPr/>
          </a:p>
        </p:txBody>
      </p:sp>
      <p:sp>
        <p:nvSpPr>
          <p:cNvPr id="5" name="Title 4">
            <a:extLst>
              <a:ext uri="{FF2B5EF4-FFF2-40B4-BE49-F238E27FC236}">
                <a16:creationId xmlns:a16="http://schemas.microsoft.com/office/drawing/2014/main" id="{39F0C72D-8C8C-701B-8656-31145A9DEDE3}"/>
              </a:ext>
            </a:extLst>
          </p:cNvPr>
          <p:cNvSpPr>
            <a:spLocks noGrp="1"/>
          </p:cNvSpPr>
          <p:nvPr>
            <p:ph type="title"/>
          </p:nvPr>
        </p:nvSpPr>
        <p:spPr>
          <a:xfrm>
            <a:off x="298873" y="261406"/>
            <a:ext cx="10620375" cy="430887"/>
          </a:xfrm>
        </p:spPr>
        <p:txBody>
          <a:bodyPr/>
          <a:lstStyle/>
          <a:p>
            <a:r>
              <a:rPr lang="en-US" sz="2800"/>
              <a:t>AI Resources and Information</a:t>
            </a:r>
          </a:p>
        </p:txBody>
      </p:sp>
      <p:sp>
        <p:nvSpPr>
          <p:cNvPr id="42" name="Text Placeholder 41">
            <a:extLst>
              <a:ext uri="{FF2B5EF4-FFF2-40B4-BE49-F238E27FC236}">
                <a16:creationId xmlns:a16="http://schemas.microsoft.com/office/drawing/2014/main" id="{89DE7DC6-0398-ACAA-E9CF-97FD0C6B5178}"/>
              </a:ext>
            </a:extLst>
          </p:cNvPr>
          <p:cNvSpPr>
            <a:spLocks noGrp="1"/>
          </p:cNvSpPr>
          <p:nvPr>
            <p:ph type="body" sz="quarter" idx="14"/>
          </p:nvPr>
        </p:nvSpPr>
        <p:spPr>
          <a:xfrm>
            <a:off x="814558" y="1341436"/>
            <a:ext cx="10621792" cy="4517825"/>
          </a:xfrm>
        </p:spPr>
        <p:txBody>
          <a:bodyPr/>
          <a:lstStyle/>
          <a:p>
            <a:pPr>
              <a:spcAft>
                <a:spcPts val="1200"/>
              </a:spcAft>
            </a:pPr>
            <a:r>
              <a:rPr lang="en-US" b="1" u="sng"/>
              <a:t>Articles and Blog Posts</a:t>
            </a:r>
          </a:p>
          <a:p>
            <a:pPr marL="342900" indent="-342900">
              <a:spcAft>
                <a:spcPts val="400"/>
              </a:spcAft>
              <a:buFont typeface="Arial" panose="020B0604020202020204" pitchFamily="34" charset="0"/>
              <a:buChar char="•"/>
            </a:pPr>
            <a:r>
              <a:rPr lang="en-US">
                <a:hlinkClick r:id="rId3"/>
              </a:rPr>
              <a:t>RSM - The 3 pillars of artificial intelligence: How AI will reshape business and the economy</a:t>
            </a:r>
            <a:endParaRPr lang="en-US"/>
          </a:p>
          <a:p>
            <a:pPr marL="342900" indent="-342900">
              <a:spcAft>
                <a:spcPts val="400"/>
              </a:spcAft>
              <a:buFont typeface="Arial" panose="020B0604020202020204" pitchFamily="34" charset="0"/>
              <a:buChar char="•"/>
            </a:pPr>
            <a:r>
              <a:rPr lang="en-US">
                <a:hlinkClick r:id="rId4"/>
              </a:rPr>
              <a:t>RSM - The art of the practical: Adopting AI in a responsible way</a:t>
            </a:r>
            <a:endParaRPr lang="en-US"/>
          </a:p>
          <a:p>
            <a:pPr marL="342900" indent="-342900">
              <a:spcAft>
                <a:spcPts val="400"/>
              </a:spcAft>
              <a:buFont typeface="Arial" panose="020B0604020202020204" pitchFamily="34" charset="0"/>
              <a:buChar char="•"/>
            </a:pPr>
            <a:r>
              <a:rPr lang="en-US">
                <a:hlinkClick r:id="rId5"/>
              </a:rPr>
              <a:t>RSM - Capitalizing on AI: 8 common use cases for your organization</a:t>
            </a:r>
            <a:endParaRPr lang="en-US"/>
          </a:p>
          <a:p>
            <a:pPr marL="342900" indent="-342900">
              <a:spcAft>
                <a:spcPts val="400"/>
              </a:spcAft>
              <a:buFont typeface="Arial" panose="020B0604020202020204" pitchFamily="34" charset="0"/>
              <a:buChar char="•"/>
            </a:pPr>
            <a:r>
              <a:rPr lang="en-US">
                <a:hlinkClick r:id="rId6"/>
              </a:rPr>
              <a:t>Oracle – AI in ERP: Benefits, Examples, and Challenges</a:t>
            </a:r>
            <a:endParaRPr lang="en-US"/>
          </a:p>
          <a:p>
            <a:pPr marL="342900" indent="-342900">
              <a:buFont typeface="Arial" panose="020B0604020202020204" pitchFamily="34" charset="0"/>
              <a:buChar char="•"/>
            </a:pPr>
            <a:endParaRPr lang="en-US"/>
          </a:p>
          <a:p>
            <a:pPr>
              <a:spcAft>
                <a:spcPts val="1200"/>
              </a:spcAft>
            </a:pPr>
            <a:r>
              <a:rPr lang="en-US" b="1" u="sng"/>
              <a:t>Training Resources</a:t>
            </a:r>
          </a:p>
          <a:p>
            <a:pPr marL="342900" indent="-342900">
              <a:buFont typeface="Arial" panose="020B0604020202020204" pitchFamily="34" charset="0"/>
              <a:buChar char="•"/>
            </a:pPr>
            <a:r>
              <a:rPr lang="en-US">
                <a:hlinkClick r:id="rId7"/>
              </a:rPr>
              <a:t>Data analytics and AI webcast series (on demand)</a:t>
            </a:r>
            <a:endParaRPr lang="en-US"/>
          </a:p>
          <a:p>
            <a:endParaRPr lang="en-US"/>
          </a:p>
          <a:p>
            <a:endParaRPr lang="en-US"/>
          </a:p>
        </p:txBody>
      </p:sp>
      <p:pic>
        <p:nvPicPr>
          <p:cNvPr id="44" name="Picture 43">
            <a:extLst>
              <a:ext uri="{FF2B5EF4-FFF2-40B4-BE49-F238E27FC236}">
                <a16:creationId xmlns:a16="http://schemas.microsoft.com/office/drawing/2014/main" id="{B7E8DEA5-B3FC-9525-9C9C-C2601C8DB6B4}"/>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788893" y="3002477"/>
            <a:ext cx="2481318" cy="2283769"/>
          </a:xfrm>
          <a:prstGeom prst="rect">
            <a:avLst/>
          </a:prstGeom>
        </p:spPr>
      </p:pic>
      <p:pic>
        <p:nvPicPr>
          <p:cNvPr id="2" name="Picture 1" descr="A qr code with black dots&#10;&#10;AI-generated content may be incorrect.">
            <a:extLst>
              <a:ext uri="{FF2B5EF4-FFF2-40B4-BE49-F238E27FC236}">
                <a16:creationId xmlns:a16="http://schemas.microsoft.com/office/drawing/2014/main" id="{05259EB3-2349-9A57-CE7C-F726FDD78992}"/>
              </a:ext>
            </a:extLst>
          </p:cNvPr>
          <p:cNvPicPr>
            <a:picLocks noChangeAspect="1"/>
          </p:cNvPicPr>
          <p:nvPr/>
        </p:nvPicPr>
        <p:blipFill>
          <a:blip r:embed="rId9"/>
          <a:stretch>
            <a:fillRect/>
          </a:stretch>
        </p:blipFill>
        <p:spPr>
          <a:xfrm>
            <a:off x="6983262" y="4402526"/>
            <a:ext cx="2092985" cy="2021099"/>
          </a:xfrm>
          <a:prstGeom prst="rect">
            <a:avLst/>
          </a:prstGeom>
        </p:spPr>
      </p:pic>
    </p:spTree>
    <p:extLst>
      <p:ext uri="{BB962C8B-B14F-4D97-AF65-F5344CB8AC3E}">
        <p14:creationId xmlns:p14="http://schemas.microsoft.com/office/powerpoint/2010/main" val="3815851686"/>
      </p:ext>
    </p:extLst>
  </p:cSld>
  <p:clrMapOvr>
    <a:masterClrMapping/>
  </p:clrMapOvr>
  <p:transition spd="slow">
    <p:push dir="u"/>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46A4C42-FA1C-9064-EDA4-E2FB26C4777B}"/>
              </a:ext>
            </a:extLst>
          </p:cNvPr>
          <p:cNvSpPr txBox="1">
            <a:spLocks/>
          </p:cNvSpPr>
          <p:nvPr>
            <p:custDataLst>
              <p:tags r:id="rId1"/>
            </p:custDataLst>
          </p:nvPr>
        </p:nvSpPr>
        <p:spPr>
          <a:xfrm>
            <a:off x="335406" y="400812"/>
            <a:ext cx="8985876" cy="630149"/>
          </a:xfrm>
          <a:prstGeom prst="rect">
            <a:avLst/>
          </a:prstGeom>
        </p:spPr>
        <p:txBody>
          <a:bodyPr lIns="0" tIns="0" rIns="0" bIns="0" anchor="t">
            <a:noAutofit/>
          </a:bodyPr>
          <a:lstStyle>
            <a:lvl1pPr algn="l" defTabSz="1088333" rtl="0" eaLnBrk="1" latinLnBrk="0" hangingPunct="1">
              <a:spcBef>
                <a:spcPct val="0"/>
              </a:spcBef>
              <a:buNone/>
              <a:defRPr sz="2800" kern="1200" cap="none" baseline="0">
                <a:solidFill>
                  <a:srgbClr val="63666A"/>
                </a:solidFill>
                <a:latin typeface="+mj-lt"/>
                <a:ea typeface="+mj-ea"/>
                <a:cs typeface="+mj-cs"/>
              </a:defRPr>
            </a:lvl1pPr>
          </a:lstStyle>
          <a:p>
            <a:pPr marL="0" marR="0" lvl="0" indent="0" algn="l" defTabSz="1088333" rtl="0" eaLnBrk="1" fontAlgn="auto" latinLnBrk="0" hangingPunct="1">
              <a:lnSpc>
                <a:spcPct val="100000"/>
              </a:lnSpc>
              <a:spcBef>
                <a:spcPct val="0"/>
              </a:spcBef>
              <a:spcAft>
                <a:spcPts val="0"/>
              </a:spcAft>
              <a:buClrTx/>
              <a:buSzTx/>
              <a:buFontTx/>
              <a:buNone/>
              <a:tabLst/>
              <a:defRPr/>
            </a:pPr>
            <a:r>
              <a:rPr kumimoji="0" lang="en-US" sz="2400" b="1" i="0" u="none" strike="noStrike" kern="1200" cap="all" spc="0" normalizeH="0" baseline="0" noProof="0">
                <a:ln>
                  <a:noFill/>
                </a:ln>
                <a:solidFill>
                  <a:srgbClr val="FFFFFF"/>
                </a:solidFill>
                <a:effectLst/>
                <a:uLnTx/>
                <a:uFillTx/>
                <a:latin typeface="Arial"/>
                <a:ea typeface="+mj-ea"/>
                <a:cs typeface="+mj-cs"/>
              </a:rPr>
              <a:t>SAMPLE: RSM Business Applications Account Team</a:t>
            </a:r>
            <a:endParaRPr kumimoji="0" lang="en-US" sz="2400" b="0" i="0" u="none" strike="noStrike" kern="1200" cap="none" spc="0" normalizeH="0" baseline="0" noProof="0">
              <a:ln>
                <a:noFill/>
              </a:ln>
              <a:solidFill>
                <a:srgbClr val="63666A"/>
              </a:solidFill>
              <a:effectLst/>
              <a:uLnTx/>
              <a:uFillTx/>
              <a:latin typeface="Arial"/>
              <a:ea typeface="+mj-ea"/>
              <a:cs typeface="+mj-cs"/>
            </a:endParaRPr>
          </a:p>
        </p:txBody>
      </p:sp>
      <p:sp>
        <p:nvSpPr>
          <p:cNvPr id="45" name="TextBox 44">
            <a:extLst>
              <a:ext uri="{FF2B5EF4-FFF2-40B4-BE49-F238E27FC236}">
                <a16:creationId xmlns:a16="http://schemas.microsoft.com/office/drawing/2014/main" id="{9E1CAD40-461F-F0C9-0160-B632AF3F7E88}"/>
              </a:ext>
            </a:extLst>
          </p:cNvPr>
          <p:cNvSpPr txBox="1">
            <a:spLocks/>
          </p:cNvSpPr>
          <p:nvPr/>
        </p:nvSpPr>
        <p:spPr>
          <a:xfrm>
            <a:off x="11371085" y="6536507"/>
            <a:ext cx="600428" cy="153888"/>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88B8D"/>
                </a:solidFill>
                <a:effectLst/>
                <a:uLnTx/>
                <a:uFillTx/>
                <a:latin typeface="Arial"/>
                <a:ea typeface="+mn-ea"/>
                <a:cs typeface="+mn-cs"/>
              </a:rPr>
              <a:t>RSM | </a:t>
            </a:r>
            <a:fld id="{49435FB2-2907-4A1B-9AF4-7FDB3101C2DF}" type="slidenum">
              <a:rPr kumimoji="0" lang="en-GB" sz="1000" b="0" i="0" u="none" strike="noStrike" kern="1200" cap="none" spc="0" normalizeH="0" baseline="0" noProof="0" smtClean="0">
                <a:ln>
                  <a:noFill/>
                </a:ln>
                <a:solidFill>
                  <a:srgbClr val="888B8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888B8D"/>
              </a:solidFill>
              <a:effectLst/>
              <a:uLnTx/>
              <a:uFillTx/>
              <a:latin typeface="Arial"/>
              <a:ea typeface="+mn-ea"/>
              <a:cs typeface="+mn-cs"/>
            </a:endParaRPr>
          </a:p>
        </p:txBody>
      </p:sp>
      <p:grpSp>
        <p:nvGrpSpPr>
          <p:cNvPr id="3" name="Agrupar 8">
            <a:extLst>
              <a:ext uri="{FF2B5EF4-FFF2-40B4-BE49-F238E27FC236}">
                <a16:creationId xmlns:a16="http://schemas.microsoft.com/office/drawing/2014/main" id="{1EB84BBA-A8F8-7876-E5E1-E9AF317E8258}"/>
              </a:ext>
            </a:extLst>
          </p:cNvPr>
          <p:cNvGrpSpPr/>
          <p:nvPr/>
        </p:nvGrpSpPr>
        <p:grpSpPr>
          <a:xfrm>
            <a:off x="728663" y="1456133"/>
            <a:ext cx="10832037" cy="527653"/>
            <a:chOff x="1069481" y="2053595"/>
            <a:chExt cx="10128918" cy="274320"/>
          </a:xfrm>
        </p:grpSpPr>
        <p:sp>
          <p:nvSpPr>
            <p:cNvPr id="4" name="Rectangle 21">
              <a:extLst>
                <a:ext uri="{FF2B5EF4-FFF2-40B4-BE49-F238E27FC236}">
                  <a16:creationId xmlns:a16="http://schemas.microsoft.com/office/drawing/2014/main" id="{D325E819-DA4F-B06F-1297-78D0C226AE6F}"/>
                </a:ext>
              </a:extLst>
            </p:cNvPr>
            <p:cNvSpPr/>
            <p:nvPr/>
          </p:nvSpPr>
          <p:spPr>
            <a:xfrm>
              <a:off x="8341043" y="2053595"/>
              <a:ext cx="2857356" cy="274320"/>
            </a:xfrm>
            <a:prstGeom prst="rect">
              <a:avLst/>
            </a:prstGeom>
            <a:solidFill>
              <a:schemeClr val="accent2">
                <a:lumMod val="60000"/>
                <a:lumOff val="40000"/>
              </a:schemeClr>
            </a:solidFill>
            <a:ln w="25400" cap="flat" cmpd="sng" algn="ctr">
              <a:noFill/>
              <a:prstDash val="solid"/>
            </a:ln>
            <a:effectLst/>
          </p:spPr>
          <p:txBody>
            <a:bodyPr lIns="503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a:ea typeface="+mn-ea"/>
                  <a:cs typeface="Arial" panose="020B0604020202020204" pitchFamily="34" charset="0"/>
                </a:rPr>
                <a:t>Tax</a:t>
              </a:r>
            </a:p>
          </p:txBody>
        </p:sp>
        <p:sp>
          <p:nvSpPr>
            <p:cNvPr id="5" name="Rectangle 27">
              <a:extLst>
                <a:ext uri="{FF2B5EF4-FFF2-40B4-BE49-F238E27FC236}">
                  <a16:creationId xmlns:a16="http://schemas.microsoft.com/office/drawing/2014/main" id="{E30008A5-5D73-A801-C1A8-DA1DE7AE9669}"/>
                </a:ext>
              </a:extLst>
            </p:cNvPr>
            <p:cNvSpPr/>
            <p:nvPr/>
          </p:nvSpPr>
          <p:spPr>
            <a:xfrm>
              <a:off x="1069481" y="2053595"/>
              <a:ext cx="2857356" cy="274320"/>
            </a:xfrm>
            <a:prstGeom prst="rect">
              <a:avLst/>
            </a:prstGeom>
            <a:solidFill>
              <a:srgbClr val="141439"/>
            </a:solidFill>
            <a:ln w="25400" cap="flat" cmpd="sng" algn="ctr">
              <a:noFill/>
              <a:prstDash val="solid"/>
            </a:ln>
            <a:effectLst/>
          </p:spPr>
          <p:txBody>
            <a:bodyPr lIns="503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a:ea typeface="+mn-ea"/>
                  <a:cs typeface="Arial" panose="020B0604020202020204" pitchFamily="34" charset="0"/>
                </a:rPr>
                <a:t>Consulting</a:t>
              </a:r>
            </a:p>
          </p:txBody>
        </p:sp>
        <p:sp>
          <p:nvSpPr>
            <p:cNvPr id="6" name="Rectangle 17">
              <a:extLst>
                <a:ext uri="{FF2B5EF4-FFF2-40B4-BE49-F238E27FC236}">
                  <a16:creationId xmlns:a16="http://schemas.microsoft.com/office/drawing/2014/main" id="{CEFB09A4-EFB1-EDB7-D8C6-FE63E2C45F64}"/>
                </a:ext>
              </a:extLst>
            </p:cNvPr>
            <p:cNvSpPr/>
            <p:nvPr/>
          </p:nvSpPr>
          <p:spPr>
            <a:xfrm>
              <a:off x="4705262" y="2053595"/>
              <a:ext cx="2857356" cy="274320"/>
            </a:xfrm>
            <a:prstGeom prst="rect">
              <a:avLst/>
            </a:prstGeom>
            <a:solidFill>
              <a:srgbClr val="009CDE"/>
            </a:solidFill>
            <a:ln w="25400" cap="flat" cmpd="sng" algn="ctr">
              <a:noFill/>
              <a:prstDash val="solid"/>
            </a:ln>
            <a:effectLst/>
          </p:spPr>
          <p:txBody>
            <a:bodyPr lIns="503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a:ea typeface="+mn-ea"/>
                  <a:cs typeface="Arial" panose="020B0604020202020204" pitchFamily="34" charset="0"/>
                </a:rPr>
                <a:t>Audit</a:t>
              </a:r>
            </a:p>
          </p:txBody>
        </p:sp>
      </p:grpSp>
      <p:sp>
        <p:nvSpPr>
          <p:cNvPr id="7" name="TextBox 18">
            <a:extLst>
              <a:ext uri="{FF2B5EF4-FFF2-40B4-BE49-F238E27FC236}">
                <a16:creationId xmlns:a16="http://schemas.microsoft.com/office/drawing/2014/main" id="{61F2D130-D2BB-53B7-C132-E3A6C9E684BC}"/>
              </a:ext>
            </a:extLst>
          </p:cNvPr>
          <p:cNvSpPr txBox="1"/>
          <p:nvPr/>
        </p:nvSpPr>
        <p:spPr>
          <a:xfrm>
            <a:off x="4286450" y="2098428"/>
            <a:ext cx="3309377" cy="2785762"/>
          </a:xfrm>
          <a:prstGeom prst="rect">
            <a:avLst/>
          </a:prstGeom>
          <a:noFill/>
        </p:spPr>
        <p:txBody>
          <a:bodyPr wrap="square" numCol="2" rtlCol="0">
            <a:noAutofit/>
          </a:bodyPr>
          <a:lstStyle/>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Asset valuation</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Complex debt and equity transactions</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Derivatives (hedging)</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Discounting and other promotional activities</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Exclusivity agreements/purchase commitments</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Gift card accounting and related breakage</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Incentive </a:t>
            </a:r>
            <a:b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compensation arrangements</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Lease accounting</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Loyalty programs</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elf-insurance</a:t>
            </a:r>
          </a:p>
        </p:txBody>
      </p:sp>
      <p:sp>
        <p:nvSpPr>
          <p:cNvPr id="8" name="TextBox 24">
            <a:extLst>
              <a:ext uri="{FF2B5EF4-FFF2-40B4-BE49-F238E27FC236}">
                <a16:creationId xmlns:a16="http://schemas.microsoft.com/office/drawing/2014/main" id="{6354C759-15E4-08FC-F33C-A775C82A7A52}"/>
              </a:ext>
            </a:extLst>
          </p:cNvPr>
          <p:cNvSpPr txBox="1"/>
          <p:nvPr/>
        </p:nvSpPr>
        <p:spPr>
          <a:xfrm>
            <a:off x="8061708" y="2098428"/>
            <a:ext cx="3909805" cy="4010272"/>
          </a:xfrm>
          <a:prstGeom prst="rect">
            <a:avLst/>
          </a:prstGeom>
          <a:noFill/>
        </p:spPr>
        <p:txBody>
          <a:bodyPr wrap="square" numCol="2" rtlCol="0">
            <a:noAutofit/>
          </a:bodyPr>
          <a:lstStyle/>
          <a:p>
            <a:pPr marL="0" marR="0" lvl="0" indent="0" algn="l" defTabSz="914400" rtl="0" eaLnBrk="1" fontAlgn="auto" latinLnBrk="0" hangingPunct="1">
              <a:lnSpc>
                <a:spcPct val="100000"/>
              </a:lnSpc>
              <a:spcBef>
                <a:spcPts val="200"/>
              </a:spcBef>
              <a:spcAft>
                <a:spcPts val="200"/>
              </a:spcAft>
              <a:buClr>
                <a:srgbClr val="1F497D"/>
              </a:buClr>
              <a:buSzTx/>
              <a:buFontTx/>
              <a:buNone/>
              <a:tabLst/>
              <a:defRPr/>
            </a:pPr>
            <a:r>
              <a:rPr kumimoji="0" lang="en-US" sz="1200" b="0" i="0" u="sng"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Credits and Incentive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EOTC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Research and development</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TIPS credit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WOTCs</a:t>
            </a:r>
          </a:p>
          <a:p>
            <a:pPr marL="0" marR="0" lvl="0" indent="0" algn="l" defTabSz="914400" rtl="0" eaLnBrk="1" fontAlgn="auto" latinLnBrk="0" hangingPunct="1">
              <a:lnSpc>
                <a:spcPct val="100000"/>
              </a:lnSpc>
              <a:spcBef>
                <a:spcPts val="200"/>
              </a:spcBef>
              <a:spcAft>
                <a:spcPts val="200"/>
              </a:spcAft>
              <a:buClr>
                <a:srgbClr val="1F497D"/>
              </a:buClr>
              <a:buSzTx/>
              <a:buFontTx/>
              <a:buNone/>
              <a:tabLst/>
              <a:defRPr/>
            </a:pPr>
            <a:r>
              <a:rPr kumimoji="0" lang="en-US" sz="1200" b="0" i="0" u="sng"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Expenditure analysi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Meals and entertainment</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Charitable</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Package design cost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Research and development</a:t>
            </a:r>
          </a:p>
          <a:p>
            <a:pPr marL="0" marR="0" lvl="0" indent="0" algn="l" defTabSz="914400" rtl="0" eaLnBrk="1" fontAlgn="auto" latinLnBrk="0" hangingPunct="1">
              <a:lnSpc>
                <a:spcPct val="100000"/>
              </a:lnSpc>
              <a:spcBef>
                <a:spcPts val="200"/>
              </a:spcBef>
              <a:spcAft>
                <a:spcPts val="200"/>
              </a:spcAft>
              <a:buClr>
                <a:srgbClr val="1F497D"/>
              </a:buClr>
              <a:buSzTx/>
              <a:buFontTx/>
              <a:buNone/>
              <a:tabLst/>
              <a:defRPr/>
            </a:pPr>
            <a:r>
              <a:rPr kumimoji="0" lang="en-US" sz="1200" b="0" i="0" u="sng"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Leasing</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Anchor tenant benefit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Qualified leasehold improvement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Tenant allowances</a:t>
            </a:r>
          </a:p>
          <a:p>
            <a:pPr marL="0" marR="0" lvl="0" indent="0" algn="l" defTabSz="914400" rtl="0" eaLnBrk="1" fontAlgn="auto" latinLnBrk="0" hangingPunct="1">
              <a:lnSpc>
                <a:spcPct val="100000"/>
              </a:lnSpc>
              <a:spcBef>
                <a:spcPts val="200"/>
              </a:spcBef>
              <a:spcAft>
                <a:spcPts val="200"/>
              </a:spcAft>
              <a:buClr>
                <a:srgbClr val="1F497D"/>
              </a:buClr>
              <a:buSzTx/>
              <a:buFontTx/>
              <a:buNone/>
              <a:tabLst/>
              <a:defRPr/>
            </a:pPr>
            <a:r>
              <a:rPr kumimoji="0" lang="en-US" sz="1200" b="0" i="0" u="sng"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Fixed asset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Bonus depreciation</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Cost segregation</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Retail depreciation</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TARS</a:t>
            </a:r>
          </a:p>
          <a:p>
            <a:pPr marL="0" marR="0" lvl="0" indent="0" algn="l" defTabSz="914400" rtl="0" eaLnBrk="1" fontAlgn="auto" latinLnBrk="0" hangingPunct="1">
              <a:lnSpc>
                <a:spcPct val="100000"/>
              </a:lnSpc>
              <a:spcBef>
                <a:spcPts val="200"/>
              </a:spcBef>
              <a:spcAft>
                <a:spcPts val="200"/>
              </a:spcAft>
              <a:buClr>
                <a:srgbClr val="1F497D"/>
              </a:buClr>
              <a:buSzTx/>
              <a:buFontTx/>
              <a:buNone/>
              <a:tabLst/>
              <a:defRPr/>
            </a:pPr>
            <a:r>
              <a:rPr kumimoji="0" lang="en-US" sz="1200" b="0" i="0" u="sng"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tate and local issues</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ales and use</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tructuring/planning</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Unclaimed property/property tax</a:t>
            </a:r>
          </a:p>
          <a:p>
            <a:pPr marL="0" marR="0" lvl="0" indent="0" algn="l" defTabSz="914400" rtl="0" eaLnBrk="1" fontAlgn="auto" latinLnBrk="0" hangingPunct="1">
              <a:lnSpc>
                <a:spcPct val="100000"/>
              </a:lnSpc>
              <a:spcBef>
                <a:spcPts val="200"/>
              </a:spcBef>
              <a:spcAft>
                <a:spcPts val="200"/>
              </a:spcAft>
              <a:buClr>
                <a:srgbClr val="1F497D"/>
              </a:buClr>
              <a:buSzTx/>
              <a:buFontTx/>
              <a:buNone/>
              <a:tabLst/>
              <a:defRPr/>
            </a:pPr>
            <a:r>
              <a:rPr kumimoji="0" lang="en-US" sz="1200" b="0" i="0" u="sng"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International</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Tax treaty/withholding comp. </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Transfer pricing</a:t>
            </a:r>
          </a:p>
          <a:p>
            <a:pPr marL="171450" marR="0" lvl="0" indent="-171450" algn="l" defTabSz="914400" rtl="0" eaLnBrk="1" fontAlgn="auto" latinLnBrk="0" hangingPunct="1">
              <a:lnSpc>
                <a:spcPct val="100000"/>
              </a:lnSpc>
              <a:spcBef>
                <a:spcPts val="200"/>
              </a:spcBef>
              <a:spcAft>
                <a:spcPts val="200"/>
              </a:spcAft>
              <a:buClr>
                <a:srgbClr val="1F497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VAT/GST</a:t>
            </a:r>
          </a:p>
          <a:p>
            <a:pPr marL="171450" marR="0" lvl="0" indent="-171450" algn="l" defTabSz="914400" rtl="0" eaLnBrk="1" fontAlgn="auto" latinLnBrk="0" hangingPunct="1">
              <a:lnSpc>
                <a:spcPct val="100000"/>
              </a:lnSpc>
              <a:spcBef>
                <a:spcPts val="0"/>
              </a:spcBef>
              <a:spcAft>
                <a:spcPts val="600"/>
              </a:spcAft>
              <a:buClr>
                <a:srgbClr val="F79646"/>
              </a:buClr>
              <a:buSzTx/>
              <a:buFont typeface="Wingdings" charset="2"/>
              <a:buChar char="§"/>
              <a:tabLst/>
              <a:defRPr/>
            </a:pPr>
            <a:endPar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endParaRPr>
          </a:p>
        </p:txBody>
      </p:sp>
      <p:sp>
        <p:nvSpPr>
          <p:cNvPr id="9" name="TextBox 30">
            <a:extLst>
              <a:ext uri="{FF2B5EF4-FFF2-40B4-BE49-F238E27FC236}">
                <a16:creationId xmlns:a16="http://schemas.microsoft.com/office/drawing/2014/main" id="{EEEE776C-4F7B-853C-BE80-6809D15A2DF3}"/>
              </a:ext>
            </a:extLst>
          </p:cNvPr>
          <p:cNvSpPr txBox="1"/>
          <p:nvPr/>
        </p:nvSpPr>
        <p:spPr>
          <a:xfrm>
            <a:off x="682481" y="2098428"/>
            <a:ext cx="3309377" cy="3768972"/>
          </a:xfrm>
          <a:prstGeom prst="rect">
            <a:avLst/>
          </a:prstGeom>
          <a:noFill/>
        </p:spPr>
        <p:txBody>
          <a:bodyPr wrap="square" numCol="2" rtlCol="0">
            <a:noAutofit/>
          </a:bodyPr>
          <a:lstStyle/>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Application and infrastructure support</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Business intelligence</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Business process improvement</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Cost optimization </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Finance and accounting outsourcing</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Information security</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Internal control consulting</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IT strategy and optimization</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Lease due diligence</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Operations and supply chain</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People and organization optimization</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Project management</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OX compliance</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ystems integrations </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ystems selections</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charset="2"/>
              <a:buChar char="§"/>
              <a:tabLst/>
              <a:defRPr/>
            </a:pPr>
            <a:r>
              <a:rPr kumimoji="0" lang="en-US" sz="1200" b="0" i="0" u="none" strike="noStrike" kern="1200" cap="none" spc="0" normalizeH="0" baseline="0" noProof="0">
                <a:ln>
                  <a:noFill/>
                </a:ln>
                <a:solidFill>
                  <a:srgbClr val="888B8D">
                    <a:lumMod val="50000"/>
                  </a:srgbClr>
                </a:solidFill>
                <a:effectLst/>
                <a:uLnTx/>
                <a:uFillTx/>
                <a:latin typeface="Arial"/>
                <a:ea typeface="+mn-ea"/>
                <a:cs typeface="Arial" panose="020B0604020202020204" pitchFamily="34" charset="0"/>
              </a:rPr>
              <a:t>System Implementations</a:t>
            </a:r>
          </a:p>
        </p:txBody>
      </p:sp>
      <p:grpSp>
        <p:nvGrpSpPr>
          <p:cNvPr id="10" name="Agrupar 20">
            <a:extLst>
              <a:ext uri="{FF2B5EF4-FFF2-40B4-BE49-F238E27FC236}">
                <a16:creationId xmlns:a16="http://schemas.microsoft.com/office/drawing/2014/main" id="{910BB36E-4F24-937C-7B37-66C7CFCB6407}"/>
              </a:ext>
            </a:extLst>
          </p:cNvPr>
          <p:cNvGrpSpPr/>
          <p:nvPr/>
        </p:nvGrpSpPr>
        <p:grpSpPr>
          <a:xfrm>
            <a:off x="657809" y="1459173"/>
            <a:ext cx="7793052" cy="527654"/>
            <a:chOff x="508000" y="2077107"/>
            <a:chExt cx="9646253" cy="667838"/>
          </a:xfrm>
        </p:grpSpPr>
        <p:sp>
          <p:nvSpPr>
            <p:cNvPr id="18" name="Elipse 17">
              <a:extLst>
                <a:ext uri="{FF2B5EF4-FFF2-40B4-BE49-F238E27FC236}">
                  <a16:creationId xmlns:a16="http://schemas.microsoft.com/office/drawing/2014/main" id="{95A8B835-C1EE-E80F-7EDD-E9B9397372BF}"/>
                </a:ext>
              </a:extLst>
            </p:cNvPr>
            <p:cNvSpPr/>
            <p:nvPr/>
          </p:nvSpPr>
          <p:spPr>
            <a:xfrm>
              <a:off x="508000" y="2077108"/>
              <a:ext cx="667837" cy="667837"/>
            </a:xfrm>
            <a:prstGeom prst="ellipse">
              <a:avLst/>
            </a:prstGeom>
            <a:solidFill>
              <a:srgbClr val="00153D"/>
            </a:solidFill>
            <a:ln w="4445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9" name="Elipse 18">
              <a:extLst>
                <a:ext uri="{FF2B5EF4-FFF2-40B4-BE49-F238E27FC236}">
                  <a16:creationId xmlns:a16="http://schemas.microsoft.com/office/drawing/2014/main" id="{36A72A81-6E3E-1954-3E6A-894434A01108}"/>
                </a:ext>
              </a:extLst>
            </p:cNvPr>
            <p:cNvSpPr/>
            <p:nvPr/>
          </p:nvSpPr>
          <p:spPr>
            <a:xfrm>
              <a:off x="5000977" y="2077108"/>
              <a:ext cx="667837" cy="667837"/>
            </a:xfrm>
            <a:prstGeom prst="ellipse">
              <a:avLst/>
            </a:prstGeom>
            <a:solidFill>
              <a:schemeClr val="accent1"/>
            </a:solidFill>
            <a:ln w="4445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Elipse 19">
              <a:extLst>
                <a:ext uri="{FF2B5EF4-FFF2-40B4-BE49-F238E27FC236}">
                  <a16:creationId xmlns:a16="http://schemas.microsoft.com/office/drawing/2014/main" id="{A5BA9B20-D348-F7D6-68ED-568E6AC52142}"/>
                </a:ext>
              </a:extLst>
            </p:cNvPr>
            <p:cNvSpPr/>
            <p:nvPr/>
          </p:nvSpPr>
          <p:spPr>
            <a:xfrm>
              <a:off x="9486416" y="2077107"/>
              <a:ext cx="667837" cy="667837"/>
            </a:xfrm>
            <a:prstGeom prst="ellipse">
              <a:avLst/>
            </a:prstGeom>
            <a:solidFill>
              <a:schemeClr val="accent2">
                <a:lumMod val="60000"/>
                <a:lumOff val="40000"/>
              </a:schemeClr>
            </a:solidFill>
            <a:ln w="4445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1" name="Imagen 2">
            <a:extLst>
              <a:ext uri="{FF2B5EF4-FFF2-40B4-BE49-F238E27FC236}">
                <a16:creationId xmlns:a16="http://schemas.microsoft.com/office/drawing/2014/main" id="{3E4B856F-BC02-C2D4-46FE-5751FBEC83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966" y="1540599"/>
            <a:ext cx="346285" cy="346285"/>
          </a:xfrm>
          <a:prstGeom prst="rect">
            <a:avLst/>
          </a:prstGeom>
        </p:spPr>
      </p:pic>
      <p:pic>
        <p:nvPicPr>
          <p:cNvPr id="22" name="Imagen 13">
            <a:extLst>
              <a:ext uri="{FF2B5EF4-FFF2-40B4-BE49-F238E27FC236}">
                <a16:creationId xmlns:a16="http://schemas.microsoft.com/office/drawing/2014/main" id="{7FEE7A82-21AD-5703-C842-60140ABD3DD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89152" y="1563691"/>
            <a:ext cx="300099" cy="300099"/>
          </a:xfrm>
          <a:prstGeom prst="rect">
            <a:avLst/>
          </a:prstGeom>
        </p:spPr>
      </p:pic>
      <p:pic>
        <p:nvPicPr>
          <p:cNvPr id="23" name="Imagen 21">
            <a:extLst>
              <a:ext uri="{FF2B5EF4-FFF2-40B4-BE49-F238E27FC236}">
                <a16:creationId xmlns:a16="http://schemas.microsoft.com/office/drawing/2014/main" id="{4D622EB5-1C05-EBA9-929A-26B7D50BDE7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01750" y="1516467"/>
            <a:ext cx="347323" cy="347323"/>
          </a:xfrm>
          <a:prstGeom prst="rect">
            <a:avLst/>
          </a:prstGeom>
        </p:spPr>
      </p:pic>
    </p:spTree>
    <p:extLst>
      <p:ext uri="{BB962C8B-B14F-4D97-AF65-F5344CB8AC3E}">
        <p14:creationId xmlns:p14="http://schemas.microsoft.com/office/powerpoint/2010/main" val="41773226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p:nvPr/>
        </p:nvSpPr>
        <p:spPr>
          <a:xfrm>
            <a:off x="6074871" y="3415561"/>
            <a:ext cx="5060806" cy="783443"/>
          </a:xfrm>
          <a:prstGeom prst="rect">
            <a:avLst/>
          </a:prstGeom>
        </p:spPr>
        <p:txBody>
          <a:bodyPr vert="horz" wrap="square" lIns="0" tIns="8659" rIns="0" bIns="0" rtlCol="0">
            <a:spAutoFit/>
          </a:bodyPr>
          <a:lstStyle/>
          <a:p>
            <a:pPr marL="8659" marR="3464">
              <a:lnSpc>
                <a:spcPct val="107100"/>
              </a:lnSpc>
              <a:spcBef>
                <a:spcPts val="68"/>
              </a:spcBef>
            </a:pPr>
            <a:r>
              <a:rPr sz="955">
                <a:solidFill>
                  <a:srgbClr val="626666"/>
                </a:solidFill>
                <a:latin typeface="Arial"/>
                <a:cs typeface="Arial"/>
              </a:rPr>
              <a:t>Our</a:t>
            </a:r>
            <a:r>
              <a:rPr sz="955" spc="-27">
                <a:solidFill>
                  <a:srgbClr val="626666"/>
                </a:solidFill>
                <a:latin typeface="Arial"/>
                <a:cs typeface="Arial"/>
              </a:rPr>
              <a:t> </a:t>
            </a:r>
            <a:r>
              <a:rPr sz="955">
                <a:solidFill>
                  <a:srgbClr val="626666"/>
                </a:solidFill>
                <a:latin typeface="Arial"/>
                <a:cs typeface="Arial"/>
              </a:rPr>
              <a:t>government</a:t>
            </a:r>
            <a:r>
              <a:rPr sz="955" spc="-34">
                <a:solidFill>
                  <a:srgbClr val="626666"/>
                </a:solidFill>
                <a:latin typeface="Arial"/>
                <a:cs typeface="Arial"/>
              </a:rPr>
              <a:t> </a:t>
            </a:r>
            <a:r>
              <a:rPr sz="955">
                <a:solidFill>
                  <a:srgbClr val="626666"/>
                </a:solidFill>
                <a:latin typeface="Arial"/>
                <a:cs typeface="Arial"/>
              </a:rPr>
              <a:t>contract</a:t>
            </a:r>
            <a:r>
              <a:rPr sz="955" spc="-34">
                <a:solidFill>
                  <a:srgbClr val="626666"/>
                </a:solidFill>
                <a:latin typeface="Arial"/>
                <a:cs typeface="Arial"/>
              </a:rPr>
              <a:t> </a:t>
            </a:r>
            <a:r>
              <a:rPr sz="955">
                <a:solidFill>
                  <a:srgbClr val="626666"/>
                </a:solidFill>
                <a:latin typeface="Arial"/>
                <a:cs typeface="Arial"/>
              </a:rPr>
              <a:t>consulting</a:t>
            </a:r>
            <a:r>
              <a:rPr sz="955" spc="-37">
                <a:solidFill>
                  <a:srgbClr val="626666"/>
                </a:solidFill>
                <a:latin typeface="Arial"/>
                <a:cs typeface="Arial"/>
              </a:rPr>
              <a:t> </a:t>
            </a:r>
            <a:r>
              <a:rPr sz="955">
                <a:solidFill>
                  <a:srgbClr val="626666"/>
                </a:solidFill>
                <a:latin typeface="Arial"/>
                <a:cs typeface="Arial"/>
              </a:rPr>
              <a:t>professionals</a:t>
            </a:r>
            <a:r>
              <a:rPr sz="955" spc="-41">
                <a:solidFill>
                  <a:srgbClr val="626666"/>
                </a:solidFill>
                <a:latin typeface="Arial"/>
                <a:cs typeface="Arial"/>
              </a:rPr>
              <a:t> </a:t>
            </a:r>
            <a:r>
              <a:rPr sz="955">
                <a:solidFill>
                  <a:srgbClr val="626666"/>
                </a:solidFill>
                <a:latin typeface="Arial"/>
                <a:cs typeface="Arial"/>
              </a:rPr>
              <a:t>provide</a:t>
            </a:r>
            <a:r>
              <a:rPr sz="955" spc="-24">
                <a:solidFill>
                  <a:srgbClr val="626666"/>
                </a:solidFill>
                <a:latin typeface="Arial"/>
                <a:cs typeface="Arial"/>
              </a:rPr>
              <a:t> </a:t>
            </a:r>
            <a:r>
              <a:rPr sz="955">
                <a:solidFill>
                  <a:srgbClr val="626666"/>
                </a:solidFill>
                <a:latin typeface="Arial"/>
                <a:cs typeface="Arial"/>
              </a:rPr>
              <a:t>strategic</a:t>
            </a:r>
            <a:r>
              <a:rPr sz="955" spc="-41">
                <a:solidFill>
                  <a:srgbClr val="626666"/>
                </a:solidFill>
                <a:latin typeface="Arial"/>
                <a:cs typeface="Arial"/>
              </a:rPr>
              <a:t> </a:t>
            </a:r>
            <a:r>
              <a:rPr sz="955">
                <a:solidFill>
                  <a:srgbClr val="626666"/>
                </a:solidFill>
                <a:latin typeface="Arial"/>
                <a:cs typeface="Arial"/>
              </a:rPr>
              <a:t>compliance</a:t>
            </a:r>
            <a:r>
              <a:rPr sz="955" spc="-41">
                <a:solidFill>
                  <a:srgbClr val="626666"/>
                </a:solidFill>
                <a:latin typeface="Arial"/>
                <a:cs typeface="Arial"/>
              </a:rPr>
              <a:t> </a:t>
            </a:r>
            <a:r>
              <a:rPr sz="955">
                <a:solidFill>
                  <a:srgbClr val="626666"/>
                </a:solidFill>
                <a:latin typeface="Arial"/>
                <a:cs typeface="Arial"/>
              </a:rPr>
              <a:t>support</a:t>
            </a:r>
            <a:r>
              <a:rPr sz="955" spc="-37">
                <a:solidFill>
                  <a:srgbClr val="626666"/>
                </a:solidFill>
                <a:latin typeface="Arial"/>
                <a:cs typeface="Arial"/>
              </a:rPr>
              <a:t> </a:t>
            </a:r>
            <a:r>
              <a:rPr sz="955" spc="-17">
                <a:solidFill>
                  <a:srgbClr val="626666"/>
                </a:solidFill>
                <a:latin typeface="Arial"/>
                <a:cs typeface="Arial"/>
              </a:rPr>
              <a:t>to </a:t>
            </a:r>
            <a:r>
              <a:rPr sz="955">
                <a:solidFill>
                  <a:srgbClr val="626666"/>
                </a:solidFill>
                <a:latin typeface="Arial"/>
                <a:cs typeface="Arial"/>
              </a:rPr>
              <a:t>organizations</a:t>
            </a:r>
            <a:r>
              <a:rPr sz="955" spc="-37">
                <a:solidFill>
                  <a:srgbClr val="626666"/>
                </a:solidFill>
                <a:latin typeface="Arial"/>
                <a:cs typeface="Arial"/>
              </a:rPr>
              <a:t> </a:t>
            </a:r>
            <a:r>
              <a:rPr sz="955">
                <a:solidFill>
                  <a:srgbClr val="626666"/>
                </a:solidFill>
                <a:latin typeface="Arial"/>
                <a:cs typeface="Arial"/>
              </a:rPr>
              <a:t>that</a:t>
            </a:r>
            <a:r>
              <a:rPr sz="955" spc="-31">
                <a:solidFill>
                  <a:srgbClr val="626666"/>
                </a:solidFill>
                <a:latin typeface="Arial"/>
                <a:cs typeface="Arial"/>
              </a:rPr>
              <a:t> </a:t>
            </a:r>
            <a:r>
              <a:rPr sz="955">
                <a:solidFill>
                  <a:srgbClr val="626666"/>
                </a:solidFill>
                <a:latin typeface="Arial"/>
                <a:cs typeface="Arial"/>
              </a:rPr>
              <a:t>receive</a:t>
            </a:r>
            <a:r>
              <a:rPr sz="955" spc="-24">
                <a:solidFill>
                  <a:srgbClr val="626666"/>
                </a:solidFill>
                <a:latin typeface="Arial"/>
                <a:cs typeface="Arial"/>
              </a:rPr>
              <a:t> </a:t>
            </a:r>
            <a:r>
              <a:rPr sz="955">
                <a:solidFill>
                  <a:srgbClr val="626666"/>
                </a:solidFill>
                <a:latin typeface="Arial"/>
                <a:cs typeface="Arial"/>
              </a:rPr>
              <a:t>contracts,</a:t>
            </a:r>
            <a:r>
              <a:rPr sz="955" spc="-34">
                <a:solidFill>
                  <a:srgbClr val="626666"/>
                </a:solidFill>
                <a:latin typeface="Arial"/>
                <a:cs typeface="Arial"/>
              </a:rPr>
              <a:t> </a:t>
            </a:r>
            <a:r>
              <a:rPr sz="955">
                <a:solidFill>
                  <a:srgbClr val="626666"/>
                </a:solidFill>
                <a:latin typeface="Arial"/>
                <a:cs typeface="Arial"/>
              </a:rPr>
              <a:t>agreements</a:t>
            </a:r>
            <a:r>
              <a:rPr sz="955" spc="-37">
                <a:solidFill>
                  <a:srgbClr val="626666"/>
                </a:solidFill>
                <a:latin typeface="Arial"/>
                <a:cs typeface="Arial"/>
              </a:rPr>
              <a:t> </a:t>
            </a:r>
            <a:r>
              <a:rPr sz="955">
                <a:solidFill>
                  <a:srgbClr val="626666"/>
                </a:solidFill>
                <a:latin typeface="Arial"/>
                <a:cs typeface="Arial"/>
              </a:rPr>
              <a:t>and/or</a:t>
            </a:r>
            <a:r>
              <a:rPr sz="955" spc="-34">
                <a:solidFill>
                  <a:srgbClr val="626666"/>
                </a:solidFill>
                <a:latin typeface="Arial"/>
                <a:cs typeface="Arial"/>
              </a:rPr>
              <a:t> </a:t>
            </a:r>
            <a:r>
              <a:rPr sz="955">
                <a:solidFill>
                  <a:srgbClr val="626666"/>
                </a:solidFill>
                <a:latin typeface="Arial"/>
                <a:cs typeface="Arial"/>
              </a:rPr>
              <a:t>grant</a:t>
            </a:r>
            <a:r>
              <a:rPr sz="955" spc="-31">
                <a:solidFill>
                  <a:srgbClr val="626666"/>
                </a:solidFill>
                <a:latin typeface="Arial"/>
                <a:cs typeface="Arial"/>
              </a:rPr>
              <a:t> </a:t>
            </a:r>
            <a:r>
              <a:rPr sz="955">
                <a:solidFill>
                  <a:srgbClr val="626666"/>
                </a:solidFill>
                <a:latin typeface="Arial"/>
                <a:cs typeface="Arial"/>
              </a:rPr>
              <a:t>awards</a:t>
            </a:r>
            <a:r>
              <a:rPr sz="955" spc="-20">
                <a:solidFill>
                  <a:srgbClr val="626666"/>
                </a:solidFill>
                <a:latin typeface="Arial"/>
                <a:cs typeface="Arial"/>
              </a:rPr>
              <a:t> </a:t>
            </a:r>
            <a:r>
              <a:rPr sz="955">
                <a:solidFill>
                  <a:srgbClr val="626666"/>
                </a:solidFill>
                <a:latin typeface="Arial"/>
                <a:cs typeface="Arial"/>
              </a:rPr>
              <a:t>from</a:t>
            </a:r>
            <a:r>
              <a:rPr sz="955" spc="-24">
                <a:solidFill>
                  <a:srgbClr val="626666"/>
                </a:solidFill>
                <a:latin typeface="Arial"/>
                <a:cs typeface="Arial"/>
              </a:rPr>
              <a:t> </a:t>
            </a:r>
            <a:r>
              <a:rPr sz="955" spc="-7">
                <a:solidFill>
                  <a:srgbClr val="626666"/>
                </a:solidFill>
                <a:latin typeface="Arial"/>
                <a:cs typeface="Arial"/>
              </a:rPr>
              <a:t>federal</a:t>
            </a:r>
            <a:r>
              <a:rPr sz="955" spc="341">
                <a:solidFill>
                  <a:srgbClr val="626666"/>
                </a:solidFill>
                <a:latin typeface="Arial"/>
                <a:cs typeface="Arial"/>
              </a:rPr>
              <a:t> </a:t>
            </a:r>
            <a:r>
              <a:rPr sz="955">
                <a:solidFill>
                  <a:srgbClr val="626666"/>
                </a:solidFill>
                <a:latin typeface="Arial"/>
                <a:cs typeface="Arial"/>
              </a:rPr>
              <a:t>government</a:t>
            </a:r>
            <a:r>
              <a:rPr sz="955" spc="-31">
                <a:solidFill>
                  <a:srgbClr val="626666"/>
                </a:solidFill>
                <a:latin typeface="Arial"/>
                <a:cs typeface="Arial"/>
              </a:rPr>
              <a:t> </a:t>
            </a:r>
            <a:r>
              <a:rPr sz="955">
                <a:solidFill>
                  <a:srgbClr val="626666"/>
                </a:solidFill>
                <a:latin typeface="Arial"/>
                <a:cs typeface="Arial"/>
              </a:rPr>
              <a:t>agencies.</a:t>
            </a:r>
            <a:r>
              <a:rPr sz="955" spc="-34">
                <a:solidFill>
                  <a:srgbClr val="626666"/>
                </a:solidFill>
                <a:latin typeface="Arial"/>
                <a:cs typeface="Arial"/>
              </a:rPr>
              <a:t> </a:t>
            </a:r>
            <a:r>
              <a:rPr sz="955">
                <a:solidFill>
                  <a:srgbClr val="626666"/>
                </a:solidFill>
                <a:latin typeface="Arial"/>
                <a:cs typeface="Arial"/>
              </a:rPr>
              <a:t>We</a:t>
            </a:r>
            <a:r>
              <a:rPr sz="955" spc="-27">
                <a:solidFill>
                  <a:srgbClr val="626666"/>
                </a:solidFill>
                <a:latin typeface="Arial"/>
                <a:cs typeface="Arial"/>
              </a:rPr>
              <a:t> </a:t>
            </a:r>
            <a:r>
              <a:rPr sz="955">
                <a:solidFill>
                  <a:srgbClr val="626666"/>
                </a:solidFill>
                <a:latin typeface="Arial"/>
                <a:cs typeface="Arial"/>
              </a:rPr>
              <a:t>are</a:t>
            </a:r>
            <a:r>
              <a:rPr sz="955" spc="-24">
                <a:solidFill>
                  <a:srgbClr val="626666"/>
                </a:solidFill>
                <a:latin typeface="Arial"/>
                <a:cs typeface="Arial"/>
              </a:rPr>
              <a:t> </a:t>
            </a:r>
            <a:r>
              <a:rPr sz="955">
                <a:solidFill>
                  <a:srgbClr val="626666"/>
                </a:solidFill>
                <a:latin typeface="Arial"/>
                <a:cs typeface="Arial"/>
              </a:rPr>
              <a:t>first-choice</a:t>
            </a:r>
            <a:r>
              <a:rPr sz="955" spc="-37">
                <a:solidFill>
                  <a:srgbClr val="626666"/>
                </a:solidFill>
                <a:latin typeface="Arial"/>
                <a:cs typeface="Arial"/>
              </a:rPr>
              <a:t> </a:t>
            </a:r>
            <a:r>
              <a:rPr sz="955">
                <a:solidFill>
                  <a:srgbClr val="626666"/>
                </a:solidFill>
                <a:latin typeface="Arial"/>
                <a:cs typeface="Arial"/>
              </a:rPr>
              <a:t>advisors</a:t>
            </a:r>
            <a:r>
              <a:rPr sz="955" spc="-14">
                <a:solidFill>
                  <a:srgbClr val="626666"/>
                </a:solidFill>
                <a:latin typeface="Arial"/>
                <a:cs typeface="Arial"/>
              </a:rPr>
              <a:t> </a:t>
            </a:r>
            <a:r>
              <a:rPr sz="955">
                <a:solidFill>
                  <a:srgbClr val="626666"/>
                </a:solidFill>
                <a:latin typeface="Arial"/>
                <a:cs typeface="Arial"/>
              </a:rPr>
              <a:t>who</a:t>
            </a:r>
            <a:r>
              <a:rPr sz="955" spc="-17">
                <a:solidFill>
                  <a:srgbClr val="626666"/>
                </a:solidFill>
                <a:latin typeface="Arial"/>
                <a:cs typeface="Arial"/>
              </a:rPr>
              <a:t> </a:t>
            </a:r>
            <a:r>
              <a:rPr sz="955">
                <a:solidFill>
                  <a:srgbClr val="626666"/>
                </a:solidFill>
                <a:latin typeface="Arial"/>
                <a:cs typeface="Arial"/>
              </a:rPr>
              <a:t>help</a:t>
            </a:r>
            <a:r>
              <a:rPr sz="955" spc="-14">
                <a:solidFill>
                  <a:srgbClr val="626666"/>
                </a:solidFill>
                <a:latin typeface="Arial"/>
                <a:cs typeface="Arial"/>
              </a:rPr>
              <a:t> </a:t>
            </a:r>
            <a:r>
              <a:rPr sz="955">
                <a:solidFill>
                  <a:srgbClr val="626666"/>
                </a:solidFill>
                <a:latin typeface="Arial"/>
                <a:cs typeface="Arial"/>
              </a:rPr>
              <a:t>our</a:t>
            </a:r>
            <a:r>
              <a:rPr sz="955" spc="-20">
                <a:solidFill>
                  <a:srgbClr val="626666"/>
                </a:solidFill>
                <a:latin typeface="Arial"/>
                <a:cs typeface="Arial"/>
              </a:rPr>
              <a:t> </a:t>
            </a:r>
            <a:r>
              <a:rPr sz="955">
                <a:solidFill>
                  <a:srgbClr val="626666"/>
                </a:solidFill>
                <a:latin typeface="Arial"/>
                <a:cs typeface="Arial"/>
              </a:rPr>
              <a:t>clients</a:t>
            </a:r>
            <a:r>
              <a:rPr sz="955" spc="-34">
                <a:solidFill>
                  <a:srgbClr val="626666"/>
                </a:solidFill>
                <a:latin typeface="Arial"/>
                <a:cs typeface="Arial"/>
              </a:rPr>
              <a:t> </a:t>
            </a:r>
            <a:r>
              <a:rPr sz="955">
                <a:solidFill>
                  <a:srgbClr val="626666"/>
                </a:solidFill>
                <a:latin typeface="Arial"/>
                <a:cs typeface="Arial"/>
              </a:rPr>
              <a:t>solve</a:t>
            </a:r>
            <a:r>
              <a:rPr sz="955" spc="-14">
                <a:solidFill>
                  <a:srgbClr val="626666"/>
                </a:solidFill>
                <a:latin typeface="Arial"/>
                <a:cs typeface="Arial"/>
              </a:rPr>
              <a:t> </a:t>
            </a:r>
            <a:r>
              <a:rPr sz="955">
                <a:solidFill>
                  <a:srgbClr val="626666"/>
                </a:solidFill>
                <a:latin typeface="Arial"/>
                <a:cs typeface="Arial"/>
              </a:rPr>
              <a:t>their</a:t>
            </a:r>
            <a:r>
              <a:rPr sz="955" spc="-20">
                <a:solidFill>
                  <a:srgbClr val="626666"/>
                </a:solidFill>
                <a:latin typeface="Arial"/>
                <a:cs typeface="Arial"/>
              </a:rPr>
              <a:t> </a:t>
            </a:r>
            <a:r>
              <a:rPr sz="955" spc="-14">
                <a:solidFill>
                  <a:srgbClr val="626666"/>
                </a:solidFill>
                <a:latin typeface="Arial"/>
                <a:cs typeface="Arial"/>
              </a:rPr>
              <a:t>most </a:t>
            </a:r>
            <a:r>
              <a:rPr sz="955">
                <a:solidFill>
                  <a:srgbClr val="626666"/>
                </a:solidFill>
                <a:latin typeface="Arial"/>
                <a:cs typeface="Arial"/>
              </a:rPr>
              <a:t>challenging</a:t>
            </a:r>
            <a:r>
              <a:rPr sz="955" spc="-48">
                <a:solidFill>
                  <a:srgbClr val="626666"/>
                </a:solidFill>
                <a:latin typeface="Arial"/>
                <a:cs typeface="Arial"/>
              </a:rPr>
              <a:t> </a:t>
            </a:r>
            <a:r>
              <a:rPr sz="955">
                <a:solidFill>
                  <a:srgbClr val="626666"/>
                </a:solidFill>
                <a:latin typeface="Arial"/>
                <a:cs typeface="Arial"/>
              </a:rPr>
              <a:t>cost</a:t>
            </a:r>
            <a:r>
              <a:rPr sz="955" spc="-27">
                <a:solidFill>
                  <a:srgbClr val="626666"/>
                </a:solidFill>
                <a:latin typeface="Arial"/>
                <a:cs typeface="Arial"/>
              </a:rPr>
              <a:t> </a:t>
            </a:r>
            <a:r>
              <a:rPr sz="955">
                <a:solidFill>
                  <a:srgbClr val="626666"/>
                </a:solidFill>
                <a:latin typeface="Arial"/>
                <a:cs typeface="Arial"/>
              </a:rPr>
              <a:t>accounting,</a:t>
            </a:r>
            <a:r>
              <a:rPr sz="955" spc="-41">
                <a:solidFill>
                  <a:srgbClr val="626666"/>
                </a:solidFill>
                <a:latin typeface="Arial"/>
                <a:cs typeface="Arial"/>
              </a:rPr>
              <a:t> </a:t>
            </a:r>
            <a:r>
              <a:rPr sz="955">
                <a:solidFill>
                  <a:srgbClr val="626666"/>
                </a:solidFill>
                <a:latin typeface="Arial"/>
                <a:cs typeface="Arial"/>
              </a:rPr>
              <a:t>pricing,</a:t>
            </a:r>
            <a:r>
              <a:rPr sz="955" spc="-34">
                <a:solidFill>
                  <a:srgbClr val="626666"/>
                </a:solidFill>
                <a:latin typeface="Arial"/>
                <a:cs typeface="Arial"/>
              </a:rPr>
              <a:t> </a:t>
            </a:r>
            <a:r>
              <a:rPr sz="955">
                <a:solidFill>
                  <a:srgbClr val="626666"/>
                </a:solidFill>
                <a:latin typeface="Arial"/>
                <a:cs typeface="Arial"/>
              </a:rPr>
              <a:t>and</a:t>
            </a:r>
            <a:r>
              <a:rPr sz="955" spc="-27">
                <a:solidFill>
                  <a:srgbClr val="626666"/>
                </a:solidFill>
                <a:latin typeface="Arial"/>
                <a:cs typeface="Arial"/>
              </a:rPr>
              <a:t> </a:t>
            </a:r>
            <a:r>
              <a:rPr sz="955">
                <a:solidFill>
                  <a:srgbClr val="626666"/>
                </a:solidFill>
                <a:latin typeface="Arial"/>
                <a:cs typeface="Arial"/>
              </a:rPr>
              <a:t>regulatory</a:t>
            </a:r>
            <a:r>
              <a:rPr sz="955" spc="-41">
                <a:solidFill>
                  <a:srgbClr val="626666"/>
                </a:solidFill>
                <a:latin typeface="Arial"/>
                <a:cs typeface="Arial"/>
              </a:rPr>
              <a:t> </a:t>
            </a:r>
            <a:r>
              <a:rPr sz="955">
                <a:solidFill>
                  <a:srgbClr val="626666"/>
                </a:solidFill>
                <a:latin typeface="Arial"/>
                <a:cs typeface="Arial"/>
              </a:rPr>
              <a:t>compliance</a:t>
            </a:r>
            <a:r>
              <a:rPr sz="955" spc="-41">
                <a:solidFill>
                  <a:srgbClr val="626666"/>
                </a:solidFill>
                <a:latin typeface="Arial"/>
                <a:cs typeface="Arial"/>
              </a:rPr>
              <a:t> </a:t>
            </a:r>
            <a:r>
              <a:rPr sz="955">
                <a:solidFill>
                  <a:srgbClr val="626666"/>
                </a:solidFill>
                <a:latin typeface="Arial"/>
                <a:cs typeface="Arial"/>
              </a:rPr>
              <a:t>related</a:t>
            </a:r>
            <a:r>
              <a:rPr sz="955" spc="-44">
                <a:solidFill>
                  <a:srgbClr val="626666"/>
                </a:solidFill>
                <a:latin typeface="Arial"/>
                <a:cs typeface="Arial"/>
              </a:rPr>
              <a:t> </a:t>
            </a:r>
            <a:r>
              <a:rPr sz="955">
                <a:solidFill>
                  <a:srgbClr val="626666"/>
                </a:solidFill>
                <a:latin typeface="Arial"/>
                <a:cs typeface="Arial"/>
              </a:rPr>
              <a:t>matters</a:t>
            </a:r>
            <a:r>
              <a:rPr sz="955" spc="-41">
                <a:solidFill>
                  <a:srgbClr val="626666"/>
                </a:solidFill>
                <a:latin typeface="Arial"/>
                <a:cs typeface="Arial"/>
              </a:rPr>
              <a:t> </a:t>
            </a:r>
            <a:r>
              <a:rPr sz="955">
                <a:solidFill>
                  <a:srgbClr val="626666"/>
                </a:solidFill>
                <a:latin typeface="Arial"/>
                <a:cs typeface="Arial"/>
              </a:rPr>
              <a:t>throughout</a:t>
            </a:r>
            <a:r>
              <a:rPr sz="955" spc="-31">
                <a:solidFill>
                  <a:srgbClr val="626666"/>
                </a:solidFill>
                <a:latin typeface="Arial"/>
                <a:cs typeface="Arial"/>
              </a:rPr>
              <a:t> </a:t>
            </a:r>
            <a:r>
              <a:rPr sz="955" spc="-17">
                <a:solidFill>
                  <a:srgbClr val="626666"/>
                </a:solidFill>
                <a:latin typeface="Arial"/>
                <a:cs typeface="Arial"/>
              </a:rPr>
              <a:t>the </a:t>
            </a:r>
            <a:r>
              <a:rPr sz="955">
                <a:solidFill>
                  <a:srgbClr val="626666"/>
                </a:solidFill>
                <a:latin typeface="Arial"/>
                <a:cs typeface="Arial"/>
              </a:rPr>
              <a:t>contract</a:t>
            </a:r>
            <a:r>
              <a:rPr sz="955" spc="-37">
                <a:solidFill>
                  <a:srgbClr val="626666"/>
                </a:solidFill>
                <a:latin typeface="Arial"/>
                <a:cs typeface="Arial"/>
              </a:rPr>
              <a:t> </a:t>
            </a:r>
            <a:r>
              <a:rPr sz="955">
                <a:solidFill>
                  <a:srgbClr val="626666"/>
                </a:solidFill>
                <a:latin typeface="Arial"/>
                <a:cs typeface="Arial"/>
              </a:rPr>
              <a:t>or</a:t>
            </a:r>
            <a:r>
              <a:rPr sz="955" spc="-20">
                <a:solidFill>
                  <a:srgbClr val="626666"/>
                </a:solidFill>
                <a:latin typeface="Arial"/>
                <a:cs typeface="Arial"/>
              </a:rPr>
              <a:t> </a:t>
            </a:r>
            <a:r>
              <a:rPr sz="955">
                <a:solidFill>
                  <a:srgbClr val="626666"/>
                </a:solidFill>
                <a:latin typeface="Arial"/>
                <a:cs typeface="Arial"/>
              </a:rPr>
              <a:t>award</a:t>
            </a:r>
            <a:r>
              <a:rPr sz="955" spc="-14">
                <a:solidFill>
                  <a:srgbClr val="626666"/>
                </a:solidFill>
                <a:latin typeface="Arial"/>
                <a:cs typeface="Arial"/>
              </a:rPr>
              <a:t> </a:t>
            </a:r>
            <a:r>
              <a:rPr sz="955">
                <a:solidFill>
                  <a:srgbClr val="626666"/>
                </a:solidFill>
                <a:latin typeface="Arial"/>
                <a:cs typeface="Arial"/>
              </a:rPr>
              <a:t>life</a:t>
            </a:r>
            <a:r>
              <a:rPr sz="955" spc="-20">
                <a:solidFill>
                  <a:srgbClr val="626666"/>
                </a:solidFill>
                <a:latin typeface="Arial"/>
                <a:cs typeface="Arial"/>
              </a:rPr>
              <a:t> </a:t>
            </a:r>
            <a:r>
              <a:rPr sz="955" spc="-7">
                <a:solidFill>
                  <a:srgbClr val="626666"/>
                </a:solidFill>
                <a:latin typeface="Arial"/>
                <a:cs typeface="Arial"/>
              </a:rPr>
              <a:t>cycle.</a:t>
            </a:r>
            <a:endParaRPr sz="955">
              <a:latin typeface="Arial"/>
              <a:cs typeface="Arial"/>
            </a:endParaRPr>
          </a:p>
        </p:txBody>
      </p:sp>
      <p:sp>
        <p:nvSpPr>
          <p:cNvPr id="3" name="object 3"/>
          <p:cNvSpPr/>
          <p:nvPr/>
        </p:nvSpPr>
        <p:spPr>
          <a:xfrm>
            <a:off x="1085504" y="3432116"/>
            <a:ext cx="4892386" cy="3361459"/>
          </a:xfrm>
          <a:custGeom>
            <a:avLst/>
            <a:gdLst/>
            <a:ahLst/>
            <a:cxnLst/>
            <a:rect l="l" t="t" r="r" b="b"/>
            <a:pathLst>
              <a:path w="7175500" h="4930140">
                <a:moveTo>
                  <a:pt x="7174992" y="0"/>
                </a:moveTo>
                <a:lnTo>
                  <a:pt x="0" y="0"/>
                </a:lnTo>
                <a:lnTo>
                  <a:pt x="0" y="4930140"/>
                </a:lnTo>
                <a:lnTo>
                  <a:pt x="7174992" y="4930140"/>
                </a:lnTo>
                <a:lnTo>
                  <a:pt x="7174992" y="0"/>
                </a:lnTo>
                <a:close/>
              </a:path>
            </a:pathLst>
          </a:custGeom>
          <a:solidFill>
            <a:srgbClr val="E7E8E8"/>
          </a:solidFill>
        </p:spPr>
        <p:txBody>
          <a:bodyPr wrap="square" lIns="0" tIns="0" rIns="0" bIns="0" rtlCol="0"/>
          <a:lstStyle/>
          <a:p>
            <a:endParaRPr sz="1454"/>
          </a:p>
        </p:txBody>
      </p:sp>
      <p:sp>
        <p:nvSpPr>
          <p:cNvPr id="4" name="object 4"/>
          <p:cNvSpPr txBox="1"/>
          <p:nvPr/>
        </p:nvSpPr>
        <p:spPr>
          <a:xfrm>
            <a:off x="1278151" y="3487881"/>
            <a:ext cx="2446626" cy="197578"/>
          </a:xfrm>
          <a:prstGeom prst="rect">
            <a:avLst/>
          </a:prstGeom>
        </p:spPr>
        <p:txBody>
          <a:bodyPr vert="horz" wrap="square" lIns="0" tIns="8659" rIns="0" bIns="0" rtlCol="0">
            <a:spAutoFit/>
          </a:bodyPr>
          <a:lstStyle/>
          <a:p>
            <a:pPr>
              <a:spcBef>
                <a:spcPts val="68"/>
              </a:spcBef>
              <a:tabLst>
                <a:tab pos="985378" algn="l"/>
                <a:tab pos="1729174" algn="l"/>
              </a:tabLst>
            </a:pPr>
            <a:r>
              <a:rPr sz="1227" b="1">
                <a:solidFill>
                  <a:srgbClr val="626666"/>
                </a:solidFill>
                <a:latin typeface="Arial"/>
                <a:cs typeface="Arial"/>
              </a:rPr>
              <a:t>F</a:t>
            </a:r>
            <a:r>
              <a:rPr sz="1227" b="1" spc="-136">
                <a:solidFill>
                  <a:srgbClr val="626666"/>
                </a:solidFill>
                <a:latin typeface="Arial"/>
                <a:cs typeface="Arial"/>
              </a:rPr>
              <a:t> </a:t>
            </a:r>
            <a:r>
              <a:rPr sz="1227" b="1">
                <a:solidFill>
                  <a:srgbClr val="626666"/>
                </a:solidFill>
                <a:latin typeface="Arial"/>
                <a:cs typeface="Arial"/>
              </a:rPr>
              <a:t>e</a:t>
            </a:r>
            <a:r>
              <a:rPr sz="1227" b="1" spc="-143">
                <a:solidFill>
                  <a:srgbClr val="626666"/>
                </a:solidFill>
                <a:latin typeface="Arial"/>
                <a:cs typeface="Arial"/>
              </a:rPr>
              <a:t> </a:t>
            </a:r>
            <a:r>
              <a:rPr sz="1227" b="1">
                <a:solidFill>
                  <a:srgbClr val="626666"/>
                </a:solidFill>
                <a:latin typeface="Arial"/>
                <a:cs typeface="Arial"/>
              </a:rPr>
              <a:t>d</a:t>
            </a:r>
            <a:r>
              <a:rPr sz="1227" b="1" spc="-136">
                <a:solidFill>
                  <a:srgbClr val="626666"/>
                </a:solidFill>
                <a:latin typeface="Arial"/>
                <a:cs typeface="Arial"/>
              </a:rPr>
              <a:t> </a:t>
            </a:r>
            <a:r>
              <a:rPr sz="1227" b="1">
                <a:solidFill>
                  <a:srgbClr val="626666"/>
                </a:solidFill>
                <a:latin typeface="Arial"/>
                <a:cs typeface="Arial"/>
              </a:rPr>
              <a:t>e</a:t>
            </a:r>
            <a:r>
              <a:rPr sz="1227" b="1" spc="-143">
                <a:solidFill>
                  <a:srgbClr val="626666"/>
                </a:solidFill>
                <a:latin typeface="Arial"/>
                <a:cs typeface="Arial"/>
              </a:rPr>
              <a:t> </a:t>
            </a:r>
            <a:r>
              <a:rPr sz="1227" b="1">
                <a:solidFill>
                  <a:srgbClr val="626666"/>
                </a:solidFill>
                <a:latin typeface="Arial"/>
                <a:cs typeface="Arial"/>
              </a:rPr>
              <a:t>r</a:t>
            </a:r>
            <a:r>
              <a:rPr sz="1227" b="1" spc="-143">
                <a:solidFill>
                  <a:srgbClr val="626666"/>
                </a:solidFill>
                <a:latin typeface="Arial"/>
                <a:cs typeface="Arial"/>
              </a:rPr>
              <a:t> </a:t>
            </a:r>
            <a:r>
              <a:rPr sz="1227" b="1">
                <a:solidFill>
                  <a:srgbClr val="626666"/>
                </a:solidFill>
                <a:latin typeface="Arial"/>
                <a:cs typeface="Arial"/>
              </a:rPr>
              <a:t>a</a:t>
            </a:r>
            <a:r>
              <a:rPr sz="1227" b="1" spc="-143">
                <a:solidFill>
                  <a:srgbClr val="626666"/>
                </a:solidFill>
                <a:latin typeface="Arial"/>
                <a:cs typeface="Arial"/>
              </a:rPr>
              <a:t> </a:t>
            </a:r>
            <a:r>
              <a:rPr sz="1227" b="1">
                <a:solidFill>
                  <a:srgbClr val="626666"/>
                </a:solidFill>
                <a:latin typeface="Arial"/>
                <a:cs typeface="Arial"/>
              </a:rPr>
              <a:t>l</a:t>
            </a:r>
            <a:r>
              <a:rPr sz="1227" b="1" spc="-136">
                <a:solidFill>
                  <a:srgbClr val="626666"/>
                </a:solidFill>
                <a:latin typeface="Arial"/>
                <a:cs typeface="Arial"/>
              </a:rPr>
              <a:t> </a:t>
            </a:r>
            <a:r>
              <a:rPr sz="1227" b="1">
                <a:solidFill>
                  <a:srgbClr val="626666"/>
                </a:solidFill>
                <a:latin typeface="Arial"/>
                <a:cs typeface="Arial"/>
              </a:rPr>
              <a:t>l</a:t>
            </a:r>
            <a:r>
              <a:rPr sz="1227" b="1" spc="-136">
                <a:solidFill>
                  <a:srgbClr val="626666"/>
                </a:solidFill>
                <a:latin typeface="Arial"/>
                <a:cs typeface="Arial"/>
              </a:rPr>
              <a:t> </a:t>
            </a:r>
            <a:r>
              <a:rPr sz="1227" b="1" spc="-34">
                <a:solidFill>
                  <a:srgbClr val="626666"/>
                </a:solidFill>
                <a:latin typeface="Arial"/>
                <a:cs typeface="Arial"/>
              </a:rPr>
              <a:t>y</a:t>
            </a:r>
            <a:r>
              <a:rPr sz="1227" b="1">
                <a:solidFill>
                  <a:srgbClr val="626666"/>
                </a:solidFill>
                <a:latin typeface="Arial"/>
                <a:cs typeface="Arial"/>
              </a:rPr>
              <a:t>	f</a:t>
            </a:r>
            <a:r>
              <a:rPr sz="1227" b="1" spc="-139">
                <a:solidFill>
                  <a:srgbClr val="626666"/>
                </a:solidFill>
                <a:latin typeface="Arial"/>
                <a:cs typeface="Arial"/>
              </a:rPr>
              <a:t> </a:t>
            </a:r>
            <a:r>
              <a:rPr sz="1227" b="1">
                <a:solidFill>
                  <a:srgbClr val="626666"/>
                </a:solidFill>
                <a:latin typeface="Arial"/>
                <a:cs typeface="Arial"/>
              </a:rPr>
              <a:t>u</a:t>
            </a:r>
            <a:r>
              <a:rPr sz="1227" b="1" spc="-136">
                <a:solidFill>
                  <a:srgbClr val="626666"/>
                </a:solidFill>
                <a:latin typeface="Arial"/>
                <a:cs typeface="Arial"/>
              </a:rPr>
              <a:t> </a:t>
            </a:r>
            <a:r>
              <a:rPr sz="1227" b="1">
                <a:solidFill>
                  <a:srgbClr val="626666"/>
                </a:solidFill>
                <a:latin typeface="Arial"/>
                <a:cs typeface="Arial"/>
              </a:rPr>
              <a:t>n</a:t>
            </a:r>
            <a:r>
              <a:rPr sz="1227" b="1" spc="-136">
                <a:solidFill>
                  <a:srgbClr val="626666"/>
                </a:solidFill>
                <a:latin typeface="Arial"/>
                <a:cs typeface="Arial"/>
              </a:rPr>
              <a:t> </a:t>
            </a:r>
            <a:r>
              <a:rPr sz="1227" b="1">
                <a:solidFill>
                  <a:srgbClr val="626666"/>
                </a:solidFill>
                <a:latin typeface="Arial"/>
                <a:cs typeface="Arial"/>
              </a:rPr>
              <a:t>d</a:t>
            </a:r>
            <a:r>
              <a:rPr sz="1227" b="1" spc="-136">
                <a:solidFill>
                  <a:srgbClr val="626666"/>
                </a:solidFill>
                <a:latin typeface="Arial"/>
                <a:cs typeface="Arial"/>
              </a:rPr>
              <a:t> </a:t>
            </a:r>
            <a:r>
              <a:rPr sz="1227" b="1">
                <a:solidFill>
                  <a:srgbClr val="626666"/>
                </a:solidFill>
                <a:latin typeface="Arial"/>
                <a:cs typeface="Arial"/>
              </a:rPr>
              <a:t>e</a:t>
            </a:r>
            <a:r>
              <a:rPr sz="1227" b="1" spc="-143">
                <a:solidFill>
                  <a:srgbClr val="626666"/>
                </a:solidFill>
                <a:latin typeface="Arial"/>
                <a:cs typeface="Arial"/>
              </a:rPr>
              <a:t> </a:t>
            </a:r>
            <a:r>
              <a:rPr sz="1227" b="1" spc="-34">
                <a:solidFill>
                  <a:srgbClr val="626666"/>
                </a:solidFill>
                <a:latin typeface="Arial"/>
                <a:cs typeface="Arial"/>
              </a:rPr>
              <a:t>d</a:t>
            </a:r>
            <a:r>
              <a:rPr sz="1227" b="1">
                <a:solidFill>
                  <a:srgbClr val="626666"/>
                </a:solidFill>
                <a:latin typeface="Arial"/>
                <a:cs typeface="Arial"/>
              </a:rPr>
              <a:t>	s</a:t>
            </a:r>
            <a:r>
              <a:rPr sz="1227" b="1" spc="-143">
                <a:solidFill>
                  <a:srgbClr val="626666"/>
                </a:solidFill>
                <a:latin typeface="Arial"/>
                <a:cs typeface="Arial"/>
              </a:rPr>
              <a:t> </a:t>
            </a:r>
            <a:r>
              <a:rPr sz="1227" b="1">
                <a:solidFill>
                  <a:srgbClr val="626666"/>
                </a:solidFill>
                <a:latin typeface="Arial"/>
                <a:cs typeface="Arial"/>
              </a:rPr>
              <a:t>e</a:t>
            </a:r>
            <a:r>
              <a:rPr sz="1227" b="1" spc="-143">
                <a:solidFill>
                  <a:srgbClr val="626666"/>
                </a:solidFill>
                <a:latin typeface="Arial"/>
                <a:cs typeface="Arial"/>
              </a:rPr>
              <a:t> </a:t>
            </a:r>
            <a:r>
              <a:rPr sz="1227" b="1">
                <a:solidFill>
                  <a:srgbClr val="626666"/>
                </a:solidFill>
                <a:latin typeface="Arial"/>
                <a:cs typeface="Arial"/>
              </a:rPr>
              <a:t>c</a:t>
            </a:r>
            <a:r>
              <a:rPr sz="1227" b="1" spc="-143">
                <a:solidFill>
                  <a:srgbClr val="626666"/>
                </a:solidFill>
                <a:latin typeface="Arial"/>
                <a:cs typeface="Arial"/>
              </a:rPr>
              <a:t> </a:t>
            </a:r>
            <a:r>
              <a:rPr sz="1227" b="1">
                <a:solidFill>
                  <a:srgbClr val="626666"/>
                </a:solidFill>
                <a:latin typeface="Arial"/>
                <a:cs typeface="Arial"/>
              </a:rPr>
              <a:t>t</a:t>
            </a:r>
            <a:r>
              <a:rPr sz="1227" b="1" spc="-139">
                <a:solidFill>
                  <a:srgbClr val="626666"/>
                </a:solidFill>
                <a:latin typeface="Arial"/>
                <a:cs typeface="Arial"/>
              </a:rPr>
              <a:t> </a:t>
            </a:r>
            <a:r>
              <a:rPr sz="1227" b="1">
                <a:solidFill>
                  <a:srgbClr val="626666"/>
                </a:solidFill>
                <a:latin typeface="Arial"/>
                <a:cs typeface="Arial"/>
              </a:rPr>
              <a:t>o</a:t>
            </a:r>
            <a:r>
              <a:rPr sz="1227" b="1" spc="-136">
                <a:solidFill>
                  <a:srgbClr val="626666"/>
                </a:solidFill>
                <a:latin typeface="Arial"/>
                <a:cs typeface="Arial"/>
              </a:rPr>
              <a:t> </a:t>
            </a:r>
            <a:r>
              <a:rPr sz="1227" b="1">
                <a:solidFill>
                  <a:srgbClr val="626666"/>
                </a:solidFill>
                <a:latin typeface="Arial"/>
                <a:cs typeface="Arial"/>
              </a:rPr>
              <a:t>r</a:t>
            </a:r>
            <a:r>
              <a:rPr sz="1227" b="1" spc="-143">
                <a:solidFill>
                  <a:srgbClr val="626666"/>
                </a:solidFill>
                <a:latin typeface="Arial"/>
                <a:cs typeface="Arial"/>
              </a:rPr>
              <a:t> </a:t>
            </a:r>
            <a:r>
              <a:rPr sz="1227" b="1" spc="-34">
                <a:solidFill>
                  <a:srgbClr val="626666"/>
                </a:solidFill>
                <a:latin typeface="Arial"/>
                <a:cs typeface="Arial"/>
              </a:rPr>
              <a:t>s</a:t>
            </a:r>
            <a:endParaRPr sz="1227">
              <a:latin typeface="Arial"/>
              <a:cs typeface="Arial"/>
            </a:endParaRPr>
          </a:p>
        </p:txBody>
      </p:sp>
      <p:sp>
        <p:nvSpPr>
          <p:cNvPr id="5" name="object 5"/>
          <p:cNvSpPr txBox="1"/>
          <p:nvPr/>
        </p:nvSpPr>
        <p:spPr>
          <a:xfrm>
            <a:off x="1276281" y="5664345"/>
            <a:ext cx="2463511" cy="994783"/>
          </a:xfrm>
          <a:prstGeom prst="rect">
            <a:avLst/>
          </a:prstGeom>
        </p:spPr>
        <p:txBody>
          <a:bodyPr vert="horz" wrap="square" lIns="0" tIns="8659" rIns="0" bIns="0" rtlCol="0">
            <a:spAutoFit/>
          </a:bodyPr>
          <a:lstStyle/>
          <a:p>
            <a:pPr marL="117328" indent="-117328">
              <a:spcBef>
                <a:spcPts val="68"/>
              </a:spcBef>
              <a:buChar char="•"/>
              <a:tabLst>
                <a:tab pos="117328" algn="l"/>
              </a:tabLst>
            </a:pPr>
            <a:r>
              <a:rPr sz="818">
                <a:solidFill>
                  <a:srgbClr val="626666"/>
                </a:solidFill>
                <a:latin typeface="Arial"/>
                <a:cs typeface="Arial"/>
              </a:rPr>
              <a:t>Federal</a:t>
            </a:r>
            <a:r>
              <a:rPr sz="818" spc="-20">
                <a:solidFill>
                  <a:srgbClr val="626666"/>
                </a:solidFill>
                <a:latin typeface="Arial"/>
                <a:cs typeface="Arial"/>
              </a:rPr>
              <a:t> </a:t>
            </a:r>
            <a:r>
              <a:rPr sz="818">
                <a:solidFill>
                  <a:srgbClr val="626666"/>
                </a:solidFill>
                <a:latin typeface="Arial"/>
                <a:cs typeface="Arial"/>
              </a:rPr>
              <a:t>acquisition</a:t>
            </a:r>
            <a:r>
              <a:rPr sz="818" spc="-7">
                <a:solidFill>
                  <a:srgbClr val="626666"/>
                </a:solidFill>
                <a:latin typeface="Arial"/>
                <a:cs typeface="Arial"/>
              </a:rPr>
              <a:t> regulation</a:t>
            </a:r>
            <a:r>
              <a:rPr sz="818" spc="-31">
                <a:solidFill>
                  <a:srgbClr val="626666"/>
                </a:solidFill>
                <a:latin typeface="Arial"/>
                <a:cs typeface="Arial"/>
              </a:rPr>
              <a:t> </a:t>
            </a:r>
            <a:r>
              <a:rPr sz="818" spc="-14">
                <a:solidFill>
                  <a:srgbClr val="626666"/>
                </a:solidFill>
                <a:latin typeface="Arial"/>
                <a:cs typeface="Arial"/>
              </a:rPr>
              <a:t>(FAR)</a:t>
            </a:r>
            <a:endParaRPr sz="818">
              <a:latin typeface="Arial"/>
              <a:cs typeface="Arial"/>
            </a:endParaRPr>
          </a:p>
          <a:p>
            <a:pPr marL="117328" indent="-117328">
              <a:buChar char="•"/>
              <a:tabLst>
                <a:tab pos="117328" algn="l"/>
              </a:tabLst>
            </a:pPr>
            <a:r>
              <a:rPr sz="818">
                <a:solidFill>
                  <a:srgbClr val="626666"/>
                </a:solidFill>
                <a:latin typeface="Arial"/>
                <a:cs typeface="Arial"/>
              </a:rPr>
              <a:t>Agency</a:t>
            </a:r>
            <a:r>
              <a:rPr sz="818" spc="-27">
                <a:solidFill>
                  <a:srgbClr val="626666"/>
                </a:solidFill>
                <a:latin typeface="Arial"/>
                <a:cs typeface="Arial"/>
              </a:rPr>
              <a:t> </a:t>
            </a:r>
            <a:r>
              <a:rPr sz="818">
                <a:solidFill>
                  <a:srgbClr val="626666"/>
                </a:solidFill>
                <a:latin typeface="Arial"/>
                <a:cs typeface="Arial"/>
              </a:rPr>
              <a:t>supplements</a:t>
            </a:r>
            <a:r>
              <a:rPr sz="818" spc="-34">
                <a:solidFill>
                  <a:srgbClr val="626666"/>
                </a:solidFill>
                <a:latin typeface="Arial"/>
                <a:cs typeface="Arial"/>
              </a:rPr>
              <a:t> </a:t>
            </a:r>
            <a:r>
              <a:rPr sz="818">
                <a:solidFill>
                  <a:srgbClr val="626666"/>
                </a:solidFill>
                <a:latin typeface="Arial"/>
                <a:cs typeface="Arial"/>
              </a:rPr>
              <a:t>and</a:t>
            </a:r>
            <a:r>
              <a:rPr sz="818" spc="-20">
                <a:solidFill>
                  <a:srgbClr val="626666"/>
                </a:solidFill>
                <a:latin typeface="Arial"/>
                <a:cs typeface="Arial"/>
              </a:rPr>
              <a:t> </a:t>
            </a:r>
            <a:r>
              <a:rPr sz="818" spc="-7">
                <a:solidFill>
                  <a:srgbClr val="626666"/>
                </a:solidFill>
                <a:latin typeface="Arial"/>
                <a:cs typeface="Arial"/>
              </a:rPr>
              <a:t>directives</a:t>
            </a:r>
            <a:endParaRPr sz="818">
              <a:latin typeface="Arial"/>
              <a:cs typeface="Arial"/>
            </a:endParaRPr>
          </a:p>
          <a:p>
            <a:pPr marL="117328">
              <a:lnSpc>
                <a:spcPts val="815"/>
              </a:lnSpc>
              <a:spcBef>
                <a:spcPts val="3"/>
              </a:spcBef>
            </a:pPr>
            <a:r>
              <a:rPr sz="682">
                <a:solidFill>
                  <a:srgbClr val="626666"/>
                </a:solidFill>
                <a:latin typeface="Arial"/>
                <a:cs typeface="Arial"/>
              </a:rPr>
              <a:t>(e.g.,</a:t>
            </a:r>
            <a:r>
              <a:rPr sz="682" spc="-44">
                <a:solidFill>
                  <a:srgbClr val="626666"/>
                </a:solidFill>
                <a:latin typeface="Arial"/>
                <a:cs typeface="Arial"/>
              </a:rPr>
              <a:t> </a:t>
            </a:r>
            <a:r>
              <a:rPr sz="682">
                <a:solidFill>
                  <a:srgbClr val="626666"/>
                </a:solidFill>
                <a:latin typeface="Arial"/>
                <a:cs typeface="Arial"/>
              </a:rPr>
              <a:t>DFARS,</a:t>
            </a:r>
            <a:r>
              <a:rPr sz="682" spc="-17">
                <a:solidFill>
                  <a:srgbClr val="626666"/>
                </a:solidFill>
                <a:latin typeface="Arial"/>
                <a:cs typeface="Arial"/>
              </a:rPr>
              <a:t> </a:t>
            </a:r>
            <a:r>
              <a:rPr sz="682">
                <a:solidFill>
                  <a:srgbClr val="626666"/>
                </a:solidFill>
                <a:latin typeface="Arial"/>
                <a:cs typeface="Arial"/>
              </a:rPr>
              <a:t>HHSAR,</a:t>
            </a:r>
            <a:r>
              <a:rPr sz="682" spc="-27">
                <a:solidFill>
                  <a:srgbClr val="626666"/>
                </a:solidFill>
                <a:latin typeface="Arial"/>
                <a:cs typeface="Arial"/>
              </a:rPr>
              <a:t> </a:t>
            </a:r>
            <a:r>
              <a:rPr sz="682">
                <a:solidFill>
                  <a:srgbClr val="626666"/>
                </a:solidFill>
                <a:latin typeface="Arial"/>
                <a:cs typeface="Arial"/>
              </a:rPr>
              <a:t>AIDAR,</a:t>
            </a:r>
            <a:r>
              <a:rPr sz="682" spc="-27">
                <a:solidFill>
                  <a:srgbClr val="626666"/>
                </a:solidFill>
                <a:latin typeface="Arial"/>
                <a:cs typeface="Arial"/>
              </a:rPr>
              <a:t> </a:t>
            </a:r>
            <a:r>
              <a:rPr sz="682">
                <a:solidFill>
                  <a:srgbClr val="626666"/>
                </a:solidFill>
                <a:latin typeface="Arial"/>
                <a:cs typeface="Arial"/>
              </a:rPr>
              <a:t>DoDGAR,</a:t>
            </a:r>
            <a:r>
              <a:rPr sz="682" spc="-27">
                <a:solidFill>
                  <a:srgbClr val="626666"/>
                </a:solidFill>
                <a:latin typeface="Arial"/>
                <a:cs typeface="Arial"/>
              </a:rPr>
              <a:t> </a:t>
            </a:r>
            <a:r>
              <a:rPr sz="682">
                <a:solidFill>
                  <a:srgbClr val="626666"/>
                </a:solidFill>
                <a:latin typeface="Arial"/>
                <a:cs typeface="Arial"/>
              </a:rPr>
              <a:t>DEAR,</a:t>
            </a:r>
            <a:r>
              <a:rPr sz="682" spc="-27">
                <a:solidFill>
                  <a:srgbClr val="626666"/>
                </a:solidFill>
                <a:latin typeface="Arial"/>
                <a:cs typeface="Arial"/>
              </a:rPr>
              <a:t> </a:t>
            </a:r>
            <a:r>
              <a:rPr sz="682" spc="-7">
                <a:solidFill>
                  <a:srgbClr val="626666"/>
                </a:solidFill>
                <a:latin typeface="Arial"/>
                <a:cs typeface="Arial"/>
              </a:rPr>
              <a:t>AASTHO)</a:t>
            </a:r>
            <a:endParaRPr sz="682">
              <a:latin typeface="Arial"/>
              <a:cs typeface="Arial"/>
            </a:endParaRPr>
          </a:p>
          <a:p>
            <a:pPr marL="117328" indent="-117328">
              <a:lnSpc>
                <a:spcPts val="978"/>
              </a:lnSpc>
              <a:buChar char="•"/>
              <a:tabLst>
                <a:tab pos="117328" algn="l"/>
              </a:tabLst>
            </a:pPr>
            <a:r>
              <a:rPr sz="818">
                <a:solidFill>
                  <a:srgbClr val="626666"/>
                </a:solidFill>
                <a:latin typeface="Arial"/>
                <a:cs typeface="Arial"/>
              </a:rPr>
              <a:t>Cost</a:t>
            </a:r>
            <a:r>
              <a:rPr sz="818" spc="-65">
                <a:solidFill>
                  <a:srgbClr val="626666"/>
                </a:solidFill>
                <a:latin typeface="Arial"/>
                <a:cs typeface="Arial"/>
              </a:rPr>
              <a:t> </a:t>
            </a:r>
            <a:r>
              <a:rPr sz="818">
                <a:solidFill>
                  <a:srgbClr val="626666"/>
                </a:solidFill>
                <a:latin typeface="Arial"/>
                <a:cs typeface="Arial"/>
              </a:rPr>
              <a:t>Accounting</a:t>
            </a:r>
            <a:r>
              <a:rPr sz="818" spc="-24">
                <a:solidFill>
                  <a:srgbClr val="626666"/>
                </a:solidFill>
                <a:latin typeface="Arial"/>
                <a:cs typeface="Arial"/>
              </a:rPr>
              <a:t> </a:t>
            </a:r>
            <a:r>
              <a:rPr sz="818">
                <a:solidFill>
                  <a:srgbClr val="626666"/>
                </a:solidFill>
                <a:latin typeface="Arial"/>
                <a:cs typeface="Arial"/>
              </a:rPr>
              <a:t>Standards</a:t>
            </a:r>
            <a:r>
              <a:rPr sz="818" spc="-31">
                <a:solidFill>
                  <a:srgbClr val="626666"/>
                </a:solidFill>
                <a:latin typeface="Arial"/>
                <a:cs typeface="Arial"/>
              </a:rPr>
              <a:t> </a:t>
            </a:r>
            <a:r>
              <a:rPr sz="818" spc="-7">
                <a:solidFill>
                  <a:srgbClr val="626666"/>
                </a:solidFill>
                <a:latin typeface="Arial"/>
                <a:cs typeface="Arial"/>
              </a:rPr>
              <a:t>(CAS)</a:t>
            </a:r>
            <a:endParaRPr sz="818">
              <a:latin typeface="Arial"/>
              <a:cs typeface="Arial"/>
            </a:endParaRPr>
          </a:p>
          <a:p>
            <a:pPr marL="117328" indent="-117328">
              <a:buChar char="•"/>
              <a:tabLst>
                <a:tab pos="117328" algn="l"/>
              </a:tabLst>
            </a:pPr>
            <a:r>
              <a:rPr sz="818">
                <a:solidFill>
                  <a:srgbClr val="626666"/>
                </a:solidFill>
                <a:latin typeface="Arial"/>
                <a:cs typeface="Arial"/>
              </a:rPr>
              <a:t>Uniform</a:t>
            </a:r>
            <a:r>
              <a:rPr sz="818" spc="-27">
                <a:solidFill>
                  <a:srgbClr val="626666"/>
                </a:solidFill>
                <a:latin typeface="Arial"/>
                <a:cs typeface="Arial"/>
              </a:rPr>
              <a:t> </a:t>
            </a:r>
            <a:r>
              <a:rPr sz="818">
                <a:solidFill>
                  <a:srgbClr val="626666"/>
                </a:solidFill>
                <a:latin typeface="Arial"/>
                <a:cs typeface="Arial"/>
              </a:rPr>
              <a:t>Guidance</a:t>
            </a:r>
            <a:r>
              <a:rPr sz="818" spc="-34">
                <a:solidFill>
                  <a:srgbClr val="626666"/>
                </a:solidFill>
                <a:latin typeface="Arial"/>
                <a:cs typeface="Arial"/>
              </a:rPr>
              <a:t> </a:t>
            </a:r>
            <a:r>
              <a:rPr sz="818">
                <a:solidFill>
                  <a:srgbClr val="626666"/>
                </a:solidFill>
                <a:latin typeface="Arial"/>
                <a:cs typeface="Arial"/>
              </a:rPr>
              <a:t>(UG/2</a:t>
            </a:r>
            <a:r>
              <a:rPr sz="818" spc="-7">
                <a:solidFill>
                  <a:srgbClr val="626666"/>
                </a:solidFill>
                <a:latin typeface="Arial"/>
                <a:cs typeface="Arial"/>
              </a:rPr>
              <a:t> </a:t>
            </a:r>
            <a:r>
              <a:rPr sz="818">
                <a:solidFill>
                  <a:srgbClr val="626666"/>
                </a:solidFill>
                <a:latin typeface="Arial"/>
                <a:cs typeface="Arial"/>
              </a:rPr>
              <a:t>CFR</a:t>
            </a:r>
            <a:r>
              <a:rPr sz="818" spc="-7">
                <a:solidFill>
                  <a:srgbClr val="626666"/>
                </a:solidFill>
                <a:latin typeface="Arial"/>
                <a:cs typeface="Arial"/>
              </a:rPr>
              <a:t> </a:t>
            </a:r>
            <a:r>
              <a:rPr sz="818" spc="-14">
                <a:solidFill>
                  <a:srgbClr val="626666"/>
                </a:solidFill>
                <a:latin typeface="Arial"/>
                <a:cs typeface="Arial"/>
              </a:rPr>
              <a:t>200)</a:t>
            </a:r>
            <a:endParaRPr sz="818">
              <a:latin typeface="Arial"/>
              <a:cs typeface="Arial"/>
            </a:endParaRPr>
          </a:p>
          <a:p>
            <a:pPr marL="117328" indent="-117328">
              <a:buChar char="•"/>
              <a:tabLst>
                <a:tab pos="117328" algn="l"/>
              </a:tabLst>
            </a:pPr>
            <a:r>
              <a:rPr sz="818">
                <a:solidFill>
                  <a:srgbClr val="626666"/>
                </a:solidFill>
                <a:latin typeface="Arial"/>
                <a:cs typeface="Arial"/>
              </a:rPr>
              <a:t>Committee</a:t>
            </a:r>
            <a:r>
              <a:rPr sz="818" spc="-37">
                <a:solidFill>
                  <a:srgbClr val="626666"/>
                </a:solidFill>
                <a:latin typeface="Arial"/>
                <a:cs typeface="Arial"/>
              </a:rPr>
              <a:t> </a:t>
            </a:r>
            <a:r>
              <a:rPr sz="818">
                <a:solidFill>
                  <a:srgbClr val="626666"/>
                </a:solidFill>
                <a:latin typeface="Arial"/>
                <a:cs typeface="Arial"/>
              </a:rPr>
              <a:t>on</a:t>
            </a:r>
            <a:r>
              <a:rPr sz="818" spc="-14">
                <a:solidFill>
                  <a:srgbClr val="626666"/>
                </a:solidFill>
                <a:latin typeface="Arial"/>
                <a:cs typeface="Arial"/>
              </a:rPr>
              <a:t> </a:t>
            </a:r>
            <a:r>
              <a:rPr sz="818">
                <a:solidFill>
                  <a:srgbClr val="626666"/>
                </a:solidFill>
                <a:latin typeface="Arial"/>
                <a:cs typeface="Arial"/>
              </a:rPr>
              <a:t>Foreign</a:t>
            </a:r>
            <a:r>
              <a:rPr sz="818" spc="-17">
                <a:solidFill>
                  <a:srgbClr val="626666"/>
                </a:solidFill>
                <a:latin typeface="Arial"/>
                <a:cs typeface="Arial"/>
              </a:rPr>
              <a:t> </a:t>
            </a:r>
            <a:r>
              <a:rPr sz="818">
                <a:solidFill>
                  <a:srgbClr val="626666"/>
                </a:solidFill>
                <a:latin typeface="Arial"/>
                <a:cs typeface="Arial"/>
              </a:rPr>
              <a:t>Investment</a:t>
            </a:r>
            <a:r>
              <a:rPr sz="818" spc="-27">
                <a:solidFill>
                  <a:srgbClr val="626666"/>
                </a:solidFill>
                <a:latin typeface="Arial"/>
                <a:cs typeface="Arial"/>
              </a:rPr>
              <a:t> </a:t>
            </a:r>
            <a:r>
              <a:rPr sz="818" spc="-7">
                <a:solidFill>
                  <a:srgbClr val="626666"/>
                </a:solidFill>
                <a:latin typeface="Arial"/>
                <a:cs typeface="Arial"/>
              </a:rPr>
              <a:t>(CFIUS)</a:t>
            </a:r>
            <a:endParaRPr sz="818">
              <a:latin typeface="Arial"/>
              <a:cs typeface="Arial"/>
            </a:endParaRPr>
          </a:p>
          <a:p>
            <a:pPr marL="117328" indent="-117328">
              <a:buChar char="•"/>
              <a:tabLst>
                <a:tab pos="117328" algn="l"/>
              </a:tabLst>
            </a:pPr>
            <a:r>
              <a:rPr sz="818" spc="-7">
                <a:solidFill>
                  <a:srgbClr val="626666"/>
                </a:solidFill>
                <a:latin typeface="Arial"/>
                <a:cs typeface="Arial"/>
              </a:rPr>
              <a:t>Cybersecurity </a:t>
            </a:r>
            <a:r>
              <a:rPr sz="818">
                <a:solidFill>
                  <a:srgbClr val="626666"/>
                </a:solidFill>
                <a:latin typeface="Arial"/>
                <a:cs typeface="Arial"/>
              </a:rPr>
              <a:t>Maturity</a:t>
            </a:r>
            <a:r>
              <a:rPr sz="818" spc="7">
                <a:solidFill>
                  <a:srgbClr val="626666"/>
                </a:solidFill>
                <a:latin typeface="Arial"/>
                <a:cs typeface="Arial"/>
              </a:rPr>
              <a:t> </a:t>
            </a:r>
            <a:r>
              <a:rPr sz="818">
                <a:solidFill>
                  <a:srgbClr val="626666"/>
                </a:solidFill>
                <a:latin typeface="Arial"/>
                <a:cs typeface="Arial"/>
              </a:rPr>
              <a:t>Model</a:t>
            </a:r>
            <a:r>
              <a:rPr sz="818" spc="-10">
                <a:solidFill>
                  <a:srgbClr val="626666"/>
                </a:solidFill>
                <a:latin typeface="Arial"/>
                <a:cs typeface="Arial"/>
              </a:rPr>
              <a:t> </a:t>
            </a:r>
            <a:r>
              <a:rPr sz="818">
                <a:solidFill>
                  <a:srgbClr val="626666"/>
                </a:solidFill>
                <a:latin typeface="Arial"/>
                <a:cs typeface="Arial"/>
              </a:rPr>
              <a:t>Certification</a:t>
            </a:r>
            <a:r>
              <a:rPr sz="818" spc="-20">
                <a:solidFill>
                  <a:srgbClr val="626666"/>
                </a:solidFill>
                <a:latin typeface="Arial"/>
                <a:cs typeface="Arial"/>
              </a:rPr>
              <a:t> </a:t>
            </a:r>
            <a:r>
              <a:rPr sz="818" spc="-7">
                <a:solidFill>
                  <a:srgbClr val="626666"/>
                </a:solidFill>
                <a:latin typeface="Arial"/>
                <a:cs typeface="Arial"/>
              </a:rPr>
              <a:t>(CMMC)</a:t>
            </a:r>
            <a:endParaRPr sz="818">
              <a:latin typeface="Arial"/>
              <a:cs typeface="Arial"/>
            </a:endParaRPr>
          </a:p>
          <a:p>
            <a:pPr>
              <a:lnSpc>
                <a:spcPct val="100000"/>
              </a:lnSpc>
            </a:pPr>
            <a:r>
              <a:rPr sz="818">
                <a:solidFill>
                  <a:srgbClr val="FFFFFF"/>
                </a:solidFill>
                <a:latin typeface="Arial"/>
                <a:cs typeface="Arial"/>
              </a:rPr>
              <a:t>•</a:t>
            </a:r>
            <a:endParaRPr sz="818">
              <a:latin typeface="Arial"/>
              <a:cs typeface="Arial"/>
            </a:endParaRPr>
          </a:p>
        </p:txBody>
      </p:sp>
      <p:sp>
        <p:nvSpPr>
          <p:cNvPr id="6" name="object 6"/>
          <p:cNvSpPr txBox="1"/>
          <p:nvPr/>
        </p:nvSpPr>
        <p:spPr>
          <a:xfrm>
            <a:off x="3797358" y="5622780"/>
            <a:ext cx="2154382" cy="1015686"/>
          </a:xfrm>
          <a:prstGeom prst="rect">
            <a:avLst/>
          </a:prstGeom>
        </p:spPr>
        <p:txBody>
          <a:bodyPr vert="horz" wrap="square" lIns="0" tIns="8659" rIns="0" bIns="0" rtlCol="0">
            <a:spAutoFit/>
          </a:bodyPr>
          <a:lstStyle/>
          <a:p>
            <a:pPr marL="117328" indent="-117328">
              <a:spcBef>
                <a:spcPts val="68"/>
              </a:spcBef>
              <a:buChar char="•"/>
              <a:tabLst>
                <a:tab pos="117328" algn="l"/>
              </a:tabLst>
            </a:pPr>
            <a:r>
              <a:rPr sz="818">
                <a:solidFill>
                  <a:srgbClr val="626666"/>
                </a:solidFill>
                <a:latin typeface="Arial"/>
                <a:cs typeface="Arial"/>
              </a:rPr>
              <a:t>Internal</a:t>
            </a:r>
            <a:r>
              <a:rPr sz="818" spc="-41">
                <a:solidFill>
                  <a:srgbClr val="626666"/>
                </a:solidFill>
                <a:latin typeface="Arial"/>
                <a:cs typeface="Arial"/>
              </a:rPr>
              <a:t> </a:t>
            </a:r>
            <a:r>
              <a:rPr sz="818">
                <a:solidFill>
                  <a:srgbClr val="626666"/>
                </a:solidFill>
                <a:latin typeface="Arial"/>
                <a:cs typeface="Arial"/>
              </a:rPr>
              <a:t>controls</a:t>
            </a:r>
            <a:r>
              <a:rPr sz="818" spc="-31">
                <a:solidFill>
                  <a:srgbClr val="626666"/>
                </a:solidFill>
                <a:latin typeface="Arial"/>
                <a:cs typeface="Arial"/>
              </a:rPr>
              <a:t> </a:t>
            </a:r>
            <a:r>
              <a:rPr sz="818" spc="-7">
                <a:solidFill>
                  <a:srgbClr val="626666"/>
                </a:solidFill>
                <a:latin typeface="Arial"/>
                <a:cs typeface="Arial"/>
              </a:rPr>
              <a:t>(DFARS</a:t>
            </a:r>
            <a:r>
              <a:rPr sz="818" spc="-17">
                <a:solidFill>
                  <a:srgbClr val="626666"/>
                </a:solidFill>
                <a:latin typeface="Arial"/>
                <a:cs typeface="Arial"/>
              </a:rPr>
              <a:t> </a:t>
            </a:r>
            <a:r>
              <a:rPr sz="818">
                <a:solidFill>
                  <a:srgbClr val="626666"/>
                </a:solidFill>
                <a:latin typeface="Arial"/>
                <a:cs typeface="Arial"/>
              </a:rPr>
              <a:t>business</a:t>
            </a:r>
            <a:r>
              <a:rPr sz="818" spc="-34">
                <a:solidFill>
                  <a:srgbClr val="626666"/>
                </a:solidFill>
                <a:latin typeface="Arial"/>
                <a:cs typeface="Arial"/>
              </a:rPr>
              <a:t> </a:t>
            </a:r>
            <a:r>
              <a:rPr sz="818" spc="-7">
                <a:solidFill>
                  <a:srgbClr val="626666"/>
                </a:solidFill>
                <a:latin typeface="Arial"/>
                <a:cs typeface="Arial"/>
              </a:rPr>
              <a:t>systems)</a:t>
            </a:r>
            <a:endParaRPr sz="818">
              <a:latin typeface="Arial"/>
              <a:cs typeface="Arial"/>
            </a:endParaRPr>
          </a:p>
          <a:p>
            <a:pPr marL="117328" indent="-117328">
              <a:buChar char="•"/>
              <a:tabLst>
                <a:tab pos="117328" algn="l"/>
              </a:tabLst>
            </a:pPr>
            <a:r>
              <a:rPr sz="818">
                <a:solidFill>
                  <a:srgbClr val="626666"/>
                </a:solidFill>
                <a:latin typeface="Arial"/>
                <a:cs typeface="Arial"/>
              </a:rPr>
              <a:t>Service </a:t>
            </a:r>
            <a:r>
              <a:rPr sz="818" spc="-7">
                <a:solidFill>
                  <a:srgbClr val="626666"/>
                </a:solidFill>
                <a:latin typeface="Arial"/>
                <a:cs typeface="Arial"/>
              </a:rPr>
              <a:t>Contract</a:t>
            </a:r>
            <a:r>
              <a:rPr sz="818" spc="-48">
                <a:solidFill>
                  <a:srgbClr val="626666"/>
                </a:solidFill>
                <a:latin typeface="Arial"/>
                <a:cs typeface="Arial"/>
              </a:rPr>
              <a:t> </a:t>
            </a:r>
            <a:r>
              <a:rPr sz="818">
                <a:solidFill>
                  <a:srgbClr val="626666"/>
                </a:solidFill>
                <a:latin typeface="Arial"/>
                <a:cs typeface="Arial"/>
              </a:rPr>
              <a:t>Act</a:t>
            </a:r>
            <a:r>
              <a:rPr sz="818" spc="10">
                <a:solidFill>
                  <a:srgbClr val="626666"/>
                </a:solidFill>
                <a:latin typeface="Arial"/>
                <a:cs typeface="Arial"/>
              </a:rPr>
              <a:t> </a:t>
            </a:r>
            <a:r>
              <a:rPr sz="818" spc="-7">
                <a:solidFill>
                  <a:srgbClr val="626666"/>
                </a:solidFill>
                <a:latin typeface="Arial"/>
                <a:cs typeface="Arial"/>
              </a:rPr>
              <a:t>(SCA)</a:t>
            </a:r>
            <a:endParaRPr sz="818">
              <a:latin typeface="Arial"/>
              <a:cs typeface="Arial"/>
            </a:endParaRPr>
          </a:p>
          <a:p>
            <a:pPr marL="117328" indent="-117328">
              <a:buChar char="•"/>
              <a:tabLst>
                <a:tab pos="117328" algn="l"/>
              </a:tabLst>
            </a:pPr>
            <a:r>
              <a:rPr sz="818">
                <a:solidFill>
                  <a:srgbClr val="626666"/>
                </a:solidFill>
                <a:latin typeface="Arial"/>
                <a:cs typeface="Arial"/>
              </a:rPr>
              <a:t>Buy</a:t>
            </a:r>
            <a:r>
              <a:rPr sz="818" spc="-20">
                <a:solidFill>
                  <a:srgbClr val="626666"/>
                </a:solidFill>
                <a:latin typeface="Arial"/>
                <a:cs typeface="Arial"/>
              </a:rPr>
              <a:t> </a:t>
            </a:r>
            <a:r>
              <a:rPr sz="818" spc="-7">
                <a:solidFill>
                  <a:srgbClr val="626666"/>
                </a:solidFill>
                <a:latin typeface="Arial"/>
                <a:cs typeface="Arial"/>
              </a:rPr>
              <a:t>America/Buy</a:t>
            </a:r>
            <a:r>
              <a:rPr sz="818" spc="-31">
                <a:solidFill>
                  <a:srgbClr val="626666"/>
                </a:solidFill>
                <a:latin typeface="Arial"/>
                <a:cs typeface="Arial"/>
              </a:rPr>
              <a:t> </a:t>
            </a:r>
            <a:r>
              <a:rPr sz="818" spc="-7">
                <a:solidFill>
                  <a:srgbClr val="626666"/>
                </a:solidFill>
                <a:latin typeface="Arial"/>
                <a:cs typeface="Arial"/>
              </a:rPr>
              <a:t>American</a:t>
            </a:r>
            <a:r>
              <a:rPr sz="818" spc="-34">
                <a:solidFill>
                  <a:srgbClr val="626666"/>
                </a:solidFill>
                <a:latin typeface="Arial"/>
                <a:cs typeface="Arial"/>
              </a:rPr>
              <a:t> </a:t>
            </a:r>
            <a:r>
              <a:rPr sz="818" spc="-17">
                <a:solidFill>
                  <a:srgbClr val="626666"/>
                </a:solidFill>
                <a:latin typeface="Arial"/>
                <a:cs typeface="Arial"/>
              </a:rPr>
              <a:t>Act</a:t>
            </a:r>
            <a:endParaRPr sz="818">
              <a:latin typeface="Arial"/>
              <a:cs typeface="Arial"/>
            </a:endParaRPr>
          </a:p>
          <a:p>
            <a:pPr marL="117328" marR="199154" indent="-117760">
              <a:buChar char="•"/>
              <a:tabLst>
                <a:tab pos="117328" algn="l"/>
              </a:tabLst>
            </a:pPr>
            <a:r>
              <a:rPr sz="818" spc="-7">
                <a:solidFill>
                  <a:srgbClr val="626666"/>
                </a:solidFill>
                <a:latin typeface="Arial"/>
                <a:cs typeface="Arial"/>
              </a:rPr>
              <a:t>International</a:t>
            </a:r>
            <a:r>
              <a:rPr sz="818" spc="-34">
                <a:solidFill>
                  <a:srgbClr val="626666"/>
                </a:solidFill>
                <a:latin typeface="Arial"/>
                <a:cs typeface="Arial"/>
              </a:rPr>
              <a:t> </a:t>
            </a:r>
            <a:r>
              <a:rPr sz="818">
                <a:solidFill>
                  <a:srgbClr val="626666"/>
                </a:solidFill>
                <a:latin typeface="Arial"/>
                <a:cs typeface="Arial"/>
              </a:rPr>
              <a:t>Traffic</a:t>
            </a:r>
            <a:r>
              <a:rPr sz="818" spc="-10">
                <a:solidFill>
                  <a:srgbClr val="626666"/>
                </a:solidFill>
                <a:latin typeface="Arial"/>
                <a:cs typeface="Arial"/>
              </a:rPr>
              <a:t> </a:t>
            </a:r>
            <a:r>
              <a:rPr sz="818">
                <a:solidFill>
                  <a:srgbClr val="626666"/>
                </a:solidFill>
                <a:latin typeface="Arial"/>
                <a:cs typeface="Arial"/>
              </a:rPr>
              <a:t>in</a:t>
            </a:r>
            <a:r>
              <a:rPr sz="818" spc="-41">
                <a:solidFill>
                  <a:srgbClr val="626666"/>
                </a:solidFill>
                <a:latin typeface="Arial"/>
                <a:cs typeface="Arial"/>
              </a:rPr>
              <a:t> </a:t>
            </a:r>
            <a:r>
              <a:rPr sz="818">
                <a:solidFill>
                  <a:srgbClr val="626666"/>
                </a:solidFill>
                <a:latin typeface="Arial"/>
                <a:cs typeface="Arial"/>
              </a:rPr>
              <a:t>Arms</a:t>
            </a:r>
            <a:r>
              <a:rPr sz="818" spc="3">
                <a:solidFill>
                  <a:srgbClr val="626666"/>
                </a:solidFill>
                <a:latin typeface="Arial"/>
                <a:cs typeface="Arial"/>
              </a:rPr>
              <a:t> </a:t>
            </a:r>
            <a:r>
              <a:rPr sz="818" spc="-7">
                <a:solidFill>
                  <a:srgbClr val="626666"/>
                </a:solidFill>
                <a:latin typeface="Arial"/>
                <a:cs typeface="Arial"/>
              </a:rPr>
              <a:t>Regulations (ITAR)/export</a:t>
            </a:r>
            <a:r>
              <a:rPr sz="818">
                <a:solidFill>
                  <a:srgbClr val="626666"/>
                </a:solidFill>
                <a:latin typeface="Arial"/>
                <a:cs typeface="Arial"/>
              </a:rPr>
              <a:t> </a:t>
            </a:r>
            <a:r>
              <a:rPr sz="818" spc="-7">
                <a:solidFill>
                  <a:srgbClr val="626666"/>
                </a:solidFill>
                <a:latin typeface="Arial"/>
                <a:cs typeface="Arial"/>
              </a:rPr>
              <a:t>control</a:t>
            </a:r>
            <a:endParaRPr sz="818">
              <a:latin typeface="Arial"/>
              <a:cs typeface="Arial"/>
            </a:endParaRPr>
          </a:p>
          <a:p>
            <a:pPr marL="117328" indent="-117328">
              <a:buChar char="•"/>
              <a:tabLst>
                <a:tab pos="117328" algn="l"/>
              </a:tabLst>
            </a:pPr>
            <a:r>
              <a:rPr sz="818">
                <a:solidFill>
                  <a:srgbClr val="626666"/>
                </a:solidFill>
                <a:latin typeface="Arial"/>
                <a:cs typeface="Arial"/>
              </a:rPr>
              <a:t>Other</a:t>
            </a:r>
            <a:r>
              <a:rPr sz="818" spc="-24">
                <a:solidFill>
                  <a:srgbClr val="626666"/>
                </a:solidFill>
                <a:latin typeface="Arial"/>
                <a:cs typeface="Arial"/>
              </a:rPr>
              <a:t> </a:t>
            </a:r>
            <a:r>
              <a:rPr sz="818">
                <a:solidFill>
                  <a:srgbClr val="626666"/>
                </a:solidFill>
                <a:latin typeface="Arial"/>
                <a:cs typeface="Arial"/>
              </a:rPr>
              <a:t>transaction</a:t>
            </a:r>
            <a:r>
              <a:rPr sz="818" spc="-31">
                <a:solidFill>
                  <a:srgbClr val="626666"/>
                </a:solidFill>
                <a:latin typeface="Arial"/>
                <a:cs typeface="Arial"/>
              </a:rPr>
              <a:t> </a:t>
            </a:r>
            <a:r>
              <a:rPr sz="818">
                <a:solidFill>
                  <a:srgbClr val="626666"/>
                </a:solidFill>
                <a:latin typeface="Arial"/>
                <a:cs typeface="Arial"/>
              </a:rPr>
              <a:t>authority</a:t>
            </a:r>
            <a:r>
              <a:rPr sz="818" spc="-31">
                <a:solidFill>
                  <a:srgbClr val="626666"/>
                </a:solidFill>
                <a:latin typeface="Arial"/>
                <a:cs typeface="Arial"/>
              </a:rPr>
              <a:t> </a:t>
            </a:r>
            <a:r>
              <a:rPr sz="818" spc="-14">
                <a:solidFill>
                  <a:srgbClr val="626666"/>
                </a:solidFill>
                <a:latin typeface="Arial"/>
                <a:cs typeface="Arial"/>
              </a:rPr>
              <a:t>(OTA)</a:t>
            </a:r>
            <a:endParaRPr sz="818">
              <a:latin typeface="Arial"/>
              <a:cs typeface="Arial"/>
            </a:endParaRPr>
          </a:p>
          <a:p>
            <a:pPr marL="117328" marR="532953" indent="-117760">
              <a:buChar char="•"/>
              <a:tabLst>
                <a:tab pos="117328" algn="l"/>
              </a:tabLst>
            </a:pPr>
            <a:r>
              <a:rPr sz="818">
                <a:solidFill>
                  <a:srgbClr val="626666"/>
                </a:solidFill>
                <a:latin typeface="Arial"/>
                <a:cs typeface="Arial"/>
              </a:rPr>
              <a:t>Federal</a:t>
            </a:r>
            <a:r>
              <a:rPr sz="818" spc="-34">
                <a:solidFill>
                  <a:srgbClr val="626666"/>
                </a:solidFill>
                <a:latin typeface="Arial"/>
                <a:cs typeface="Arial"/>
              </a:rPr>
              <a:t> </a:t>
            </a:r>
            <a:r>
              <a:rPr sz="818">
                <a:solidFill>
                  <a:srgbClr val="626666"/>
                </a:solidFill>
                <a:latin typeface="Arial"/>
                <a:cs typeface="Arial"/>
              </a:rPr>
              <a:t>assistance</a:t>
            </a:r>
            <a:r>
              <a:rPr sz="818" spc="-20">
                <a:solidFill>
                  <a:srgbClr val="626666"/>
                </a:solidFill>
                <a:latin typeface="Arial"/>
                <a:cs typeface="Arial"/>
              </a:rPr>
              <a:t> </a:t>
            </a:r>
            <a:r>
              <a:rPr sz="818" spc="-7">
                <a:solidFill>
                  <a:srgbClr val="626666"/>
                </a:solidFill>
                <a:latin typeface="Arial"/>
                <a:cs typeface="Arial"/>
              </a:rPr>
              <a:t>awards (grants/cooperative</a:t>
            </a:r>
            <a:r>
              <a:rPr sz="818" spc="68">
                <a:solidFill>
                  <a:srgbClr val="626666"/>
                </a:solidFill>
                <a:latin typeface="Arial"/>
                <a:cs typeface="Arial"/>
              </a:rPr>
              <a:t> </a:t>
            </a:r>
            <a:r>
              <a:rPr sz="818" spc="-7">
                <a:solidFill>
                  <a:srgbClr val="626666"/>
                </a:solidFill>
                <a:latin typeface="Arial"/>
                <a:cs typeface="Arial"/>
              </a:rPr>
              <a:t>agreements)</a:t>
            </a:r>
            <a:endParaRPr sz="818">
              <a:latin typeface="Arial"/>
              <a:cs typeface="Arial"/>
            </a:endParaRPr>
          </a:p>
        </p:txBody>
      </p:sp>
      <p:sp>
        <p:nvSpPr>
          <p:cNvPr id="7" name="object 7"/>
          <p:cNvSpPr txBox="1"/>
          <p:nvPr/>
        </p:nvSpPr>
        <p:spPr>
          <a:xfrm>
            <a:off x="1309115" y="4263476"/>
            <a:ext cx="581891" cy="260479"/>
          </a:xfrm>
          <a:prstGeom prst="rect">
            <a:avLst/>
          </a:prstGeom>
        </p:spPr>
        <p:txBody>
          <a:bodyPr vert="horz" wrap="square" lIns="0" tIns="8659" rIns="0" bIns="0" rtlCol="0">
            <a:spAutoFit/>
          </a:bodyPr>
          <a:lstStyle/>
          <a:p>
            <a:pPr marL="96546" marR="3464" indent="-96979">
              <a:spcBef>
                <a:spcPts val="68"/>
              </a:spcBef>
            </a:pPr>
            <a:r>
              <a:rPr sz="818" spc="-7">
                <a:solidFill>
                  <a:srgbClr val="626666"/>
                </a:solidFill>
                <a:latin typeface="Arial"/>
                <a:cs typeface="Arial"/>
              </a:rPr>
              <a:t>Government services</a:t>
            </a:r>
            <a:endParaRPr sz="818">
              <a:latin typeface="Arial"/>
              <a:cs typeface="Arial"/>
            </a:endParaRPr>
          </a:p>
        </p:txBody>
      </p:sp>
      <p:sp>
        <p:nvSpPr>
          <p:cNvPr id="8" name="object 8"/>
          <p:cNvSpPr txBox="1"/>
          <p:nvPr/>
        </p:nvSpPr>
        <p:spPr>
          <a:xfrm>
            <a:off x="2178454" y="4263476"/>
            <a:ext cx="309563" cy="134612"/>
          </a:xfrm>
          <a:prstGeom prst="rect">
            <a:avLst/>
          </a:prstGeom>
        </p:spPr>
        <p:txBody>
          <a:bodyPr vert="horz" wrap="square" lIns="0" tIns="8659" rIns="0" bIns="0" rtlCol="0">
            <a:spAutoFit/>
          </a:bodyPr>
          <a:lstStyle/>
          <a:p>
            <a:pPr>
              <a:spcBef>
                <a:spcPts val="68"/>
              </a:spcBef>
            </a:pPr>
            <a:r>
              <a:rPr sz="818" spc="-7">
                <a:solidFill>
                  <a:srgbClr val="636668"/>
                </a:solidFill>
                <a:latin typeface="Arial"/>
                <a:cs typeface="Arial"/>
              </a:rPr>
              <a:t>Health</a:t>
            </a:r>
            <a:endParaRPr sz="818">
              <a:latin typeface="Arial"/>
              <a:cs typeface="Arial"/>
            </a:endParaRPr>
          </a:p>
        </p:txBody>
      </p:sp>
      <p:sp>
        <p:nvSpPr>
          <p:cNvPr id="9" name="object 9"/>
          <p:cNvSpPr txBox="1"/>
          <p:nvPr/>
        </p:nvSpPr>
        <p:spPr>
          <a:xfrm>
            <a:off x="2796453" y="4263476"/>
            <a:ext cx="610033" cy="260479"/>
          </a:xfrm>
          <a:prstGeom prst="rect">
            <a:avLst/>
          </a:prstGeom>
        </p:spPr>
        <p:txBody>
          <a:bodyPr vert="horz" wrap="square" lIns="0" tIns="8659" rIns="0" bIns="0" rtlCol="0">
            <a:spAutoFit/>
          </a:bodyPr>
          <a:lstStyle/>
          <a:p>
            <a:pPr marL="31172" marR="3464" indent="-31172">
              <a:spcBef>
                <a:spcPts val="68"/>
              </a:spcBef>
            </a:pPr>
            <a:r>
              <a:rPr sz="818">
                <a:solidFill>
                  <a:srgbClr val="636668"/>
                </a:solidFill>
                <a:latin typeface="Arial"/>
                <a:cs typeface="Arial"/>
              </a:rPr>
              <a:t>Life</a:t>
            </a:r>
            <a:r>
              <a:rPr sz="818" spc="-14">
                <a:solidFill>
                  <a:srgbClr val="636668"/>
                </a:solidFill>
                <a:latin typeface="Arial"/>
                <a:cs typeface="Arial"/>
              </a:rPr>
              <a:t> </a:t>
            </a:r>
            <a:r>
              <a:rPr sz="818" spc="-7">
                <a:solidFill>
                  <a:srgbClr val="636668"/>
                </a:solidFill>
                <a:latin typeface="Arial"/>
                <a:cs typeface="Arial"/>
              </a:rPr>
              <a:t>sciences </a:t>
            </a:r>
            <a:r>
              <a:rPr sz="818">
                <a:solidFill>
                  <a:srgbClr val="636668"/>
                </a:solidFill>
                <a:latin typeface="Arial"/>
                <a:cs typeface="Arial"/>
              </a:rPr>
              <a:t>and</a:t>
            </a:r>
            <a:r>
              <a:rPr sz="818" spc="-14">
                <a:solidFill>
                  <a:srgbClr val="636668"/>
                </a:solidFill>
                <a:latin typeface="Arial"/>
                <a:cs typeface="Arial"/>
              </a:rPr>
              <a:t> </a:t>
            </a:r>
            <a:r>
              <a:rPr sz="818" spc="-7">
                <a:solidFill>
                  <a:srgbClr val="636668"/>
                </a:solidFill>
                <a:latin typeface="Arial"/>
                <a:cs typeface="Arial"/>
              </a:rPr>
              <a:t>biotech</a:t>
            </a:r>
            <a:endParaRPr sz="818">
              <a:latin typeface="Arial"/>
              <a:cs typeface="Arial"/>
            </a:endParaRPr>
          </a:p>
        </p:txBody>
      </p:sp>
      <p:sp>
        <p:nvSpPr>
          <p:cNvPr id="10" name="object 10"/>
          <p:cNvSpPr txBox="1"/>
          <p:nvPr/>
        </p:nvSpPr>
        <p:spPr>
          <a:xfrm>
            <a:off x="4817745" y="4259753"/>
            <a:ext cx="706149" cy="260479"/>
          </a:xfrm>
          <a:prstGeom prst="rect">
            <a:avLst/>
          </a:prstGeom>
        </p:spPr>
        <p:txBody>
          <a:bodyPr vert="horz" wrap="square" lIns="0" tIns="8659" rIns="0" bIns="0" rtlCol="0">
            <a:spAutoFit/>
          </a:bodyPr>
          <a:lstStyle/>
          <a:p>
            <a:pPr marL="151530" marR="3464" indent="-151963">
              <a:spcBef>
                <a:spcPts val="68"/>
              </a:spcBef>
            </a:pPr>
            <a:r>
              <a:rPr sz="818">
                <a:solidFill>
                  <a:srgbClr val="626666"/>
                </a:solidFill>
                <a:latin typeface="Arial"/>
                <a:cs typeface="Arial"/>
              </a:rPr>
              <a:t>Aerospace</a:t>
            </a:r>
            <a:r>
              <a:rPr sz="818" spc="-41">
                <a:solidFill>
                  <a:srgbClr val="626666"/>
                </a:solidFill>
                <a:latin typeface="Arial"/>
                <a:cs typeface="Arial"/>
              </a:rPr>
              <a:t> </a:t>
            </a:r>
            <a:r>
              <a:rPr sz="818" spc="-17">
                <a:solidFill>
                  <a:srgbClr val="626666"/>
                </a:solidFill>
                <a:latin typeface="Arial"/>
                <a:cs typeface="Arial"/>
              </a:rPr>
              <a:t>and </a:t>
            </a:r>
            <a:r>
              <a:rPr sz="818" spc="-7">
                <a:solidFill>
                  <a:srgbClr val="626666"/>
                </a:solidFill>
                <a:latin typeface="Arial"/>
                <a:cs typeface="Arial"/>
              </a:rPr>
              <a:t>defense</a:t>
            </a:r>
            <a:endParaRPr sz="818">
              <a:latin typeface="Arial"/>
              <a:cs typeface="Arial"/>
            </a:endParaRPr>
          </a:p>
        </p:txBody>
      </p:sp>
      <p:sp>
        <p:nvSpPr>
          <p:cNvPr id="11" name="object 11"/>
          <p:cNvSpPr txBox="1"/>
          <p:nvPr/>
        </p:nvSpPr>
        <p:spPr>
          <a:xfrm>
            <a:off x="1275657" y="5136745"/>
            <a:ext cx="2150918" cy="512279"/>
          </a:xfrm>
          <a:prstGeom prst="rect">
            <a:avLst/>
          </a:prstGeom>
        </p:spPr>
        <p:txBody>
          <a:bodyPr vert="horz" wrap="square" lIns="0" tIns="8659" rIns="0" bIns="0" rtlCol="0">
            <a:spAutoFit/>
          </a:bodyPr>
          <a:lstStyle/>
          <a:p>
            <a:pPr marL="61045">
              <a:spcBef>
                <a:spcPts val="68"/>
              </a:spcBef>
              <a:tabLst>
                <a:tab pos="1110065" algn="l"/>
              </a:tabLst>
            </a:pPr>
            <a:r>
              <a:rPr sz="818">
                <a:solidFill>
                  <a:srgbClr val="636668"/>
                </a:solidFill>
                <a:latin typeface="Arial"/>
                <a:cs typeface="Arial"/>
              </a:rPr>
              <a:t>Defense</a:t>
            </a:r>
            <a:r>
              <a:rPr sz="818" spc="-37">
                <a:solidFill>
                  <a:srgbClr val="636668"/>
                </a:solidFill>
                <a:latin typeface="Arial"/>
                <a:cs typeface="Arial"/>
              </a:rPr>
              <a:t> </a:t>
            </a:r>
            <a:r>
              <a:rPr sz="818" spc="-14">
                <a:solidFill>
                  <a:srgbClr val="636668"/>
                </a:solidFill>
                <a:latin typeface="Arial"/>
                <a:cs typeface="Arial"/>
              </a:rPr>
              <a:t>tech</a:t>
            </a:r>
            <a:r>
              <a:rPr sz="818">
                <a:solidFill>
                  <a:srgbClr val="636668"/>
                </a:solidFill>
                <a:latin typeface="Arial"/>
                <a:cs typeface="Arial"/>
              </a:rPr>
              <a:t>	</a:t>
            </a:r>
            <a:r>
              <a:rPr sz="1227" baseline="2314">
                <a:solidFill>
                  <a:srgbClr val="636668"/>
                </a:solidFill>
                <a:latin typeface="Arial"/>
                <a:cs typeface="Arial"/>
              </a:rPr>
              <a:t>Space</a:t>
            </a:r>
            <a:r>
              <a:rPr sz="1227" spc="-35" baseline="2314">
                <a:solidFill>
                  <a:srgbClr val="636668"/>
                </a:solidFill>
                <a:latin typeface="Arial"/>
                <a:cs typeface="Arial"/>
              </a:rPr>
              <a:t> </a:t>
            </a:r>
            <a:r>
              <a:rPr sz="1227" baseline="2314">
                <a:solidFill>
                  <a:srgbClr val="636668"/>
                </a:solidFill>
                <a:latin typeface="Arial"/>
                <a:cs typeface="Arial"/>
              </a:rPr>
              <a:t>and</a:t>
            </a:r>
            <a:r>
              <a:rPr sz="1227" spc="-20" baseline="2314">
                <a:solidFill>
                  <a:srgbClr val="636668"/>
                </a:solidFill>
                <a:latin typeface="Arial"/>
                <a:cs typeface="Arial"/>
              </a:rPr>
              <a:t> </a:t>
            </a:r>
            <a:r>
              <a:rPr sz="1227" spc="-10" baseline="2314">
                <a:solidFill>
                  <a:srgbClr val="636668"/>
                </a:solidFill>
                <a:latin typeface="Arial"/>
                <a:cs typeface="Arial"/>
              </a:rPr>
              <a:t>satellite</a:t>
            </a:r>
            <a:endParaRPr sz="1227" baseline="2314">
              <a:latin typeface="Arial"/>
              <a:cs typeface="Arial"/>
            </a:endParaRPr>
          </a:p>
          <a:p>
            <a:pPr>
              <a:spcBef>
                <a:spcPts val="3"/>
              </a:spcBef>
            </a:pPr>
            <a:endParaRPr sz="1227">
              <a:latin typeface="Arial"/>
              <a:cs typeface="Arial"/>
            </a:endParaRPr>
          </a:p>
          <a:p>
            <a:pPr>
              <a:tabLst>
                <a:tab pos="1008324" algn="l"/>
              </a:tabLst>
            </a:pPr>
            <a:r>
              <a:rPr sz="1227" b="1" spc="58">
                <a:solidFill>
                  <a:srgbClr val="626666"/>
                </a:solidFill>
                <a:latin typeface="Arial"/>
                <a:cs typeface="Arial"/>
              </a:rPr>
              <a:t>Te</a:t>
            </a:r>
            <a:r>
              <a:rPr sz="1227" b="1" spc="-143">
                <a:solidFill>
                  <a:srgbClr val="626666"/>
                </a:solidFill>
                <a:latin typeface="Arial"/>
                <a:cs typeface="Arial"/>
              </a:rPr>
              <a:t> </a:t>
            </a:r>
            <a:r>
              <a:rPr sz="1227" b="1">
                <a:solidFill>
                  <a:srgbClr val="626666"/>
                </a:solidFill>
                <a:latin typeface="Arial"/>
                <a:cs typeface="Arial"/>
              </a:rPr>
              <a:t>c</a:t>
            </a:r>
            <a:r>
              <a:rPr sz="1227" b="1" spc="-143">
                <a:solidFill>
                  <a:srgbClr val="626666"/>
                </a:solidFill>
                <a:latin typeface="Arial"/>
                <a:cs typeface="Arial"/>
              </a:rPr>
              <a:t> </a:t>
            </a:r>
            <a:r>
              <a:rPr sz="1227" b="1">
                <a:solidFill>
                  <a:srgbClr val="626666"/>
                </a:solidFill>
                <a:latin typeface="Arial"/>
                <a:cs typeface="Arial"/>
              </a:rPr>
              <a:t>h</a:t>
            </a:r>
            <a:r>
              <a:rPr sz="1227" b="1" spc="-136">
                <a:solidFill>
                  <a:srgbClr val="626666"/>
                </a:solidFill>
                <a:latin typeface="Arial"/>
                <a:cs typeface="Arial"/>
              </a:rPr>
              <a:t> </a:t>
            </a:r>
            <a:r>
              <a:rPr sz="1227" b="1">
                <a:solidFill>
                  <a:srgbClr val="626666"/>
                </a:solidFill>
                <a:latin typeface="Arial"/>
                <a:cs typeface="Arial"/>
              </a:rPr>
              <a:t>n</a:t>
            </a:r>
            <a:r>
              <a:rPr sz="1227" b="1" spc="-136">
                <a:solidFill>
                  <a:srgbClr val="626666"/>
                </a:solidFill>
                <a:latin typeface="Arial"/>
                <a:cs typeface="Arial"/>
              </a:rPr>
              <a:t> </a:t>
            </a:r>
            <a:r>
              <a:rPr sz="1227" b="1">
                <a:solidFill>
                  <a:srgbClr val="626666"/>
                </a:solidFill>
                <a:latin typeface="Arial"/>
                <a:cs typeface="Arial"/>
              </a:rPr>
              <a:t>i</a:t>
            </a:r>
            <a:r>
              <a:rPr sz="1227" b="1" spc="-136">
                <a:solidFill>
                  <a:srgbClr val="626666"/>
                </a:solidFill>
                <a:latin typeface="Arial"/>
                <a:cs typeface="Arial"/>
              </a:rPr>
              <a:t> </a:t>
            </a:r>
            <a:r>
              <a:rPr sz="1227" b="1">
                <a:solidFill>
                  <a:srgbClr val="626666"/>
                </a:solidFill>
                <a:latin typeface="Arial"/>
                <a:cs typeface="Arial"/>
              </a:rPr>
              <a:t>c</a:t>
            </a:r>
            <a:r>
              <a:rPr sz="1227" b="1" spc="-143">
                <a:solidFill>
                  <a:srgbClr val="626666"/>
                </a:solidFill>
                <a:latin typeface="Arial"/>
                <a:cs typeface="Arial"/>
              </a:rPr>
              <a:t> </a:t>
            </a:r>
            <a:r>
              <a:rPr sz="1227" b="1">
                <a:solidFill>
                  <a:srgbClr val="626666"/>
                </a:solidFill>
                <a:latin typeface="Arial"/>
                <a:cs typeface="Arial"/>
              </a:rPr>
              <a:t>a</a:t>
            </a:r>
            <a:r>
              <a:rPr sz="1227" b="1" spc="-143">
                <a:solidFill>
                  <a:srgbClr val="626666"/>
                </a:solidFill>
                <a:latin typeface="Arial"/>
                <a:cs typeface="Arial"/>
              </a:rPr>
              <a:t> </a:t>
            </a:r>
            <a:r>
              <a:rPr sz="1227" b="1" spc="-34">
                <a:solidFill>
                  <a:srgbClr val="626666"/>
                </a:solidFill>
                <a:latin typeface="Arial"/>
                <a:cs typeface="Arial"/>
              </a:rPr>
              <a:t>l</a:t>
            </a:r>
            <a:r>
              <a:rPr sz="1227" b="1">
                <a:solidFill>
                  <a:srgbClr val="626666"/>
                </a:solidFill>
                <a:latin typeface="Arial"/>
                <a:cs typeface="Arial"/>
              </a:rPr>
              <a:t>	c</a:t>
            </a:r>
            <a:r>
              <a:rPr sz="1227" b="1" spc="-143">
                <a:solidFill>
                  <a:srgbClr val="626666"/>
                </a:solidFill>
                <a:latin typeface="Arial"/>
                <a:cs typeface="Arial"/>
              </a:rPr>
              <a:t> </a:t>
            </a:r>
            <a:r>
              <a:rPr sz="1227" b="1">
                <a:solidFill>
                  <a:srgbClr val="626666"/>
                </a:solidFill>
                <a:latin typeface="Arial"/>
                <a:cs typeface="Arial"/>
              </a:rPr>
              <a:t>a</a:t>
            </a:r>
            <a:r>
              <a:rPr sz="1227" b="1" spc="-143">
                <a:solidFill>
                  <a:srgbClr val="626666"/>
                </a:solidFill>
                <a:latin typeface="Arial"/>
                <a:cs typeface="Arial"/>
              </a:rPr>
              <a:t> </a:t>
            </a:r>
            <a:r>
              <a:rPr sz="1227" b="1">
                <a:solidFill>
                  <a:srgbClr val="626666"/>
                </a:solidFill>
                <a:latin typeface="Arial"/>
                <a:cs typeface="Arial"/>
              </a:rPr>
              <a:t>p</a:t>
            </a:r>
            <a:r>
              <a:rPr sz="1227" b="1" spc="-136">
                <a:solidFill>
                  <a:srgbClr val="626666"/>
                </a:solidFill>
                <a:latin typeface="Arial"/>
                <a:cs typeface="Arial"/>
              </a:rPr>
              <a:t> </a:t>
            </a:r>
            <a:r>
              <a:rPr sz="1227" b="1">
                <a:solidFill>
                  <a:srgbClr val="626666"/>
                </a:solidFill>
                <a:latin typeface="Arial"/>
                <a:cs typeface="Arial"/>
              </a:rPr>
              <a:t>a</a:t>
            </a:r>
            <a:r>
              <a:rPr sz="1227" b="1" spc="-143">
                <a:solidFill>
                  <a:srgbClr val="626666"/>
                </a:solidFill>
                <a:latin typeface="Arial"/>
                <a:cs typeface="Arial"/>
              </a:rPr>
              <a:t> </a:t>
            </a:r>
            <a:r>
              <a:rPr sz="1227" b="1">
                <a:solidFill>
                  <a:srgbClr val="626666"/>
                </a:solidFill>
                <a:latin typeface="Arial"/>
                <a:cs typeface="Arial"/>
              </a:rPr>
              <a:t>b</a:t>
            </a:r>
            <a:r>
              <a:rPr sz="1227" b="1" spc="-136">
                <a:solidFill>
                  <a:srgbClr val="626666"/>
                </a:solidFill>
                <a:latin typeface="Arial"/>
                <a:cs typeface="Arial"/>
              </a:rPr>
              <a:t> </a:t>
            </a:r>
            <a:r>
              <a:rPr sz="1227" b="1">
                <a:solidFill>
                  <a:srgbClr val="626666"/>
                </a:solidFill>
                <a:latin typeface="Arial"/>
                <a:cs typeface="Arial"/>
              </a:rPr>
              <a:t>i</a:t>
            </a:r>
            <a:r>
              <a:rPr sz="1227" b="1" spc="-136">
                <a:solidFill>
                  <a:srgbClr val="626666"/>
                </a:solidFill>
                <a:latin typeface="Arial"/>
                <a:cs typeface="Arial"/>
              </a:rPr>
              <a:t> </a:t>
            </a:r>
            <a:r>
              <a:rPr sz="1227" b="1">
                <a:solidFill>
                  <a:srgbClr val="626666"/>
                </a:solidFill>
                <a:latin typeface="Arial"/>
                <a:cs typeface="Arial"/>
              </a:rPr>
              <a:t>l</a:t>
            </a:r>
            <a:r>
              <a:rPr sz="1227" b="1" spc="-136">
                <a:solidFill>
                  <a:srgbClr val="626666"/>
                </a:solidFill>
                <a:latin typeface="Arial"/>
                <a:cs typeface="Arial"/>
              </a:rPr>
              <a:t> </a:t>
            </a:r>
            <a:r>
              <a:rPr sz="1227" b="1">
                <a:solidFill>
                  <a:srgbClr val="626666"/>
                </a:solidFill>
                <a:latin typeface="Arial"/>
                <a:cs typeface="Arial"/>
              </a:rPr>
              <a:t>i</a:t>
            </a:r>
            <a:r>
              <a:rPr sz="1227" b="1" spc="-136">
                <a:solidFill>
                  <a:srgbClr val="626666"/>
                </a:solidFill>
                <a:latin typeface="Arial"/>
                <a:cs typeface="Arial"/>
              </a:rPr>
              <a:t> </a:t>
            </a:r>
            <a:r>
              <a:rPr sz="1227" b="1">
                <a:solidFill>
                  <a:srgbClr val="626666"/>
                </a:solidFill>
                <a:latin typeface="Arial"/>
                <a:cs typeface="Arial"/>
              </a:rPr>
              <a:t>t</a:t>
            </a:r>
            <a:r>
              <a:rPr sz="1227" b="1" spc="-139">
                <a:solidFill>
                  <a:srgbClr val="626666"/>
                </a:solidFill>
                <a:latin typeface="Arial"/>
                <a:cs typeface="Arial"/>
              </a:rPr>
              <a:t> </a:t>
            </a:r>
            <a:r>
              <a:rPr sz="1227" b="1">
                <a:solidFill>
                  <a:srgbClr val="626666"/>
                </a:solidFill>
                <a:latin typeface="Arial"/>
                <a:cs typeface="Arial"/>
              </a:rPr>
              <a:t>i</a:t>
            </a:r>
            <a:r>
              <a:rPr sz="1227" b="1" spc="-136">
                <a:solidFill>
                  <a:srgbClr val="626666"/>
                </a:solidFill>
                <a:latin typeface="Arial"/>
                <a:cs typeface="Arial"/>
              </a:rPr>
              <a:t> </a:t>
            </a:r>
            <a:r>
              <a:rPr sz="1227" b="1">
                <a:solidFill>
                  <a:srgbClr val="626666"/>
                </a:solidFill>
                <a:latin typeface="Arial"/>
                <a:cs typeface="Arial"/>
              </a:rPr>
              <a:t>e</a:t>
            </a:r>
            <a:r>
              <a:rPr sz="1227" b="1" spc="-143">
                <a:solidFill>
                  <a:srgbClr val="626666"/>
                </a:solidFill>
                <a:latin typeface="Arial"/>
                <a:cs typeface="Arial"/>
              </a:rPr>
              <a:t> </a:t>
            </a:r>
            <a:r>
              <a:rPr sz="1227" b="1" spc="-34">
                <a:solidFill>
                  <a:srgbClr val="626666"/>
                </a:solidFill>
                <a:latin typeface="Arial"/>
                <a:cs typeface="Arial"/>
              </a:rPr>
              <a:t>s</a:t>
            </a:r>
            <a:endParaRPr sz="1227">
              <a:latin typeface="Arial"/>
              <a:cs typeface="Arial"/>
            </a:endParaRPr>
          </a:p>
        </p:txBody>
      </p:sp>
      <p:sp>
        <p:nvSpPr>
          <p:cNvPr id="12" name="object 12"/>
          <p:cNvSpPr txBox="1"/>
          <p:nvPr/>
        </p:nvSpPr>
        <p:spPr>
          <a:xfrm>
            <a:off x="4893165" y="5132936"/>
            <a:ext cx="631681" cy="260479"/>
          </a:xfrm>
          <a:prstGeom prst="rect">
            <a:avLst/>
          </a:prstGeom>
        </p:spPr>
        <p:txBody>
          <a:bodyPr vert="horz" wrap="square" lIns="0" tIns="8659" rIns="0" bIns="0" rtlCol="0">
            <a:spAutoFit/>
          </a:bodyPr>
          <a:lstStyle/>
          <a:p>
            <a:pPr marL="86155" marR="3464" indent="-86589">
              <a:spcBef>
                <a:spcPts val="68"/>
              </a:spcBef>
            </a:pPr>
            <a:r>
              <a:rPr sz="818" spc="-7">
                <a:solidFill>
                  <a:srgbClr val="636668"/>
                </a:solidFill>
                <a:latin typeface="Arial"/>
                <a:cs typeface="Arial"/>
              </a:rPr>
              <a:t>Nonprofit</a:t>
            </a:r>
            <a:r>
              <a:rPr sz="818">
                <a:solidFill>
                  <a:srgbClr val="636668"/>
                </a:solidFill>
                <a:latin typeface="Arial"/>
                <a:cs typeface="Arial"/>
              </a:rPr>
              <a:t> </a:t>
            </a:r>
            <a:r>
              <a:rPr sz="818" spc="-17">
                <a:solidFill>
                  <a:srgbClr val="636668"/>
                </a:solidFill>
                <a:latin typeface="Arial"/>
                <a:cs typeface="Arial"/>
              </a:rPr>
              <a:t>and </a:t>
            </a:r>
            <a:r>
              <a:rPr sz="818" spc="-7">
                <a:solidFill>
                  <a:srgbClr val="636668"/>
                </a:solidFill>
                <a:latin typeface="Arial"/>
                <a:cs typeface="Arial"/>
              </a:rPr>
              <a:t>education</a:t>
            </a:r>
            <a:endParaRPr sz="818">
              <a:latin typeface="Arial"/>
              <a:cs typeface="Arial"/>
            </a:endParaRPr>
          </a:p>
        </p:txBody>
      </p:sp>
      <p:sp>
        <p:nvSpPr>
          <p:cNvPr id="13" name="object 13"/>
          <p:cNvSpPr txBox="1"/>
          <p:nvPr/>
        </p:nvSpPr>
        <p:spPr>
          <a:xfrm>
            <a:off x="9746846" y="5584595"/>
            <a:ext cx="632979" cy="290872"/>
          </a:xfrm>
          <a:prstGeom prst="rect">
            <a:avLst/>
          </a:prstGeom>
        </p:spPr>
        <p:txBody>
          <a:bodyPr vert="horz" wrap="square" lIns="0" tIns="8659" rIns="0" bIns="0" rtlCol="0">
            <a:spAutoFit/>
          </a:bodyPr>
          <a:lstStyle/>
          <a:p>
            <a:pPr marL="8659">
              <a:lnSpc>
                <a:spcPts val="1084"/>
              </a:lnSpc>
              <a:spcBef>
                <a:spcPts val="68"/>
              </a:spcBef>
            </a:pPr>
            <a:r>
              <a:rPr sz="955" spc="-7">
                <a:solidFill>
                  <a:srgbClr val="626666"/>
                </a:solidFill>
                <a:latin typeface="Arial"/>
                <a:cs typeface="Arial"/>
              </a:rPr>
              <a:t>Negotiation</a:t>
            </a:r>
            <a:endParaRPr sz="955">
              <a:latin typeface="Arial"/>
              <a:cs typeface="Arial"/>
            </a:endParaRPr>
          </a:p>
          <a:p>
            <a:pPr marL="8659">
              <a:lnSpc>
                <a:spcPts val="1084"/>
              </a:lnSpc>
            </a:pPr>
            <a:r>
              <a:rPr sz="955">
                <a:solidFill>
                  <a:srgbClr val="626666"/>
                </a:solidFill>
                <a:latin typeface="Arial"/>
                <a:cs typeface="Arial"/>
              </a:rPr>
              <a:t>and</a:t>
            </a:r>
            <a:r>
              <a:rPr sz="955" spc="-24">
                <a:solidFill>
                  <a:srgbClr val="626666"/>
                </a:solidFill>
                <a:latin typeface="Arial"/>
                <a:cs typeface="Arial"/>
              </a:rPr>
              <a:t> </a:t>
            </a:r>
            <a:r>
              <a:rPr sz="955" spc="-7">
                <a:solidFill>
                  <a:srgbClr val="626666"/>
                </a:solidFill>
                <a:latin typeface="Arial"/>
                <a:cs typeface="Arial"/>
              </a:rPr>
              <a:t>award</a:t>
            </a:r>
            <a:endParaRPr sz="955">
              <a:latin typeface="Arial"/>
              <a:cs typeface="Arial"/>
            </a:endParaRPr>
          </a:p>
        </p:txBody>
      </p:sp>
      <p:pic>
        <p:nvPicPr>
          <p:cNvPr id="14" name="object 14"/>
          <p:cNvPicPr/>
          <p:nvPr/>
        </p:nvPicPr>
        <p:blipFill>
          <a:blip r:embed="rId3" cstate="print"/>
          <a:stretch>
            <a:fillRect/>
          </a:stretch>
        </p:blipFill>
        <p:spPr>
          <a:xfrm>
            <a:off x="7215967" y="4042929"/>
            <a:ext cx="2466109" cy="2609504"/>
          </a:xfrm>
          <a:prstGeom prst="rect">
            <a:avLst/>
          </a:prstGeom>
        </p:spPr>
      </p:pic>
      <p:sp>
        <p:nvSpPr>
          <p:cNvPr id="15" name="object 15"/>
          <p:cNvSpPr txBox="1"/>
          <p:nvPr/>
        </p:nvSpPr>
        <p:spPr>
          <a:xfrm>
            <a:off x="8890202" y="6376555"/>
            <a:ext cx="1846118" cy="282711"/>
          </a:xfrm>
          <a:prstGeom prst="rect">
            <a:avLst/>
          </a:prstGeom>
        </p:spPr>
        <p:txBody>
          <a:bodyPr vert="horz" wrap="square" lIns="0" tIns="25977" rIns="0" bIns="0" rtlCol="0">
            <a:spAutoFit/>
          </a:bodyPr>
          <a:lstStyle/>
          <a:p>
            <a:pPr marL="8659" marR="3464">
              <a:lnSpc>
                <a:spcPts val="1023"/>
              </a:lnSpc>
              <a:spcBef>
                <a:spcPts val="205"/>
              </a:spcBef>
            </a:pPr>
            <a:r>
              <a:rPr sz="955">
                <a:solidFill>
                  <a:srgbClr val="626666"/>
                </a:solidFill>
                <a:latin typeface="Arial"/>
                <a:cs typeface="Arial"/>
              </a:rPr>
              <a:t>Execution</a:t>
            </a:r>
            <a:r>
              <a:rPr sz="955" spc="-27">
                <a:solidFill>
                  <a:srgbClr val="626666"/>
                </a:solidFill>
                <a:latin typeface="Arial"/>
                <a:cs typeface="Arial"/>
              </a:rPr>
              <a:t> </a:t>
            </a:r>
            <a:r>
              <a:rPr sz="955">
                <a:solidFill>
                  <a:srgbClr val="626666"/>
                </a:solidFill>
                <a:latin typeface="Arial"/>
                <a:cs typeface="Arial"/>
              </a:rPr>
              <a:t>and</a:t>
            </a:r>
            <a:r>
              <a:rPr sz="955" spc="-27">
                <a:solidFill>
                  <a:srgbClr val="626666"/>
                </a:solidFill>
                <a:latin typeface="Arial"/>
                <a:cs typeface="Arial"/>
              </a:rPr>
              <a:t> </a:t>
            </a:r>
            <a:r>
              <a:rPr sz="955" spc="-7">
                <a:solidFill>
                  <a:srgbClr val="626666"/>
                </a:solidFill>
                <a:latin typeface="Arial"/>
                <a:cs typeface="Arial"/>
              </a:rPr>
              <a:t>monitoring </a:t>
            </a:r>
            <a:r>
              <a:rPr sz="955">
                <a:solidFill>
                  <a:srgbClr val="626666"/>
                </a:solidFill>
                <a:latin typeface="Arial"/>
                <a:cs typeface="Arial"/>
              </a:rPr>
              <a:t>(compliance,</a:t>
            </a:r>
            <a:r>
              <a:rPr sz="955" spc="-37">
                <a:solidFill>
                  <a:srgbClr val="626666"/>
                </a:solidFill>
                <a:latin typeface="Arial"/>
                <a:cs typeface="Arial"/>
              </a:rPr>
              <a:t> </a:t>
            </a:r>
            <a:r>
              <a:rPr sz="955">
                <a:solidFill>
                  <a:srgbClr val="626666"/>
                </a:solidFill>
                <a:latin typeface="Arial"/>
                <a:cs typeface="Arial"/>
              </a:rPr>
              <a:t>reporting</a:t>
            </a:r>
            <a:r>
              <a:rPr sz="955" spc="-41">
                <a:solidFill>
                  <a:srgbClr val="626666"/>
                </a:solidFill>
                <a:latin typeface="Arial"/>
                <a:cs typeface="Arial"/>
              </a:rPr>
              <a:t> </a:t>
            </a:r>
            <a:r>
              <a:rPr sz="955">
                <a:solidFill>
                  <a:srgbClr val="626666"/>
                </a:solidFill>
                <a:latin typeface="Arial"/>
                <a:cs typeface="Arial"/>
              </a:rPr>
              <a:t>and</a:t>
            </a:r>
            <a:r>
              <a:rPr sz="955" spc="-24">
                <a:solidFill>
                  <a:srgbClr val="626666"/>
                </a:solidFill>
                <a:latin typeface="Arial"/>
                <a:cs typeface="Arial"/>
              </a:rPr>
              <a:t> </a:t>
            </a:r>
            <a:r>
              <a:rPr sz="955" spc="-7">
                <a:solidFill>
                  <a:srgbClr val="626666"/>
                </a:solidFill>
                <a:latin typeface="Arial"/>
                <a:cs typeface="Arial"/>
              </a:rPr>
              <a:t>audits)</a:t>
            </a:r>
            <a:endParaRPr sz="955">
              <a:latin typeface="Arial"/>
              <a:cs typeface="Arial"/>
            </a:endParaRPr>
          </a:p>
        </p:txBody>
      </p:sp>
      <p:sp>
        <p:nvSpPr>
          <p:cNvPr id="16" name="object 16"/>
          <p:cNvSpPr txBox="1"/>
          <p:nvPr/>
        </p:nvSpPr>
        <p:spPr>
          <a:xfrm>
            <a:off x="8051050" y="5162895"/>
            <a:ext cx="777153" cy="511906"/>
          </a:xfrm>
          <a:prstGeom prst="rect">
            <a:avLst/>
          </a:prstGeom>
        </p:spPr>
        <p:txBody>
          <a:bodyPr vert="horz" wrap="square" lIns="0" tIns="8226" rIns="0" bIns="0" rtlCol="0">
            <a:spAutoFit/>
          </a:bodyPr>
          <a:lstStyle/>
          <a:p>
            <a:pPr marL="8659" marR="3464" algn="ctr">
              <a:spcBef>
                <a:spcPts val="65"/>
              </a:spcBef>
            </a:pPr>
            <a:r>
              <a:rPr sz="1091" b="1" spc="-7">
                <a:solidFill>
                  <a:srgbClr val="FFFFFF"/>
                </a:solidFill>
                <a:latin typeface="Arial"/>
                <a:cs typeface="Arial"/>
              </a:rPr>
              <a:t>Strategic compliance support</a:t>
            </a:r>
            <a:endParaRPr sz="1091">
              <a:latin typeface="Arial"/>
              <a:cs typeface="Arial"/>
            </a:endParaRPr>
          </a:p>
        </p:txBody>
      </p:sp>
      <p:sp>
        <p:nvSpPr>
          <p:cNvPr id="17" name="object 17"/>
          <p:cNvSpPr/>
          <p:nvPr/>
        </p:nvSpPr>
        <p:spPr>
          <a:xfrm>
            <a:off x="8679180" y="4213514"/>
            <a:ext cx="1515341" cy="7793"/>
          </a:xfrm>
          <a:custGeom>
            <a:avLst/>
            <a:gdLst/>
            <a:ahLst/>
            <a:cxnLst/>
            <a:rect l="l" t="t" r="r" b="b"/>
            <a:pathLst>
              <a:path w="2222500" h="11429">
                <a:moveTo>
                  <a:pt x="0" y="0"/>
                </a:moveTo>
                <a:lnTo>
                  <a:pt x="2222372" y="11429"/>
                </a:lnTo>
              </a:path>
            </a:pathLst>
          </a:custGeom>
          <a:ln w="12700">
            <a:solidFill>
              <a:srgbClr val="626666"/>
            </a:solidFill>
          </a:ln>
        </p:spPr>
        <p:txBody>
          <a:bodyPr wrap="square" lIns="0" tIns="0" rIns="0" bIns="0" rtlCol="0"/>
          <a:lstStyle/>
          <a:p>
            <a:endParaRPr sz="1454"/>
          </a:p>
        </p:txBody>
      </p:sp>
      <p:sp>
        <p:nvSpPr>
          <p:cNvPr id="18" name="object 18"/>
          <p:cNvSpPr txBox="1"/>
          <p:nvPr/>
        </p:nvSpPr>
        <p:spPr>
          <a:xfrm>
            <a:off x="8913841" y="4245206"/>
            <a:ext cx="1295833" cy="156144"/>
          </a:xfrm>
          <a:prstGeom prst="rect">
            <a:avLst/>
          </a:prstGeom>
        </p:spPr>
        <p:txBody>
          <a:bodyPr vert="horz" wrap="square" lIns="0" tIns="9092" rIns="0" bIns="0" rtlCol="0">
            <a:spAutoFit/>
          </a:bodyPr>
          <a:lstStyle/>
          <a:p>
            <a:pPr marL="8659">
              <a:spcBef>
                <a:spcPts val="72"/>
              </a:spcBef>
            </a:pPr>
            <a:r>
              <a:rPr sz="955">
                <a:solidFill>
                  <a:srgbClr val="626666"/>
                </a:solidFill>
                <a:latin typeface="Arial"/>
                <a:cs typeface="Arial"/>
              </a:rPr>
              <a:t>Federal</a:t>
            </a:r>
            <a:r>
              <a:rPr sz="955" spc="-48">
                <a:solidFill>
                  <a:srgbClr val="626666"/>
                </a:solidFill>
                <a:latin typeface="Arial"/>
                <a:cs typeface="Arial"/>
              </a:rPr>
              <a:t> </a:t>
            </a:r>
            <a:r>
              <a:rPr sz="955">
                <a:solidFill>
                  <a:srgbClr val="626666"/>
                </a:solidFill>
                <a:latin typeface="Arial"/>
                <a:cs typeface="Arial"/>
              </a:rPr>
              <a:t>market</a:t>
            </a:r>
            <a:r>
              <a:rPr sz="955" spc="-34">
                <a:solidFill>
                  <a:srgbClr val="626666"/>
                </a:solidFill>
                <a:latin typeface="Arial"/>
                <a:cs typeface="Arial"/>
              </a:rPr>
              <a:t> </a:t>
            </a:r>
            <a:r>
              <a:rPr sz="955" spc="-7">
                <a:solidFill>
                  <a:srgbClr val="626666"/>
                </a:solidFill>
                <a:latin typeface="Arial"/>
                <a:cs typeface="Arial"/>
              </a:rPr>
              <a:t>strategy</a:t>
            </a:r>
            <a:endParaRPr sz="955">
              <a:latin typeface="Arial"/>
              <a:cs typeface="Arial"/>
            </a:endParaRPr>
          </a:p>
        </p:txBody>
      </p:sp>
      <p:sp>
        <p:nvSpPr>
          <p:cNvPr id="19" name="object 19"/>
          <p:cNvSpPr/>
          <p:nvPr/>
        </p:nvSpPr>
        <p:spPr>
          <a:xfrm>
            <a:off x="6142759" y="4643697"/>
            <a:ext cx="4654694" cy="1708872"/>
          </a:xfrm>
          <a:custGeom>
            <a:avLst/>
            <a:gdLst/>
            <a:ahLst/>
            <a:cxnLst/>
            <a:rect l="l" t="t" r="r" b="b"/>
            <a:pathLst>
              <a:path w="6826884" h="2506345">
                <a:moveTo>
                  <a:pt x="4922520" y="1350264"/>
                </a:moveTo>
                <a:lnTo>
                  <a:pt x="6191123" y="1350264"/>
                </a:lnTo>
              </a:path>
              <a:path w="6826884" h="2506345">
                <a:moveTo>
                  <a:pt x="3843528" y="2493264"/>
                </a:moveTo>
                <a:lnTo>
                  <a:pt x="6767322" y="2506040"/>
                </a:lnTo>
              </a:path>
              <a:path w="6826884" h="2506345">
                <a:moveTo>
                  <a:pt x="679703" y="0"/>
                </a:moveTo>
                <a:lnTo>
                  <a:pt x="1874266" y="0"/>
                </a:lnTo>
              </a:path>
              <a:path w="6826884" h="2506345">
                <a:moveTo>
                  <a:pt x="0" y="1350264"/>
                </a:moveTo>
                <a:lnTo>
                  <a:pt x="1906270" y="1350264"/>
                </a:lnTo>
              </a:path>
              <a:path w="6826884" h="2506345">
                <a:moveTo>
                  <a:pt x="5062728" y="249936"/>
                </a:moveTo>
                <a:lnTo>
                  <a:pt x="6826377" y="249936"/>
                </a:lnTo>
              </a:path>
            </a:pathLst>
          </a:custGeom>
          <a:ln w="12700">
            <a:solidFill>
              <a:srgbClr val="626666"/>
            </a:solidFill>
          </a:ln>
        </p:spPr>
        <p:txBody>
          <a:bodyPr wrap="square" lIns="0" tIns="0" rIns="0" bIns="0" rtlCol="0"/>
          <a:lstStyle/>
          <a:p>
            <a:endParaRPr sz="1454"/>
          </a:p>
        </p:txBody>
      </p:sp>
      <p:sp>
        <p:nvSpPr>
          <p:cNvPr id="20" name="object 20"/>
          <p:cNvSpPr txBox="1"/>
          <p:nvPr/>
        </p:nvSpPr>
        <p:spPr>
          <a:xfrm>
            <a:off x="6122842" y="5600786"/>
            <a:ext cx="1022639" cy="282711"/>
          </a:xfrm>
          <a:prstGeom prst="rect">
            <a:avLst/>
          </a:prstGeom>
        </p:spPr>
        <p:txBody>
          <a:bodyPr vert="horz" wrap="square" lIns="0" tIns="25977" rIns="0" bIns="0" rtlCol="0">
            <a:spAutoFit/>
          </a:bodyPr>
          <a:lstStyle/>
          <a:p>
            <a:pPr marL="117760" marR="3464" indent="-109102">
              <a:lnSpc>
                <a:spcPts val="1023"/>
              </a:lnSpc>
              <a:spcBef>
                <a:spcPts val="205"/>
              </a:spcBef>
            </a:pPr>
            <a:r>
              <a:rPr sz="955">
                <a:solidFill>
                  <a:srgbClr val="626666"/>
                </a:solidFill>
                <a:latin typeface="Arial"/>
                <a:cs typeface="Arial"/>
              </a:rPr>
              <a:t>Changes,</a:t>
            </a:r>
            <a:r>
              <a:rPr sz="955" spc="-37">
                <a:solidFill>
                  <a:srgbClr val="626666"/>
                </a:solidFill>
                <a:latin typeface="Arial"/>
                <a:cs typeface="Arial"/>
              </a:rPr>
              <a:t> </a:t>
            </a:r>
            <a:r>
              <a:rPr sz="955" spc="-7">
                <a:solidFill>
                  <a:srgbClr val="626666"/>
                </a:solidFill>
                <a:latin typeface="Arial"/>
                <a:cs typeface="Arial"/>
              </a:rPr>
              <a:t>disputes </a:t>
            </a:r>
            <a:r>
              <a:rPr sz="955">
                <a:solidFill>
                  <a:srgbClr val="626666"/>
                </a:solidFill>
                <a:latin typeface="Arial"/>
                <a:cs typeface="Arial"/>
              </a:rPr>
              <a:t>and</a:t>
            </a:r>
            <a:r>
              <a:rPr sz="955" spc="-20">
                <a:solidFill>
                  <a:srgbClr val="626666"/>
                </a:solidFill>
                <a:latin typeface="Arial"/>
                <a:cs typeface="Arial"/>
              </a:rPr>
              <a:t> </a:t>
            </a:r>
            <a:r>
              <a:rPr sz="955" spc="-7">
                <a:solidFill>
                  <a:srgbClr val="626666"/>
                </a:solidFill>
                <a:latin typeface="Arial"/>
                <a:cs typeface="Arial"/>
              </a:rPr>
              <a:t>terminations</a:t>
            </a:r>
            <a:endParaRPr sz="955">
              <a:latin typeface="Arial"/>
              <a:cs typeface="Arial"/>
            </a:endParaRPr>
          </a:p>
        </p:txBody>
      </p:sp>
      <p:sp>
        <p:nvSpPr>
          <p:cNvPr id="21" name="object 21"/>
          <p:cNvSpPr txBox="1"/>
          <p:nvPr/>
        </p:nvSpPr>
        <p:spPr>
          <a:xfrm>
            <a:off x="9746846" y="4832638"/>
            <a:ext cx="866342" cy="290872"/>
          </a:xfrm>
          <a:prstGeom prst="rect">
            <a:avLst/>
          </a:prstGeom>
        </p:spPr>
        <p:txBody>
          <a:bodyPr vert="horz" wrap="square" lIns="0" tIns="8659" rIns="0" bIns="0" rtlCol="0">
            <a:spAutoFit/>
          </a:bodyPr>
          <a:lstStyle/>
          <a:p>
            <a:pPr marL="8659">
              <a:lnSpc>
                <a:spcPts val="1084"/>
              </a:lnSpc>
              <a:spcBef>
                <a:spcPts val="68"/>
              </a:spcBef>
            </a:pPr>
            <a:r>
              <a:rPr sz="955">
                <a:solidFill>
                  <a:srgbClr val="626666"/>
                </a:solidFill>
                <a:latin typeface="Arial"/>
                <a:cs typeface="Arial"/>
              </a:rPr>
              <a:t>Contract</a:t>
            </a:r>
            <a:r>
              <a:rPr sz="955" spc="-41">
                <a:solidFill>
                  <a:srgbClr val="626666"/>
                </a:solidFill>
                <a:latin typeface="Arial"/>
                <a:cs typeface="Arial"/>
              </a:rPr>
              <a:t> </a:t>
            </a:r>
            <a:r>
              <a:rPr sz="955" spc="-7">
                <a:solidFill>
                  <a:srgbClr val="626666"/>
                </a:solidFill>
                <a:latin typeface="Arial"/>
                <a:cs typeface="Arial"/>
              </a:rPr>
              <a:t>pricing</a:t>
            </a:r>
            <a:endParaRPr sz="955">
              <a:latin typeface="Arial"/>
              <a:cs typeface="Arial"/>
            </a:endParaRPr>
          </a:p>
          <a:p>
            <a:pPr marL="8659">
              <a:lnSpc>
                <a:spcPts val="1084"/>
              </a:lnSpc>
            </a:pPr>
            <a:r>
              <a:rPr sz="955">
                <a:solidFill>
                  <a:srgbClr val="626666"/>
                </a:solidFill>
                <a:latin typeface="Arial"/>
                <a:cs typeface="Arial"/>
              </a:rPr>
              <a:t>and</a:t>
            </a:r>
            <a:r>
              <a:rPr sz="955" spc="-24">
                <a:solidFill>
                  <a:srgbClr val="626666"/>
                </a:solidFill>
                <a:latin typeface="Arial"/>
                <a:cs typeface="Arial"/>
              </a:rPr>
              <a:t> </a:t>
            </a:r>
            <a:r>
              <a:rPr sz="955" spc="-7">
                <a:solidFill>
                  <a:srgbClr val="626666"/>
                </a:solidFill>
                <a:latin typeface="Arial"/>
                <a:cs typeface="Arial"/>
              </a:rPr>
              <a:t>proposals</a:t>
            </a:r>
            <a:endParaRPr sz="955">
              <a:latin typeface="Arial"/>
              <a:cs typeface="Arial"/>
            </a:endParaRPr>
          </a:p>
        </p:txBody>
      </p:sp>
      <p:sp>
        <p:nvSpPr>
          <p:cNvPr id="22" name="object 22"/>
          <p:cNvSpPr txBox="1"/>
          <p:nvPr/>
        </p:nvSpPr>
        <p:spPr>
          <a:xfrm>
            <a:off x="6593205" y="4690716"/>
            <a:ext cx="529503" cy="155707"/>
          </a:xfrm>
          <a:prstGeom prst="rect">
            <a:avLst/>
          </a:prstGeom>
        </p:spPr>
        <p:txBody>
          <a:bodyPr vert="horz" wrap="square" lIns="0" tIns="8659" rIns="0" bIns="0" rtlCol="0">
            <a:spAutoFit/>
          </a:bodyPr>
          <a:lstStyle/>
          <a:p>
            <a:pPr marL="8659">
              <a:spcBef>
                <a:spcPts val="68"/>
              </a:spcBef>
            </a:pPr>
            <a:r>
              <a:rPr sz="955">
                <a:solidFill>
                  <a:srgbClr val="626666"/>
                </a:solidFill>
                <a:latin typeface="Arial"/>
                <a:cs typeface="Arial"/>
              </a:rPr>
              <a:t>Close</a:t>
            </a:r>
            <a:r>
              <a:rPr sz="955" spc="-27">
                <a:solidFill>
                  <a:srgbClr val="626666"/>
                </a:solidFill>
                <a:latin typeface="Arial"/>
                <a:cs typeface="Arial"/>
              </a:rPr>
              <a:t> </a:t>
            </a:r>
            <a:r>
              <a:rPr sz="955" spc="-17">
                <a:solidFill>
                  <a:srgbClr val="626666"/>
                </a:solidFill>
                <a:latin typeface="Arial"/>
                <a:cs typeface="Arial"/>
              </a:rPr>
              <a:t>out</a:t>
            </a:r>
            <a:endParaRPr sz="955">
              <a:latin typeface="Arial"/>
              <a:cs typeface="Arial"/>
            </a:endParaRPr>
          </a:p>
        </p:txBody>
      </p:sp>
      <p:grpSp>
        <p:nvGrpSpPr>
          <p:cNvPr id="23" name="object 23"/>
          <p:cNvGrpSpPr/>
          <p:nvPr/>
        </p:nvGrpSpPr>
        <p:grpSpPr>
          <a:xfrm>
            <a:off x="7367839" y="4118293"/>
            <a:ext cx="2208068" cy="2382982"/>
            <a:chOff x="9637764" y="6040163"/>
            <a:chExt cx="3238500" cy="3495040"/>
          </a:xfrm>
        </p:grpSpPr>
        <p:sp>
          <p:nvSpPr>
            <p:cNvPr id="24" name="object 24"/>
            <p:cNvSpPr/>
            <p:nvPr/>
          </p:nvSpPr>
          <p:spPr>
            <a:xfrm>
              <a:off x="12052953" y="8265037"/>
              <a:ext cx="617855" cy="537210"/>
            </a:xfrm>
            <a:custGeom>
              <a:avLst/>
              <a:gdLst/>
              <a:ahLst/>
              <a:cxnLst/>
              <a:rect l="l" t="t" r="r" b="b"/>
              <a:pathLst>
                <a:path w="617854" h="537209">
                  <a:moveTo>
                    <a:pt x="0" y="198888"/>
                  </a:moveTo>
                  <a:lnTo>
                    <a:pt x="0" y="536694"/>
                  </a:lnTo>
                  <a:lnTo>
                    <a:pt x="617335" y="536694"/>
                  </a:lnTo>
                </a:path>
                <a:path w="617854" h="537209">
                  <a:moveTo>
                    <a:pt x="0" y="0"/>
                  </a:moveTo>
                  <a:lnTo>
                    <a:pt x="0" y="336868"/>
                  </a:lnTo>
                  <a:lnTo>
                    <a:pt x="194943" y="336868"/>
                  </a:lnTo>
                  <a:lnTo>
                    <a:pt x="194943" y="308320"/>
                  </a:lnTo>
                  <a:lnTo>
                    <a:pt x="395620" y="308320"/>
                  </a:lnTo>
                  <a:lnTo>
                    <a:pt x="395620" y="271209"/>
                  </a:lnTo>
                  <a:lnTo>
                    <a:pt x="411873" y="271209"/>
                  </a:lnTo>
                  <a:lnTo>
                    <a:pt x="411873" y="228387"/>
                  </a:lnTo>
                  <a:lnTo>
                    <a:pt x="397542" y="228387"/>
                  </a:lnTo>
                  <a:lnTo>
                    <a:pt x="397542" y="185564"/>
                  </a:lnTo>
                  <a:lnTo>
                    <a:pt x="617335" y="185564"/>
                  </a:lnTo>
                  <a:lnTo>
                    <a:pt x="617335" y="0"/>
                  </a:lnTo>
                  <a:lnTo>
                    <a:pt x="0" y="0"/>
                  </a:lnTo>
                  <a:close/>
                </a:path>
              </a:pathLst>
            </a:custGeom>
            <a:ln w="12400">
              <a:solidFill>
                <a:srgbClr val="797979"/>
              </a:solidFill>
            </a:ln>
          </p:spPr>
          <p:txBody>
            <a:bodyPr wrap="square" lIns="0" tIns="0" rIns="0" bIns="0" rtlCol="0"/>
            <a:lstStyle/>
            <a:p>
              <a:endParaRPr sz="1454"/>
            </a:p>
          </p:txBody>
        </p:sp>
        <p:pic>
          <p:nvPicPr>
            <p:cNvPr id="25" name="object 25"/>
            <p:cNvPicPr/>
            <p:nvPr/>
          </p:nvPicPr>
          <p:blipFill>
            <a:blip r:embed="rId4" cstate="print"/>
            <a:stretch>
              <a:fillRect/>
            </a:stretch>
          </p:blipFill>
          <p:spPr>
            <a:xfrm>
              <a:off x="12309535" y="8343525"/>
              <a:ext cx="104164" cy="179894"/>
            </a:xfrm>
            <a:prstGeom prst="rect">
              <a:avLst/>
            </a:prstGeom>
          </p:spPr>
        </p:pic>
        <p:pic>
          <p:nvPicPr>
            <p:cNvPr id="26" name="object 26"/>
            <p:cNvPicPr/>
            <p:nvPr/>
          </p:nvPicPr>
          <p:blipFill>
            <a:blip r:embed="rId5" cstate="print"/>
            <a:stretch>
              <a:fillRect/>
            </a:stretch>
          </p:blipFill>
          <p:spPr>
            <a:xfrm>
              <a:off x="12131804" y="8381593"/>
              <a:ext cx="103190" cy="102807"/>
            </a:xfrm>
            <a:prstGeom prst="rect">
              <a:avLst/>
            </a:prstGeom>
          </p:spPr>
        </p:pic>
        <p:sp>
          <p:nvSpPr>
            <p:cNvPr id="27" name="object 27"/>
            <p:cNvSpPr/>
            <p:nvPr/>
          </p:nvSpPr>
          <p:spPr>
            <a:xfrm>
              <a:off x="12051042" y="8660903"/>
              <a:ext cx="398145" cy="140970"/>
            </a:xfrm>
            <a:custGeom>
              <a:avLst/>
              <a:gdLst/>
              <a:ahLst/>
              <a:cxnLst/>
              <a:rect l="l" t="t" r="r" b="b"/>
              <a:pathLst>
                <a:path w="398145" h="140970">
                  <a:moveTo>
                    <a:pt x="0" y="0"/>
                  </a:moveTo>
                  <a:lnTo>
                    <a:pt x="0" y="0"/>
                  </a:lnTo>
                  <a:lnTo>
                    <a:pt x="205458" y="0"/>
                  </a:lnTo>
                </a:path>
                <a:path w="398145" h="140970">
                  <a:moveTo>
                    <a:pt x="397532" y="140829"/>
                  </a:moveTo>
                  <a:lnTo>
                    <a:pt x="179660" y="140829"/>
                  </a:lnTo>
                  <a:lnTo>
                    <a:pt x="179660" y="98008"/>
                  </a:lnTo>
                  <a:lnTo>
                    <a:pt x="397532" y="98008"/>
                  </a:lnTo>
                  <a:lnTo>
                    <a:pt x="397532" y="140829"/>
                  </a:lnTo>
                  <a:close/>
                </a:path>
              </a:pathLst>
            </a:custGeom>
            <a:ln w="12400">
              <a:solidFill>
                <a:srgbClr val="797979"/>
              </a:solidFill>
            </a:ln>
          </p:spPr>
          <p:txBody>
            <a:bodyPr wrap="square" lIns="0" tIns="0" rIns="0" bIns="0" rtlCol="0"/>
            <a:lstStyle/>
            <a:p>
              <a:endParaRPr sz="1454"/>
            </a:p>
          </p:txBody>
        </p:sp>
        <p:sp>
          <p:nvSpPr>
            <p:cNvPr id="28" name="object 28"/>
            <p:cNvSpPr/>
            <p:nvPr/>
          </p:nvSpPr>
          <p:spPr>
            <a:xfrm>
              <a:off x="12432335" y="8758911"/>
              <a:ext cx="0" cy="37465"/>
            </a:xfrm>
            <a:custGeom>
              <a:avLst/>
              <a:gdLst/>
              <a:ahLst/>
              <a:cxnLst/>
              <a:rect l="l" t="t" r="r" b="b"/>
              <a:pathLst>
                <a:path h="37465">
                  <a:moveTo>
                    <a:pt x="0" y="0"/>
                  </a:moveTo>
                  <a:lnTo>
                    <a:pt x="0" y="0"/>
                  </a:lnTo>
                  <a:lnTo>
                    <a:pt x="0" y="37111"/>
                  </a:lnTo>
                </a:path>
              </a:pathLst>
            </a:custGeom>
            <a:ln w="12430">
              <a:solidFill>
                <a:srgbClr val="797979"/>
              </a:solidFill>
            </a:ln>
          </p:spPr>
          <p:txBody>
            <a:bodyPr wrap="square" lIns="0" tIns="0" rIns="0" bIns="0" rtlCol="0"/>
            <a:lstStyle/>
            <a:p>
              <a:endParaRPr sz="1454"/>
            </a:p>
          </p:txBody>
        </p:sp>
        <p:sp>
          <p:nvSpPr>
            <p:cNvPr id="29" name="object 29"/>
            <p:cNvSpPr/>
            <p:nvPr/>
          </p:nvSpPr>
          <p:spPr>
            <a:xfrm>
              <a:off x="12245988" y="8711332"/>
              <a:ext cx="213360" cy="47625"/>
            </a:xfrm>
            <a:custGeom>
              <a:avLst/>
              <a:gdLst/>
              <a:ahLst/>
              <a:cxnLst/>
              <a:rect l="l" t="t" r="r" b="b"/>
              <a:pathLst>
                <a:path w="213359" h="47625">
                  <a:moveTo>
                    <a:pt x="213098" y="47578"/>
                  </a:moveTo>
                  <a:lnTo>
                    <a:pt x="0" y="47578"/>
                  </a:lnTo>
                  <a:lnTo>
                    <a:pt x="0" y="0"/>
                  </a:lnTo>
                  <a:lnTo>
                    <a:pt x="190164" y="0"/>
                  </a:lnTo>
                  <a:lnTo>
                    <a:pt x="190164" y="3806"/>
                  </a:lnTo>
                  <a:lnTo>
                    <a:pt x="213098" y="3806"/>
                  </a:lnTo>
                  <a:lnTo>
                    <a:pt x="213098" y="47578"/>
                  </a:lnTo>
                  <a:close/>
                </a:path>
              </a:pathLst>
            </a:custGeom>
            <a:ln w="12373">
              <a:solidFill>
                <a:srgbClr val="797979"/>
              </a:solidFill>
            </a:ln>
          </p:spPr>
          <p:txBody>
            <a:bodyPr wrap="square" lIns="0" tIns="0" rIns="0" bIns="0" rtlCol="0"/>
            <a:lstStyle/>
            <a:p>
              <a:endParaRPr sz="1454"/>
            </a:p>
          </p:txBody>
        </p:sp>
        <p:sp>
          <p:nvSpPr>
            <p:cNvPr id="30" name="object 30"/>
            <p:cNvSpPr/>
            <p:nvPr/>
          </p:nvSpPr>
          <p:spPr>
            <a:xfrm>
              <a:off x="12269876" y="8711332"/>
              <a:ext cx="0" cy="47625"/>
            </a:xfrm>
            <a:custGeom>
              <a:avLst/>
              <a:gdLst/>
              <a:ahLst/>
              <a:cxnLst/>
              <a:rect l="l" t="t" r="r" b="b"/>
              <a:pathLst>
                <a:path h="47625">
                  <a:moveTo>
                    <a:pt x="0" y="0"/>
                  </a:moveTo>
                  <a:lnTo>
                    <a:pt x="0" y="0"/>
                  </a:lnTo>
                  <a:lnTo>
                    <a:pt x="0" y="47578"/>
                  </a:lnTo>
                </a:path>
              </a:pathLst>
            </a:custGeom>
            <a:ln w="12430">
              <a:solidFill>
                <a:srgbClr val="797979"/>
              </a:solidFill>
            </a:ln>
          </p:spPr>
          <p:txBody>
            <a:bodyPr wrap="square" lIns="0" tIns="0" rIns="0" bIns="0" rtlCol="0"/>
            <a:lstStyle/>
            <a:p>
              <a:endParaRPr sz="1454"/>
            </a:p>
          </p:txBody>
        </p:sp>
        <p:sp>
          <p:nvSpPr>
            <p:cNvPr id="31" name="object 31"/>
            <p:cNvSpPr/>
            <p:nvPr/>
          </p:nvSpPr>
          <p:spPr>
            <a:xfrm>
              <a:off x="12234521" y="8659953"/>
              <a:ext cx="212725" cy="47625"/>
            </a:xfrm>
            <a:custGeom>
              <a:avLst/>
              <a:gdLst/>
              <a:ahLst/>
              <a:cxnLst/>
              <a:rect l="l" t="t" r="r" b="b"/>
              <a:pathLst>
                <a:path w="212725" h="47625">
                  <a:moveTo>
                    <a:pt x="200677" y="47573"/>
                  </a:moveTo>
                  <a:lnTo>
                    <a:pt x="0" y="47573"/>
                  </a:lnTo>
                  <a:lnTo>
                    <a:pt x="0" y="0"/>
                  </a:lnTo>
                  <a:lnTo>
                    <a:pt x="212144" y="0"/>
                  </a:lnTo>
                  <a:lnTo>
                    <a:pt x="212144" y="12361"/>
                  </a:lnTo>
                  <a:lnTo>
                    <a:pt x="200677" y="12361"/>
                  </a:lnTo>
                  <a:lnTo>
                    <a:pt x="200677" y="47573"/>
                  </a:lnTo>
                  <a:close/>
                </a:path>
              </a:pathLst>
            </a:custGeom>
            <a:ln w="12373">
              <a:solidFill>
                <a:srgbClr val="797979"/>
              </a:solidFill>
            </a:ln>
          </p:spPr>
          <p:txBody>
            <a:bodyPr wrap="square" lIns="0" tIns="0" rIns="0" bIns="0" rtlCol="0"/>
            <a:lstStyle/>
            <a:p>
              <a:endParaRPr sz="1454"/>
            </a:p>
          </p:txBody>
        </p:sp>
        <p:sp>
          <p:nvSpPr>
            <p:cNvPr id="32" name="object 32"/>
            <p:cNvSpPr/>
            <p:nvPr/>
          </p:nvSpPr>
          <p:spPr>
            <a:xfrm>
              <a:off x="12258409" y="8659953"/>
              <a:ext cx="0" cy="43180"/>
            </a:xfrm>
            <a:custGeom>
              <a:avLst/>
              <a:gdLst/>
              <a:ahLst/>
              <a:cxnLst/>
              <a:rect l="l" t="t" r="r" b="b"/>
              <a:pathLst>
                <a:path h="43179">
                  <a:moveTo>
                    <a:pt x="0" y="0"/>
                  </a:moveTo>
                  <a:lnTo>
                    <a:pt x="0" y="0"/>
                  </a:lnTo>
                  <a:lnTo>
                    <a:pt x="0" y="42815"/>
                  </a:lnTo>
                </a:path>
              </a:pathLst>
            </a:custGeom>
            <a:ln w="12430">
              <a:solidFill>
                <a:srgbClr val="797979"/>
              </a:solidFill>
            </a:ln>
          </p:spPr>
          <p:txBody>
            <a:bodyPr wrap="square" lIns="0" tIns="0" rIns="0" bIns="0" rtlCol="0"/>
            <a:lstStyle/>
            <a:p>
              <a:endParaRPr sz="1454"/>
            </a:p>
          </p:txBody>
        </p:sp>
        <p:sp>
          <p:nvSpPr>
            <p:cNvPr id="33" name="object 33"/>
            <p:cNvSpPr/>
            <p:nvPr/>
          </p:nvSpPr>
          <p:spPr>
            <a:xfrm>
              <a:off x="12256500" y="8616180"/>
              <a:ext cx="191135" cy="43815"/>
            </a:xfrm>
            <a:custGeom>
              <a:avLst/>
              <a:gdLst/>
              <a:ahLst/>
              <a:cxnLst/>
              <a:rect l="l" t="t" r="r" b="b"/>
              <a:pathLst>
                <a:path w="191134" h="43815">
                  <a:moveTo>
                    <a:pt x="191119" y="43772"/>
                  </a:moveTo>
                  <a:lnTo>
                    <a:pt x="0" y="43772"/>
                  </a:lnTo>
                  <a:lnTo>
                    <a:pt x="0" y="949"/>
                  </a:lnTo>
                  <a:lnTo>
                    <a:pt x="175834" y="0"/>
                  </a:lnTo>
                  <a:lnTo>
                    <a:pt x="175834" y="4749"/>
                  </a:lnTo>
                  <a:lnTo>
                    <a:pt x="190164" y="4749"/>
                  </a:lnTo>
                  <a:lnTo>
                    <a:pt x="191119" y="43772"/>
                  </a:lnTo>
                  <a:close/>
                </a:path>
              </a:pathLst>
            </a:custGeom>
            <a:ln w="12373">
              <a:solidFill>
                <a:srgbClr val="797979"/>
              </a:solidFill>
            </a:ln>
          </p:spPr>
          <p:txBody>
            <a:bodyPr wrap="square" lIns="0" tIns="0" rIns="0" bIns="0" rtlCol="0"/>
            <a:lstStyle/>
            <a:p>
              <a:endParaRPr sz="1454"/>
            </a:p>
          </p:txBody>
        </p:sp>
        <p:sp>
          <p:nvSpPr>
            <p:cNvPr id="34" name="object 34"/>
            <p:cNvSpPr/>
            <p:nvPr/>
          </p:nvSpPr>
          <p:spPr>
            <a:xfrm>
              <a:off x="12277525" y="8617130"/>
              <a:ext cx="29845" cy="38100"/>
            </a:xfrm>
            <a:custGeom>
              <a:avLst/>
              <a:gdLst/>
              <a:ahLst/>
              <a:cxnLst/>
              <a:rect l="l" t="t" r="r" b="b"/>
              <a:pathLst>
                <a:path w="29845" h="38100">
                  <a:moveTo>
                    <a:pt x="0" y="0"/>
                  </a:moveTo>
                  <a:lnTo>
                    <a:pt x="0" y="0"/>
                  </a:lnTo>
                  <a:lnTo>
                    <a:pt x="0" y="38060"/>
                  </a:lnTo>
                </a:path>
                <a:path w="29845" h="38100">
                  <a:moveTo>
                    <a:pt x="29628" y="0"/>
                  </a:moveTo>
                  <a:lnTo>
                    <a:pt x="29628" y="0"/>
                  </a:lnTo>
                  <a:lnTo>
                    <a:pt x="29628" y="38060"/>
                  </a:lnTo>
                </a:path>
              </a:pathLst>
            </a:custGeom>
            <a:ln w="12400">
              <a:solidFill>
                <a:srgbClr val="797979"/>
              </a:solidFill>
            </a:ln>
          </p:spPr>
          <p:txBody>
            <a:bodyPr wrap="square" lIns="0" tIns="0" rIns="0" bIns="0" rtlCol="0"/>
            <a:lstStyle/>
            <a:p>
              <a:endParaRPr sz="1454"/>
            </a:p>
          </p:txBody>
        </p:sp>
        <p:sp>
          <p:nvSpPr>
            <p:cNvPr id="35" name="object 35"/>
            <p:cNvSpPr/>
            <p:nvPr/>
          </p:nvSpPr>
          <p:spPr>
            <a:xfrm>
              <a:off x="12247897" y="8573358"/>
              <a:ext cx="184785" cy="43180"/>
            </a:xfrm>
            <a:custGeom>
              <a:avLst/>
              <a:gdLst/>
              <a:ahLst/>
              <a:cxnLst/>
              <a:rect l="l" t="t" r="r" b="b"/>
              <a:pathLst>
                <a:path w="184784" h="43179">
                  <a:moveTo>
                    <a:pt x="184437" y="42822"/>
                  </a:moveTo>
                  <a:lnTo>
                    <a:pt x="0" y="42822"/>
                  </a:lnTo>
                  <a:lnTo>
                    <a:pt x="0" y="0"/>
                  </a:lnTo>
                  <a:lnTo>
                    <a:pt x="184437" y="0"/>
                  </a:lnTo>
                  <a:lnTo>
                    <a:pt x="184437" y="42822"/>
                  </a:lnTo>
                  <a:close/>
                </a:path>
              </a:pathLst>
            </a:custGeom>
            <a:ln w="12373">
              <a:solidFill>
                <a:srgbClr val="797979"/>
              </a:solidFill>
            </a:ln>
          </p:spPr>
          <p:txBody>
            <a:bodyPr wrap="square" lIns="0" tIns="0" rIns="0" bIns="0" rtlCol="0"/>
            <a:lstStyle/>
            <a:p>
              <a:endParaRPr sz="1454"/>
            </a:p>
          </p:txBody>
        </p:sp>
        <p:sp>
          <p:nvSpPr>
            <p:cNvPr id="36" name="object 36"/>
            <p:cNvSpPr/>
            <p:nvPr/>
          </p:nvSpPr>
          <p:spPr>
            <a:xfrm>
              <a:off x="12271785" y="8573358"/>
              <a:ext cx="0" cy="38100"/>
            </a:xfrm>
            <a:custGeom>
              <a:avLst/>
              <a:gdLst/>
              <a:ahLst/>
              <a:cxnLst/>
              <a:rect l="l" t="t" r="r" b="b"/>
              <a:pathLst>
                <a:path h="38100">
                  <a:moveTo>
                    <a:pt x="0" y="0"/>
                  </a:moveTo>
                  <a:lnTo>
                    <a:pt x="0" y="0"/>
                  </a:lnTo>
                  <a:lnTo>
                    <a:pt x="0" y="38060"/>
                  </a:lnTo>
                </a:path>
              </a:pathLst>
            </a:custGeom>
            <a:ln w="12430">
              <a:solidFill>
                <a:srgbClr val="797979"/>
              </a:solidFill>
            </a:ln>
          </p:spPr>
          <p:txBody>
            <a:bodyPr wrap="square" lIns="0" tIns="0" rIns="0" bIns="0" rtlCol="0"/>
            <a:lstStyle/>
            <a:p>
              <a:endParaRPr sz="1454"/>
            </a:p>
          </p:txBody>
        </p:sp>
        <p:sp>
          <p:nvSpPr>
            <p:cNvPr id="37" name="object 37"/>
            <p:cNvSpPr/>
            <p:nvPr/>
          </p:nvSpPr>
          <p:spPr>
            <a:xfrm>
              <a:off x="12450496" y="8450602"/>
              <a:ext cx="257175" cy="43180"/>
            </a:xfrm>
            <a:custGeom>
              <a:avLst/>
              <a:gdLst/>
              <a:ahLst/>
              <a:cxnLst/>
              <a:rect l="l" t="t" r="r" b="b"/>
              <a:pathLst>
                <a:path w="257175" h="43179">
                  <a:moveTo>
                    <a:pt x="257057" y="0"/>
                  </a:moveTo>
                  <a:lnTo>
                    <a:pt x="0" y="0"/>
                  </a:lnTo>
                  <a:lnTo>
                    <a:pt x="0" y="42822"/>
                  </a:lnTo>
                  <a:lnTo>
                    <a:pt x="257057" y="42822"/>
                  </a:lnTo>
                  <a:lnTo>
                    <a:pt x="257057" y="0"/>
                  </a:lnTo>
                  <a:close/>
                </a:path>
              </a:pathLst>
            </a:custGeom>
            <a:ln w="12372">
              <a:solidFill>
                <a:srgbClr val="797979"/>
              </a:solidFill>
            </a:ln>
          </p:spPr>
          <p:txBody>
            <a:bodyPr wrap="square" lIns="0" tIns="0" rIns="0" bIns="0" rtlCol="0"/>
            <a:lstStyle/>
            <a:p>
              <a:endParaRPr sz="1454"/>
            </a:p>
          </p:txBody>
        </p:sp>
        <p:sp>
          <p:nvSpPr>
            <p:cNvPr id="38" name="object 38"/>
            <p:cNvSpPr/>
            <p:nvPr/>
          </p:nvSpPr>
          <p:spPr>
            <a:xfrm>
              <a:off x="12475339" y="8455364"/>
              <a:ext cx="207645" cy="38100"/>
            </a:xfrm>
            <a:custGeom>
              <a:avLst/>
              <a:gdLst/>
              <a:ahLst/>
              <a:cxnLst/>
              <a:rect l="l" t="t" r="r" b="b"/>
              <a:pathLst>
                <a:path w="207645" h="38100">
                  <a:moveTo>
                    <a:pt x="176789" y="38060"/>
                  </a:moveTo>
                  <a:lnTo>
                    <a:pt x="176789" y="38060"/>
                  </a:lnTo>
                  <a:lnTo>
                    <a:pt x="176789" y="0"/>
                  </a:lnTo>
                </a:path>
                <a:path w="207645" h="38100">
                  <a:moveTo>
                    <a:pt x="0" y="38060"/>
                  </a:moveTo>
                  <a:lnTo>
                    <a:pt x="0" y="38060"/>
                  </a:lnTo>
                  <a:lnTo>
                    <a:pt x="0" y="0"/>
                  </a:lnTo>
                </a:path>
                <a:path w="207645" h="38100">
                  <a:moveTo>
                    <a:pt x="16239" y="38060"/>
                  </a:moveTo>
                  <a:lnTo>
                    <a:pt x="16239" y="38060"/>
                  </a:lnTo>
                  <a:lnTo>
                    <a:pt x="16239" y="0"/>
                  </a:lnTo>
                </a:path>
                <a:path w="207645" h="38100">
                  <a:moveTo>
                    <a:pt x="207371" y="38060"/>
                  </a:moveTo>
                  <a:lnTo>
                    <a:pt x="207371" y="38060"/>
                  </a:lnTo>
                  <a:lnTo>
                    <a:pt x="207371" y="0"/>
                  </a:lnTo>
                </a:path>
              </a:pathLst>
            </a:custGeom>
            <a:ln w="12400">
              <a:solidFill>
                <a:srgbClr val="797979"/>
              </a:solidFill>
            </a:ln>
          </p:spPr>
          <p:txBody>
            <a:bodyPr wrap="square" lIns="0" tIns="0" rIns="0" bIns="0" rtlCol="0"/>
            <a:lstStyle/>
            <a:p>
              <a:endParaRPr sz="1454"/>
            </a:p>
          </p:txBody>
        </p:sp>
        <p:sp>
          <p:nvSpPr>
            <p:cNvPr id="39" name="object 39"/>
            <p:cNvSpPr/>
            <p:nvPr/>
          </p:nvSpPr>
          <p:spPr>
            <a:xfrm>
              <a:off x="12076844" y="8288836"/>
              <a:ext cx="568960" cy="289560"/>
            </a:xfrm>
            <a:custGeom>
              <a:avLst/>
              <a:gdLst/>
              <a:ahLst/>
              <a:cxnLst/>
              <a:rect l="l" t="t" r="r" b="b"/>
              <a:pathLst>
                <a:path w="568959" h="289559">
                  <a:moveTo>
                    <a:pt x="506482" y="161765"/>
                  </a:moveTo>
                  <a:lnTo>
                    <a:pt x="507437" y="157953"/>
                  </a:lnTo>
                  <a:lnTo>
                    <a:pt x="507437" y="154153"/>
                  </a:lnTo>
                  <a:lnTo>
                    <a:pt x="507437" y="149391"/>
                  </a:lnTo>
                  <a:lnTo>
                    <a:pt x="503912" y="131968"/>
                  </a:lnTo>
                  <a:lnTo>
                    <a:pt x="494296" y="117754"/>
                  </a:lnTo>
                  <a:lnTo>
                    <a:pt x="480022" y="108178"/>
                  </a:lnTo>
                  <a:lnTo>
                    <a:pt x="462523" y="104669"/>
                  </a:lnTo>
                  <a:lnTo>
                    <a:pt x="444871" y="108178"/>
                  </a:lnTo>
                  <a:lnTo>
                    <a:pt x="430269" y="117754"/>
                  </a:lnTo>
                  <a:lnTo>
                    <a:pt x="420327" y="131968"/>
                  </a:lnTo>
                  <a:lnTo>
                    <a:pt x="416656" y="149391"/>
                  </a:lnTo>
                  <a:lnTo>
                    <a:pt x="416656" y="154153"/>
                  </a:lnTo>
                  <a:lnTo>
                    <a:pt x="417610" y="157953"/>
                  </a:lnTo>
                  <a:lnTo>
                    <a:pt x="418565" y="161765"/>
                  </a:lnTo>
                  <a:lnTo>
                    <a:pt x="506482" y="161765"/>
                  </a:lnTo>
                  <a:close/>
                </a:path>
                <a:path w="568959" h="289559">
                  <a:moveTo>
                    <a:pt x="387982" y="247411"/>
                  </a:moveTo>
                  <a:lnTo>
                    <a:pt x="387982" y="204588"/>
                  </a:lnTo>
                  <a:lnTo>
                    <a:pt x="373652" y="204588"/>
                  </a:lnTo>
                  <a:lnTo>
                    <a:pt x="373652" y="161765"/>
                  </a:lnTo>
                  <a:lnTo>
                    <a:pt x="568589" y="161765"/>
                  </a:lnTo>
                  <a:lnTo>
                    <a:pt x="568589" y="46622"/>
                  </a:lnTo>
                  <a:lnTo>
                    <a:pt x="568589" y="44722"/>
                  </a:lnTo>
                  <a:lnTo>
                    <a:pt x="567635" y="42822"/>
                  </a:lnTo>
                  <a:lnTo>
                    <a:pt x="566680" y="40910"/>
                  </a:lnTo>
                  <a:lnTo>
                    <a:pt x="564771" y="39960"/>
                  </a:lnTo>
                  <a:lnTo>
                    <a:pt x="562862" y="39010"/>
                  </a:lnTo>
                  <a:lnTo>
                    <a:pt x="559999" y="39960"/>
                  </a:lnTo>
                  <a:lnTo>
                    <a:pt x="547362" y="38560"/>
                  </a:lnTo>
                  <a:lnTo>
                    <a:pt x="536339" y="32344"/>
                  </a:lnTo>
                  <a:lnTo>
                    <a:pt x="528542" y="22562"/>
                  </a:lnTo>
                  <a:lnTo>
                    <a:pt x="525585" y="10461"/>
                  </a:lnTo>
                  <a:lnTo>
                    <a:pt x="526552" y="7612"/>
                  </a:lnTo>
                  <a:lnTo>
                    <a:pt x="526552" y="5699"/>
                  </a:lnTo>
                  <a:lnTo>
                    <a:pt x="525585" y="3799"/>
                  </a:lnTo>
                  <a:lnTo>
                    <a:pt x="523676" y="1899"/>
                  </a:lnTo>
                  <a:lnTo>
                    <a:pt x="522721" y="949"/>
                  </a:lnTo>
                  <a:lnTo>
                    <a:pt x="520812" y="0"/>
                  </a:lnTo>
                  <a:lnTo>
                    <a:pt x="518903" y="0"/>
                  </a:lnTo>
                  <a:lnTo>
                    <a:pt x="50647" y="0"/>
                  </a:lnTo>
                  <a:lnTo>
                    <a:pt x="48736" y="0"/>
                  </a:lnTo>
                  <a:lnTo>
                    <a:pt x="46825" y="1899"/>
                  </a:lnTo>
                  <a:lnTo>
                    <a:pt x="44914" y="2849"/>
                  </a:lnTo>
                  <a:lnTo>
                    <a:pt x="43958" y="4749"/>
                  </a:lnTo>
                  <a:lnTo>
                    <a:pt x="43002" y="7612"/>
                  </a:lnTo>
                  <a:lnTo>
                    <a:pt x="43002" y="9511"/>
                  </a:lnTo>
                  <a:lnTo>
                    <a:pt x="40046" y="22161"/>
                  </a:lnTo>
                  <a:lnTo>
                    <a:pt x="32251" y="32226"/>
                  </a:lnTo>
                  <a:lnTo>
                    <a:pt x="21232" y="38545"/>
                  </a:lnTo>
                  <a:lnTo>
                    <a:pt x="8600" y="39960"/>
                  </a:lnTo>
                  <a:lnTo>
                    <a:pt x="6689" y="39010"/>
                  </a:lnTo>
                  <a:lnTo>
                    <a:pt x="4777" y="39960"/>
                  </a:lnTo>
                  <a:lnTo>
                    <a:pt x="2867" y="40910"/>
                  </a:lnTo>
                  <a:lnTo>
                    <a:pt x="955" y="42822"/>
                  </a:lnTo>
                  <a:lnTo>
                    <a:pt x="0" y="44722"/>
                  </a:lnTo>
                  <a:lnTo>
                    <a:pt x="0" y="46622"/>
                  </a:lnTo>
                  <a:lnTo>
                    <a:pt x="0" y="242648"/>
                  </a:lnTo>
                  <a:lnTo>
                    <a:pt x="0" y="244548"/>
                  </a:lnTo>
                  <a:lnTo>
                    <a:pt x="1911" y="246448"/>
                  </a:lnTo>
                  <a:lnTo>
                    <a:pt x="3821" y="247411"/>
                  </a:lnTo>
                  <a:lnTo>
                    <a:pt x="4777" y="249310"/>
                  </a:lnTo>
                  <a:lnTo>
                    <a:pt x="7645" y="250260"/>
                  </a:lnTo>
                  <a:lnTo>
                    <a:pt x="9556" y="249310"/>
                  </a:lnTo>
                  <a:lnTo>
                    <a:pt x="22038" y="250710"/>
                  </a:lnTo>
                  <a:lnTo>
                    <a:pt x="32729" y="256926"/>
                  </a:lnTo>
                  <a:lnTo>
                    <a:pt x="40195" y="266708"/>
                  </a:lnTo>
                  <a:lnTo>
                    <a:pt x="43002" y="278809"/>
                  </a:lnTo>
                  <a:lnTo>
                    <a:pt x="43002" y="281659"/>
                  </a:lnTo>
                  <a:lnTo>
                    <a:pt x="43002" y="283571"/>
                  </a:lnTo>
                  <a:lnTo>
                    <a:pt x="43958" y="285471"/>
                  </a:lnTo>
                  <a:lnTo>
                    <a:pt x="44914" y="287371"/>
                  </a:lnTo>
                  <a:lnTo>
                    <a:pt x="46825" y="288321"/>
                  </a:lnTo>
                  <a:lnTo>
                    <a:pt x="48736" y="289271"/>
                  </a:lnTo>
                  <a:lnTo>
                    <a:pt x="50647" y="289271"/>
                  </a:lnTo>
                  <a:lnTo>
                    <a:pt x="169143" y="289271"/>
                  </a:lnTo>
                  <a:lnTo>
                    <a:pt x="171053" y="284521"/>
                  </a:lnTo>
                  <a:lnTo>
                    <a:pt x="371730" y="284521"/>
                  </a:lnTo>
                  <a:lnTo>
                    <a:pt x="371730" y="247411"/>
                  </a:lnTo>
                  <a:lnTo>
                    <a:pt x="387982" y="247411"/>
                  </a:lnTo>
                  <a:close/>
                </a:path>
              </a:pathLst>
            </a:custGeom>
            <a:ln w="12400">
              <a:solidFill>
                <a:srgbClr val="797979"/>
              </a:solidFill>
            </a:ln>
          </p:spPr>
          <p:txBody>
            <a:bodyPr wrap="square" lIns="0" tIns="0" rIns="0" bIns="0" rtlCol="0"/>
            <a:lstStyle/>
            <a:p>
              <a:endParaRPr sz="1454"/>
            </a:p>
          </p:txBody>
        </p:sp>
        <p:pic>
          <p:nvPicPr>
            <p:cNvPr id="40" name="object 40"/>
            <p:cNvPicPr/>
            <p:nvPr/>
          </p:nvPicPr>
          <p:blipFill>
            <a:blip r:embed="rId6" cstate="print"/>
            <a:stretch>
              <a:fillRect/>
            </a:stretch>
          </p:blipFill>
          <p:spPr>
            <a:xfrm>
              <a:off x="12246482" y="8318796"/>
              <a:ext cx="230271" cy="229350"/>
            </a:xfrm>
            <a:prstGeom prst="rect">
              <a:avLst/>
            </a:prstGeom>
          </p:spPr>
        </p:pic>
        <p:sp>
          <p:nvSpPr>
            <p:cNvPr id="41" name="object 41"/>
            <p:cNvSpPr/>
            <p:nvPr/>
          </p:nvSpPr>
          <p:spPr>
            <a:xfrm>
              <a:off x="12594793" y="8528635"/>
              <a:ext cx="275590" cy="275590"/>
            </a:xfrm>
            <a:custGeom>
              <a:avLst/>
              <a:gdLst/>
              <a:ahLst/>
              <a:cxnLst/>
              <a:rect l="l" t="t" r="r" b="b"/>
              <a:pathLst>
                <a:path w="275590" h="275590">
                  <a:moveTo>
                    <a:pt x="137602" y="0"/>
                  </a:moveTo>
                  <a:lnTo>
                    <a:pt x="93935" y="7040"/>
                  </a:lnTo>
                  <a:lnTo>
                    <a:pt x="56140" y="26641"/>
                  </a:lnTo>
                  <a:lnTo>
                    <a:pt x="26418" y="56518"/>
                  </a:lnTo>
                  <a:lnTo>
                    <a:pt x="6971" y="94388"/>
                  </a:lnTo>
                  <a:lnTo>
                    <a:pt x="0" y="137967"/>
                  </a:lnTo>
                  <a:lnTo>
                    <a:pt x="6971" y="181087"/>
                  </a:lnTo>
                  <a:lnTo>
                    <a:pt x="26418" y="218680"/>
                  </a:lnTo>
                  <a:lnTo>
                    <a:pt x="56140" y="248416"/>
                  </a:lnTo>
                  <a:lnTo>
                    <a:pt x="93935" y="267965"/>
                  </a:lnTo>
                  <a:lnTo>
                    <a:pt x="137602" y="274999"/>
                  </a:lnTo>
                  <a:lnTo>
                    <a:pt x="181271" y="267965"/>
                  </a:lnTo>
                  <a:lnTo>
                    <a:pt x="219070" y="248416"/>
                  </a:lnTo>
                  <a:lnTo>
                    <a:pt x="248795" y="218680"/>
                  </a:lnTo>
                  <a:lnTo>
                    <a:pt x="268245" y="181087"/>
                  </a:lnTo>
                  <a:lnTo>
                    <a:pt x="275218" y="137967"/>
                  </a:lnTo>
                  <a:lnTo>
                    <a:pt x="268245" y="94388"/>
                  </a:lnTo>
                  <a:lnTo>
                    <a:pt x="248795" y="56518"/>
                  </a:lnTo>
                  <a:lnTo>
                    <a:pt x="219070" y="26641"/>
                  </a:lnTo>
                  <a:lnTo>
                    <a:pt x="181271" y="7040"/>
                  </a:lnTo>
                  <a:lnTo>
                    <a:pt x="137602" y="0"/>
                  </a:lnTo>
                  <a:close/>
                </a:path>
              </a:pathLst>
            </a:custGeom>
            <a:ln w="12400">
              <a:solidFill>
                <a:srgbClr val="797979"/>
              </a:solidFill>
            </a:ln>
          </p:spPr>
          <p:txBody>
            <a:bodyPr wrap="square" lIns="0" tIns="0" rIns="0" bIns="0" rtlCol="0"/>
            <a:lstStyle/>
            <a:p>
              <a:endParaRPr sz="1454"/>
            </a:p>
          </p:txBody>
        </p:sp>
        <p:pic>
          <p:nvPicPr>
            <p:cNvPr id="42" name="object 42"/>
            <p:cNvPicPr/>
            <p:nvPr/>
          </p:nvPicPr>
          <p:blipFill>
            <a:blip r:embed="rId7" cstate="print"/>
            <a:stretch>
              <a:fillRect/>
            </a:stretch>
          </p:blipFill>
          <p:spPr>
            <a:xfrm>
              <a:off x="12426148" y="8530061"/>
              <a:ext cx="268475" cy="191264"/>
            </a:xfrm>
            <a:prstGeom prst="rect">
              <a:avLst/>
            </a:prstGeom>
          </p:spPr>
        </p:pic>
        <p:sp>
          <p:nvSpPr>
            <p:cNvPr id="43" name="object 43"/>
            <p:cNvSpPr/>
            <p:nvPr/>
          </p:nvSpPr>
          <p:spPr>
            <a:xfrm>
              <a:off x="12460054" y="8493425"/>
              <a:ext cx="377825" cy="278130"/>
            </a:xfrm>
            <a:custGeom>
              <a:avLst/>
              <a:gdLst/>
              <a:ahLst/>
              <a:cxnLst/>
              <a:rect l="l" t="t" r="r" b="b"/>
              <a:pathLst>
                <a:path w="377825" h="278129">
                  <a:moveTo>
                    <a:pt x="228383" y="42822"/>
                  </a:moveTo>
                  <a:lnTo>
                    <a:pt x="236432" y="40306"/>
                  </a:lnTo>
                  <a:lnTo>
                    <a:pt x="244748" y="38418"/>
                  </a:lnTo>
                  <a:lnTo>
                    <a:pt x="253244" y="37066"/>
                  </a:lnTo>
                  <a:lnTo>
                    <a:pt x="261829" y="36160"/>
                  </a:lnTo>
                  <a:lnTo>
                    <a:pt x="261829" y="0"/>
                  </a:lnTo>
                  <a:lnTo>
                    <a:pt x="4772" y="0"/>
                  </a:lnTo>
                  <a:lnTo>
                    <a:pt x="4772" y="42822"/>
                  </a:lnTo>
                  <a:lnTo>
                    <a:pt x="228383" y="42822"/>
                  </a:lnTo>
                  <a:close/>
                </a:path>
                <a:path w="377825" h="278129">
                  <a:moveTo>
                    <a:pt x="377466" y="173177"/>
                  </a:moveTo>
                  <a:lnTo>
                    <a:pt x="369239" y="213623"/>
                  </a:lnTo>
                  <a:lnTo>
                    <a:pt x="346767" y="246929"/>
                  </a:lnTo>
                  <a:lnTo>
                    <a:pt x="313364" y="269530"/>
                  </a:lnTo>
                  <a:lnTo>
                    <a:pt x="272342" y="277856"/>
                  </a:lnTo>
                  <a:lnTo>
                    <a:pt x="231328" y="269530"/>
                  </a:lnTo>
                  <a:lnTo>
                    <a:pt x="197928" y="246929"/>
                  </a:lnTo>
                  <a:lnTo>
                    <a:pt x="175457" y="213623"/>
                  </a:lnTo>
                  <a:lnTo>
                    <a:pt x="167231" y="173177"/>
                  </a:lnTo>
                  <a:lnTo>
                    <a:pt x="175457" y="132191"/>
                  </a:lnTo>
                  <a:lnTo>
                    <a:pt x="197928" y="98605"/>
                  </a:lnTo>
                  <a:lnTo>
                    <a:pt x="231328" y="75900"/>
                  </a:lnTo>
                  <a:lnTo>
                    <a:pt x="272342" y="67558"/>
                  </a:lnTo>
                  <a:lnTo>
                    <a:pt x="313364" y="75900"/>
                  </a:lnTo>
                  <a:lnTo>
                    <a:pt x="346767" y="98605"/>
                  </a:lnTo>
                  <a:lnTo>
                    <a:pt x="369239" y="132191"/>
                  </a:lnTo>
                  <a:lnTo>
                    <a:pt x="377466" y="173177"/>
                  </a:lnTo>
                  <a:close/>
                </a:path>
                <a:path w="377825" h="278129">
                  <a:moveTo>
                    <a:pt x="240805" y="201731"/>
                  </a:moveTo>
                  <a:lnTo>
                    <a:pt x="240805" y="209343"/>
                  </a:lnTo>
                  <a:lnTo>
                    <a:pt x="242642" y="217981"/>
                  </a:lnTo>
                  <a:lnTo>
                    <a:pt x="247615" y="224925"/>
                  </a:lnTo>
                  <a:lnTo>
                    <a:pt x="254920" y="229549"/>
                  </a:lnTo>
                  <a:lnTo>
                    <a:pt x="263751" y="231229"/>
                  </a:lnTo>
                  <a:lnTo>
                    <a:pt x="281900" y="231229"/>
                  </a:lnTo>
                  <a:lnTo>
                    <a:pt x="290574" y="229549"/>
                  </a:lnTo>
                  <a:lnTo>
                    <a:pt x="297547" y="224925"/>
                  </a:lnTo>
                  <a:lnTo>
                    <a:pt x="302192" y="217981"/>
                  </a:lnTo>
                  <a:lnTo>
                    <a:pt x="303879" y="209343"/>
                  </a:lnTo>
                  <a:lnTo>
                    <a:pt x="303879" y="194117"/>
                  </a:lnTo>
                  <a:lnTo>
                    <a:pt x="303879" y="186501"/>
                  </a:lnTo>
                  <a:lnTo>
                    <a:pt x="298152" y="180802"/>
                  </a:lnTo>
                  <a:lnTo>
                    <a:pt x="290503" y="176040"/>
                  </a:lnTo>
                  <a:lnTo>
                    <a:pt x="258011" y="163665"/>
                  </a:lnTo>
                  <a:lnTo>
                    <a:pt x="253239" y="161765"/>
                  </a:lnTo>
                  <a:lnTo>
                    <a:pt x="246545" y="157003"/>
                  </a:lnTo>
                  <a:lnTo>
                    <a:pt x="240805" y="151291"/>
                  </a:lnTo>
                  <a:lnTo>
                    <a:pt x="240805" y="144641"/>
                  </a:lnTo>
                  <a:lnTo>
                    <a:pt x="240805" y="129405"/>
                  </a:lnTo>
                  <a:lnTo>
                    <a:pt x="242642" y="120621"/>
                  </a:lnTo>
                  <a:lnTo>
                    <a:pt x="247615" y="113351"/>
                  </a:lnTo>
                  <a:lnTo>
                    <a:pt x="254920" y="108398"/>
                  </a:lnTo>
                  <a:lnTo>
                    <a:pt x="263751" y="106568"/>
                  </a:lnTo>
                  <a:lnTo>
                    <a:pt x="281900" y="106568"/>
                  </a:lnTo>
                  <a:lnTo>
                    <a:pt x="290574" y="108398"/>
                  </a:lnTo>
                  <a:lnTo>
                    <a:pt x="297547" y="113351"/>
                  </a:lnTo>
                  <a:lnTo>
                    <a:pt x="302192" y="120621"/>
                  </a:lnTo>
                  <a:lnTo>
                    <a:pt x="303879" y="129405"/>
                  </a:lnTo>
                  <a:lnTo>
                    <a:pt x="303879" y="136067"/>
                  </a:lnTo>
                </a:path>
                <a:path w="377825" h="278129">
                  <a:moveTo>
                    <a:pt x="272342" y="90394"/>
                  </a:moveTo>
                  <a:lnTo>
                    <a:pt x="272342" y="90394"/>
                  </a:lnTo>
                  <a:lnTo>
                    <a:pt x="272342" y="251213"/>
                  </a:lnTo>
                </a:path>
                <a:path w="377825" h="278129">
                  <a:moveTo>
                    <a:pt x="206404" y="0"/>
                  </a:moveTo>
                  <a:lnTo>
                    <a:pt x="206404" y="0"/>
                  </a:lnTo>
                  <a:lnTo>
                    <a:pt x="206404" y="42822"/>
                  </a:lnTo>
                </a:path>
                <a:path w="377825" h="278129">
                  <a:moveTo>
                    <a:pt x="236032" y="0"/>
                  </a:moveTo>
                  <a:lnTo>
                    <a:pt x="236032" y="0"/>
                  </a:lnTo>
                  <a:lnTo>
                    <a:pt x="236032" y="39960"/>
                  </a:lnTo>
                </a:path>
                <a:path w="377825" h="278129">
                  <a:moveTo>
                    <a:pt x="8590" y="39960"/>
                  </a:moveTo>
                  <a:lnTo>
                    <a:pt x="8590" y="39960"/>
                  </a:lnTo>
                  <a:lnTo>
                    <a:pt x="8590" y="84682"/>
                  </a:lnTo>
                </a:path>
                <a:path w="377825" h="278129">
                  <a:moveTo>
                    <a:pt x="41082" y="42822"/>
                  </a:moveTo>
                  <a:lnTo>
                    <a:pt x="41082" y="42822"/>
                  </a:lnTo>
                  <a:lnTo>
                    <a:pt x="41082" y="84682"/>
                  </a:lnTo>
                </a:path>
                <a:path w="377825" h="278129">
                  <a:moveTo>
                    <a:pt x="188255" y="47572"/>
                  </a:moveTo>
                  <a:lnTo>
                    <a:pt x="188255" y="47572"/>
                  </a:lnTo>
                  <a:lnTo>
                    <a:pt x="188255" y="65658"/>
                  </a:lnTo>
                </a:path>
                <a:path w="377825" h="278129">
                  <a:moveTo>
                    <a:pt x="10499" y="127505"/>
                  </a:moveTo>
                  <a:lnTo>
                    <a:pt x="10499" y="127505"/>
                  </a:lnTo>
                  <a:lnTo>
                    <a:pt x="10499" y="176040"/>
                  </a:lnTo>
                </a:path>
                <a:path w="377825" h="278129">
                  <a:moveTo>
                    <a:pt x="0" y="178889"/>
                  </a:moveTo>
                  <a:lnTo>
                    <a:pt x="0" y="178889"/>
                  </a:lnTo>
                  <a:lnTo>
                    <a:pt x="0" y="221713"/>
                  </a:lnTo>
                </a:path>
              </a:pathLst>
            </a:custGeom>
            <a:ln w="12400">
              <a:solidFill>
                <a:srgbClr val="797979"/>
              </a:solidFill>
            </a:ln>
          </p:spPr>
          <p:txBody>
            <a:bodyPr wrap="square" lIns="0" tIns="0" rIns="0" bIns="0" rtlCol="0"/>
            <a:lstStyle/>
            <a:p>
              <a:endParaRPr sz="1454"/>
            </a:p>
          </p:txBody>
        </p:sp>
        <p:sp>
          <p:nvSpPr>
            <p:cNvPr id="44" name="object 44"/>
            <p:cNvSpPr/>
            <p:nvPr/>
          </p:nvSpPr>
          <p:spPr>
            <a:xfrm>
              <a:off x="12180546" y="6828319"/>
              <a:ext cx="598170" cy="697865"/>
            </a:xfrm>
            <a:custGeom>
              <a:avLst/>
              <a:gdLst/>
              <a:ahLst/>
              <a:cxnLst/>
              <a:rect l="l" t="t" r="r" b="b"/>
              <a:pathLst>
                <a:path w="598170" h="697865">
                  <a:moveTo>
                    <a:pt x="0" y="665174"/>
                  </a:moveTo>
                  <a:lnTo>
                    <a:pt x="0" y="0"/>
                  </a:lnTo>
                  <a:lnTo>
                    <a:pt x="59904" y="49013"/>
                  </a:lnTo>
                  <a:lnTo>
                    <a:pt x="111450" y="0"/>
                  </a:lnTo>
                  <a:lnTo>
                    <a:pt x="175534" y="44796"/>
                  </a:lnTo>
                  <a:lnTo>
                    <a:pt x="227075" y="0"/>
                  </a:lnTo>
                  <a:lnTo>
                    <a:pt x="282798" y="44796"/>
                  </a:lnTo>
                  <a:lnTo>
                    <a:pt x="334348" y="0"/>
                  </a:lnTo>
                  <a:lnTo>
                    <a:pt x="394245" y="44796"/>
                  </a:lnTo>
                  <a:lnTo>
                    <a:pt x="445795" y="0"/>
                  </a:lnTo>
                  <a:lnTo>
                    <a:pt x="512667" y="49013"/>
                  </a:lnTo>
                  <a:lnTo>
                    <a:pt x="565608" y="0"/>
                  </a:lnTo>
                  <a:lnTo>
                    <a:pt x="597644" y="36400"/>
                  </a:lnTo>
                  <a:lnTo>
                    <a:pt x="597644" y="697384"/>
                  </a:lnTo>
                  <a:lnTo>
                    <a:pt x="541920" y="652571"/>
                  </a:lnTo>
                  <a:lnTo>
                    <a:pt x="477849" y="697384"/>
                  </a:lnTo>
                  <a:lnTo>
                    <a:pt x="422126" y="648369"/>
                  </a:lnTo>
                  <a:lnTo>
                    <a:pt x="362210" y="697384"/>
                  </a:lnTo>
                  <a:lnTo>
                    <a:pt x="306486" y="648369"/>
                  </a:lnTo>
                  <a:lnTo>
                    <a:pt x="250763" y="697384"/>
                  </a:lnTo>
                  <a:lnTo>
                    <a:pt x="195039" y="648369"/>
                  </a:lnTo>
                  <a:lnTo>
                    <a:pt x="139312" y="697384"/>
                  </a:lnTo>
                  <a:lnTo>
                    <a:pt x="79407" y="648369"/>
                  </a:lnTo>
                  <a:lnTo>
                    <a:pt x="27863" y="697384"/>
                  </a:lnTo>
                  <a:lnTo>
                    <a:pt x="0" y="665174"/>
                  </a:lnTo>
                  <a:close/>
                </a:path>
              </a:pathLst>
            </a:custGeom>
            <a:ln w="18155">
              <a:solidFill>
                <a:srgbClr val="797979"/>
              </a:solidFill>
            </a:ln>
          </p:spPr>
          <p:txBody>
            <a:bodyPr wrap="square" lIns="0" tIns="0" rIns="0" bIns="0" rtlCol="0"/>
            <a:lstStyle/>
            <a:p>
              <a:endParaRPr sz="1454"/>
            </a:p>
          </p:txBody>
        </p:sp>
        <p:sp>
          <p:nvSpPr>
            <p:cNvPr id="45" name="object 45"/>
            <p:cNvSpPr/>
            <p:nvPr/>
          </p:nvSpPr>
          <p:spPr>
            <a:xfrm>
              <a:off x="12227913" y="7363257"/>
              <a:ext cx="508634" cy="28575"/>
            </a:xfrm>
            <a:custGeom>
              <a:avLst/>
              <a:gdLst/>
              <a:ahLst/>
              <a:cxnLst/>
              <a:rect l="l" t="t" r="r" b="b"/>
              <a:pathLst>
                <a:path w="508634" h="28575">
                  <a:moveTo>
                    <a:pt x="65477" y="0"/>
                  </a:moveTo>
                  <a:lnTo>
                    <a:pt x="65477" y="0"/>
                  </a:lnTo>
                  <a:lnTo>
                    <a:pt x="65477" y="28008"/>
                  </a:lnTo>
                </a:path>
                <a:path w="508634" h="28575">
                  <a:moveTo>
                    <a:pt x="126774" y="0"/>
                  </a:moveTo>
                  <a:lnTo>
                    <a:pt x="126774" y="0"/>
                  </a:lnTo>
                  <a:lnTo>
                    <a:pt x="126774" y="28008"/>
                  </a:lnTo>
                </a:path>
                <a:path w="508634" h="28575">
                  <a:moveTo>
                    <a:pt x="192248" y="0"/>
                  </a:moveTo>
                  <a:lnTo>
                    <a:pt x="192248" y="0"/>
                  </a:lnTo>
                  <a:lnTo>
                    <a:pt x="192248" y="28008"/>
                  </a:lnTo>
                </a:path>
                <a:path w="508634" h="28575">
                  <a:moveTo>
                    <a:pt x="253555" y="0"/>
                  </a:moveTo>
                  <a:lnTo>
                    <a:pt x="253555" y="0"/>
                  </a:lnTo>
                  <a:lnTo>
                    <a:pt x="253555" y="28008"/>
                  </a:lnTo>
                </a:path>
                <a:path w="508634" h="28575">
                  <a:moveTo>
                    <a:pt x="321818" y="0"/>
                  </a:moveTo>
                  <a:lnTo>
                    <a:pt x="321818" y="0"/>
                  </a:lnTo>
                  <a:lnTo>
                    <a:pt x="321818" y="28008"/>
                  </a:lnTo>
                </a:path>
                <a:path w="508634" h="28575">
                  <a:moveTo>
                    <a:pt x="381715" y="0"/>
                  </a:moveTo>
                  <a:lnTo>
                    <a:pt x="381715" y="0"/>
                  </a:lnTo>
                  <a:lnTo>
                    <a:pt x="381715" y="28008"/>
                  </a:lnTo>
                </a:path>
                <a:path w="508634" h="28575">
                  <a:moveTo>
                    <a:pt x="448587" y="0"/>
                  </a:moveTo>
                  <a:lnTo>
                    <a:pt x="448587" y="0"/>
                  </a:lnTo>
                  <a:lnTo>
                    <a:pt x="448587" y="28008"/>
                  </a:lnTo>
                </a:path>
                <a:path w="508634" h="28575">
                  <a:moveTo>
                    <a:pt x="508485" y="0"/>
                  </a:moveTo>
                  <a:lnTo>
                    <a:pt x="508485" y="0"/>
                  </a:lnTo>
                  <a:lnTo>
                    <a:pt x="508485" y="28008"/>
                  </a:lnTo>
                </a:path>
                <a:path w="508634" h="28575">
                  <a:moveTo>
                    <a:pt x="0" y="0"/>
                  </a:moveTo>
                  <a:lnTo>
                    <a:pt x="0" y="0"/>
                  </a:lnTo>
                  <a:lnTo>
                    <a:pt x="0" y="28008"/>
                  </a:lnTo>
                </a:path>
              </a:pathLst>
            </a:custGeom>
            <a:ln w="18163">
              <a:solidFill>
                <a:srgbClr val="797979"/>
              </a:solidFill>
            </a:ln>
          </p:spPr>
          <p:txBody>
            <a:bodyPr wrap="square" lIns="0" tIns="0" rIns="0" bIns="0" rtlCol="0"/>
            <a:lstStyle/>
            <a:p>
              <a:endParaRPr sz="1454"/>
            </a:p>
          </p:txBody>
        </p:sp>
        <p:pic>
          <p:nvPicPr>
            <p:cNvPr id="46" name="object 46"/>
            <p:cNvPicPr/>
            <p:nvPr/>
          </p:nvPicPr>
          <p:blipFill>
            <a:blip r:embed="rId8" cstate="print"/>
            <a:stretch>
              <a:fillRect/>
            </a:stretch>
          </p:blipFill>
          <p:spPr>
            <a:xfrm>
              <a:off x="12553202" y="7058700"/>
              <a:ext cx="133213" cy="218405"/>
            </a:xfrm>
            <a:prstGeom prst="rect">
              <a:avLst/>
            </a:prstGeom>
          </p:spPr>
        </p:pic>
        <p:sp>
          <p:nvSpPr>
            <p:cNvPr id="47" name="object 47"/>
            <p:cNvSpPr/>
            <p:nvPr/>
          </p:nvSpPr>
          <p:spPr>
            <a:xfrm>
              <a:off x="12283638" y="6979556"/>
              <a:ext cx="396240" cy="322580"/>
            </a:xfrm>
            <a:custGeom>
              <a:avLst/>
              <a:gdLst/>
              <a:ahLst/>
              <a:cxnLst/>
              <a:rect l="l" t="t" r="r" b="b"/>
              <a:pathLst>
                <a:path w="396240" h="322579">
                  <a:moveTo>
                    <a:pt x="335747" y="51811"/>
                  </a:moveTo>
                  <a:lnTo>
                    <a:pt x="335747" y="51811"/>
                  </a:lnTo>
                  <a:lnTo>
                    <a:pt x="339921" y="322083"/>
                  </a:lnTo>
                </a:path>
                <a:path w="396240" h="322579">
                  <a:moveTo>
                    <a:pt x="0" y="0"/>
                  </a:moveTo>
                  <a:lnTo>
                    <a:pt x="0" y="0"/>
                  </a:lnTo>
                  <a:lnTo>
                    <a:pt x="243796" y="0"/>
                  </a:lnTo>
                </a:path>
                <a:path w="396240" h="322579">
                  <a:moveTo>
                    <a:pt x="286980" y="0"/>
                  </a:moveTo>
                  <a:lnTo>
                    <a:pt x="286980" y="0"/>
                  </a:lnTo>
                  <a:lnTo>
                    <a:pt x="395644" y="0"/>
                  </a:lnTo>
                </a:path>
                <a:path w="396240" h="322579">
                  <a:moveTo>
                    <a:pt x="2786" y="56009"/>
                  </a:moveTo>
                  <a:lnTo>
                    <a:pt x="2786" y="56009"/>
                  </a:lnTo>
                  <a:lnTo>
                    <a:pt x="175532" y="56009"/>
                  </a:lnTo>
                </a:path>
                <a:path w="396240" h="322579">
                  <a:moveTo>
                    <a:pt x="4179" y="172245"/>
                  </a:moveTo>
                  <a:lnTo>
                    <a:pt x="4179" y="172245"/>
                  </a:lnTo>
                  <a:lnTo>
                    <a:pt x="160210" y="172245"/>
                  </a:lnTo>
                </a:path>
                <a:path w="396240" h="322579">
                  <a:moveTo>
                    <a:pt x="1393" y="228254"/>
                  </a:moveTo>
                  <a:lnTo>
                    <a:pt x="1393" y="228254"/>
                  </a:lnTo>
                  <a:lnTo>
                    <a:pt x="211760" y="228254"/>
                  </a:lnTo>
                </a:path>
                <a:path w="396240" h="322579">
                  <a:moveTo>
                    <a:pt x="1393" y="284283"/>
                  </a:moveTo>
                  <a:lnTo>
                    <a:pt x="1393" y="284283"/>
                  </a:lnTo>
                  <a:lnTo>
                    <a:pt x="80799" y="284283"/>
                  </a:lnTo>
                </a:path>
                <a:path w="396240" h="322579">
                  <a:moveTo>
                    <a:pt x="118418" y="284283"/>
                  </a:moveTo>
                  <a:lnTo>
                    <a:pt x="118418" y="284283"/>
                  </a:lnTo>
                  <a:lnTo>
                    <a:pt x="160210" y="284283"/>
                  </a:lnTo>
                </a:path>
              </a:pathLst>
            </a:custGeom>
            <a:ln w="18163">
              <a:solidFill>
                <a:srgbClr val="797979"/>
              </a:solidFill>
            </a:ln>
          </p:spPr>
          <p:txBody>
            <a:bodyPr wrap="square" lIns="0" tIns="0" rIns="0" bIns="0" rtlCol="0"/>
            <a:lstStyle/>
            <a:p>
              <a:endParaRPr sz="1454"/>
            </a:p>
          </p:txBody>
        </p:sp>
        <p:sp>
          <p:nvSpPr>
            <p:cNvPr id="48" name="object 48"/>
            <p:cNvSpPr/>
            <p:nvPr/>
          </p:nvSpPr>
          <p:spPr>
            <a:xfrm>
              <a:off x="10962967" y="8808745"/>
              <a:ext cx="538480" cy="717550"/>
            </a:xfrm>
            <a:custGeom>
              <a:avLst/>
              <a:gdLst/>
              <a:ahLst/>
              <a:cxnLst/>
              <a:rect l="l" t="t" r="r" b="b"/>
              <a:pathLst>
                <a:path w="538479" h="717550">
                  <a:moveTo>
                    <a:pt x="538331" y="717088"/>
                  </a:moveTo>
                  <a:lnTo>
                    <a:pt x="0" y="717088"/>
                  </a:lnTo>
                  <a:lnTo>
                    <a:pt x="0" y="0"/>
                  </a:lnTo>
                </a:path>
                <a:path w="538479" h="717550">
                  <a:moveTo>
                    <a:pt x="538331" y="0"/>
                  </a:moveTo>
                  <a:lnTo>
                    <a:pt x="538331" y="717088"/>
                  </a:lnTo>
                </a:path>
                <a:path w="538479" h="717550">
                  <a:moveTo>
                    <a:pt x="59189" y="157204"/>
                  </a:moveTo>
                  <a:lnTo>
                    <a:pt x="155019" y="157204"/>
                  </a:lnTo>
                  <a:lnTo>
                    <a:pt x="155019" y="393011"/>
                  </a:lnTo>
                  <a:lnTo>
                    <a:pt x="59189" y="393011"/>
                  </a:lnTo>
                  <a:lnTo>
                    <a:pt x="59189" y="157204"/>
                  </a:lnTo>
                  <a:close/>
                </a:path>
                <a:path w="538479" h="717550">
                  <a:moveTo>
                    <a:pt x="176158" y="157204"/>
                  </a:moveTo>
                  <a:lnTo>
                    <a:pt x="497468" y="157204"/>
                  </a:lnTo>
                  <a:lnTo>
                    <a:pt x="497468" y="393011"/>
                  </a:lnTo>
                  <a:lnTo>
                    <a:pt x="176158" y="393011"/>
                  </a:lnTo>
                  <a:lnTo>
                    <a:pt x="176158" y="157204"/>
                  </a:lnTo>
                  <a:close/>
                </a:path>
                <a:path w="538479" h="717550">
                  <a:moveTo>
                    <a:pt x="0" y="157204"/>
                  </a:moveTo>
                  <a:lnTo>
                    <a:pt x="38050" y="157204"/>
                  </a:lnTo>
                  <a:lnTo>
                    <a:pt x="38050" y="393011"/>
                  </a:lnTo>
                  <a:lnTo>
                    <a:pt x="0" y="393011"/>
                  </a:lnTo>
                </a:path>
                <a:path w="538479" h="717550">
                  <a:moveTo>
                    <a:pt x="59189" y="594354"/>
                  </a:moveTo>
                  <a:lnTo>
                    <a:pt x="59189" y="594354"/>
                  </a:lnTo>
                  <a:lnTo>
                    <a:pt x="281860" y="594354"/>
                  </a:lnTo>
                </a:path>
                <a:path w="538479" h="717550">
                  <a:moveTo>
                    <a:pt x="59189" y="617797"/>
                  </a:moveTo>
                  <a:lnTo>
                    <a:pt x="59189" y="617797"/>
                  </a:lnTo>
                  <a:lnTo>
                    <a:pt x="281860" y="617797"/>
                  </a:lnTo>
                </a:path>
                <a:path w="538479" h="717550">
                  <a:moveTo>
                    <a:pt x="59189" y="28959"/>
                  </a:moveTo>
                  <a:lnTo>
                    <a:pt x="59189" y="28959"/>
                  </a:lnTo>
                  <a:lnTo>
                    <a:pt x="218428" y="28959"/>
                  </a:lnTo>
                </a:path>
                <a:path w="538479" h="717550">
                  <a:moveTo>
                    <a:pt x="411503" y="539186"/>
                  </a:moveTo>
                  <a:lnTo>
                    <a:pt x="59189" y="539186"/>
                  </a:lnTo>
                  <a:lnTo>
                    <a:pt x="59189" y="565395"/>
                  </a:lnTo>
                  <a:lnTo>
                    <a:pt x="411503" y="565395"/>
                  </a:lnTo>
                  <a:lnTo>
                    <a:pt x="411503" y="539186"/>
                  </a:lnTo>
                  <a:close/>
                </a:path>
                <a:path w="538479" h="717550">
                  <a:moveTo>
                    <a:pt x="489007" y="678475"/>
                  </a:moveTo>
                  <a:lnTo>
                    <a:pt x="489007" y="678475"/>
                  </a:lnTo>
                  <a:lnTo>
                    <a:pt x="427000" y="678475"/>
                  </a:lnTo>
                </a:path>
              </a:pathLst>
            </a:custGeom>
            <a:ln w="18127">
              <a:solidFill>
                <a:srgbClr val="797979"/>
              </a:solidFill>
            </a:ln>
          </p:spPr>
          <p:txBody>
            <a:bodyPr wrap="square" lIns="0" tIns="0" rIns="0" bIns="0" rtlCol="0"/>
            <a:lstStyle/>
            <a:p>
              <a:endParaRPr sz="1454"/>
            </a:p>
          </p:txBody>
        </p:sp>
        <p:sp>
          <p:nvSpPr>
            <p:cNvPr id="49" name="object 49"/>
            <p:cNvSpPr/>
            <p:nvPr/>
          </p:nvSpPr>
          <p:spPr>
            <a:xfrm>
              <a:off x="10885461" y="6047390"/>
              <a:ext cx="641985" cy="842644"/>
            </a:xfrm>
            <a:custGeom>
              <a:avLst/>
              <a:gdLst/>
              <a:ahLst/>
              <a:cxnLst/>
              <a:rect l="l" t="t" r="r" b="b"/>
              <a:pathLst>
                <a:path w="641984" h="842645">
                  <a:moveTo>
                    <a:pt x="244334" y="85820"/>
                  </a:moveTo>
                  <a:lnTo>
                    <a:pt x="181190" y="70226"/>
                  </a:lnTo>
                  <a:lnTo>
                    <a:pt x="33841" y="673548"/>
                  </a:lnTo>
                </a:path>
                <a:path w="641984" h="842645">
                  <a:moveTo>
                    <a:pt x="33841" y="674660"/>
                  </a:moveTo>
                  <a:lnTo>
                    <a:pt x="468134" y="781526"/>
                  </a:lnTo>
                  <a:lnTo>
                    <a:pt x="615479" y="177097"/>
                  </a:lnTo>
                  <a:lnTo>
                    <a:pt x="551229" y="161504"/>
                  </a:lnTo>
                </a:path>
                <a:path w="641984" h="842645">
                  <a:moveTo>
                    <a:pt x="513555" y="86931"/>
                  </a:moveTo>
                  <a:lnTo>
                    <a:pt x="451518" y="71338"/>
                  </a:lnTo>
                  <a:lnTo>
                    <a:pt x="455945" y="66891"/>
                  </a:lnTo>
                  <a:lnTo>
                    <a:pt x="458158" y="60206"/>
                  </a:lnTo>
                  <a:lnTo>
                    <a:pt x="460372" y="54648"/>
                  </a:lnTo>
                  <a:lnTo>
                    <a:pt x="460965" y="36735"/>
                  </a:lnTo>
                  <a:lnTo>
                    <a:pt x="455117" y="20699"/>
                  </a:lnTo>
                  <a:lnTo>
                    <a:pt x="443864" y="8001"/>
                  </a:lnTo>
                  <a:lnTo>
                    <a:pt x="428246" y="101"/>
                  </a:lnTo>
                  <a:lnTo>
                    <a:pt x="410421" y="0"/>
                  </a:lnTo>
                  <a:lnTo>
                    <a:pt x="394461" y="5948"/>
                  </a:lnTo>
                  <a:lnTo>
                    <a:pt x="381821" y="17322"/>
                  </a:lnTo>
                  <a:lnTo>
                    <a:pt x="373957" y="33496"/>
                  </a:lnTo>
                  <a:lnTo>
                    <a:pt x="372850" y="39069"/>
                  </a:lnTo>
                  <a:lnTo>
                    <a:pt x="372850" y="45740"/>
                  </a:lnTo>
                  <a:lnTo>
                    <a:pt x="373957" y="52425"/>
                  </a:lnTo>
                  <a:lnTo>
                    <a:pt x="311919" y="36831"/>
                  </a:lnTo>
                  <a:lnTo>
                    <a:pt x="270929" y="43514"/>
                  </a:lnTo>
                  <a:lnTo>
                    <a:pt x="246562" y="76911"/>
                  </a:lnTo>
                  <a:lnTo>
                    <a:pt x="238800" y="109195"/>
                  </a:lnTo>
                  <a:lnTo>
                    <a:pt x="545680" y="184879"/>
                  </a:lnTo>
                  <a:lnTo>
                    <a:pt x="553442" y="152610"/>
                  </a:lnTo>
                  <a:lnTo>
                    <a:pt x="554685" y="131073"/>
                  </a:lnTo>
                  <a:lnTo>
                    <a:pt x="547621" y="111416"/>
                  </a:lnTo>
                  <a:lnTo>
                    <a:pt x="533496" y="95937"/>
                  </a:lnTo>
                  <a:lnTo>
                    <a:pt x="513555" y="86931"/>
                  </a:lnTo>
                  <a:close/>
                </a:path>
                <a:path w="641984" h="842645">
                  <a:moveTo>
                    <a:pt x="438222" y="49075"/>
                  </a:moveTo>
                  <a:lnTo>
                    <a:pt x="434865" y="56520"/>
                  </a:lnTo>
                  <a:lnTo>
                    <a:pt x="428805" y="61879"/>
                  </a:lnTo>
                  <a:lnTo>
                    <a:pt x="421083" y="64735"/>
                  </a:lnTo>
                  <a:lnTo>
                    <a:pt x="412737" y="64668"/>
                  </a:lnTo>
                  <a:lnTo>
                    <a:pt x="405172" y="60803"/>
                  </a:lnTo>
                  <a:lnTo>
                    <a:pt x="399582" y="54646"/>
                  </a:lnTo>
                  <a:lnTo>
                    <a:pt x="396692" y="46819"/>
                  </a:lnTo>
                  <a:lnTo>
                    <a:pt x="397228" y="37943"/>
                  </a:lnTo>
                  <a:lnTo>
                    <a:pt x="400585" y="30500"/>
                  </a:lnTo>
                  <a:lnTo>
                    <a:pt x="406644" y="25145"/>
                  </a:lnTo>
                  <a:lnTo>
                    <a:pt x="414367" y="22295"/>
                  </a:lnTo>
                  <a:lnTo>
                    <a:pt x="422713" y="22364"/>
                  </a:lnTo>
                  <a:lnTo>
                    <a:pt x="430745" y="26223"/>
                  </a:lnTo>
                  <a:lnTo>
                    <a:pt x="436283" y="32379"/>
                  </a:lnTo>
                  <a:lnTo>
                    <a:pt x="438913" y="40205"/>
                  </a:lnTo>
                  <a:lnTo>
                    <a:pt x="438222" y="49075"/>
                  </a:lnTo>
                  <a:close/>
                </a:path>
                <a:path w="641984" h="842645">
                  <a:moveTo>
                    <a:pt x="266498" y="91378"/>
                  </a:moveTo>
                  <a:lnTo>
                    <a:pt x="266498" y="91378"/>
                  </a:lnTo>
                  <a:lnTo>
                    <a:pt x="526851" y="155945"/>
                  </a:lnTo>
                </a:path>
                <a:path w="641984" h="842645">
                  <a:moveTo>
                    <a:pt x="436008" y="84708"/>
                  </a:moveTo>
                  <a:lnTo>
                    <a:pt x="429167" y="87418"/>
                  </a:lnTo>
                  <a:lnTo>
                    <a:pt x="422015" y="88877"/>
                  </a:lnTo>
                  <a:lnTo>
                    <a:pt x="389596" y="78807"/>
                  </a:lnTo>
                  <a:lnTo>
                    <a:pt x="385039" y="74688"/>
                  </a:lnTo>
                </a:path>
                <a:path w="641984" h="842645">
                  <a:moveTo>
                    <a:pt x="551229" y="118088"/>
                  </a:moveTo>
                  <a:lnTo>
                    <a:pt x="609946" y="132570"/>
                  </a:lnTo>
                  <a:lnTo>
                    <a:pt x="625382" y="139992"/>
                  </a:lnTo>
                  <a:lnTo>
                    <a:pt x="636251" y="152740"/>
                  </a:lnTo>
                  <a:lnTo>
                    <a:pt x="641723" y="169039"/>
                  </a:lnTo>
                  <a:lnTo>
                    <a:pt x="640964" y="187117"/>
                  </a:lnTo>
                  <a:lnTo>
                    <a:pt x="489177" y="807129"/>
                  </a:lnTo>
                  <a:lnTo>
                    <a:pt x="481978" y="823634"/>
                  </a:lnTo>
                  <a:lnTo>
                    <a:pt x="469792" y="835653"/>
                  </a:lnTo>
                  <a:lnTo>
                    <a:pt x="454283" y="842036"/>
                  </a:lnTo>
                  <a:lnTo>
                    <a:pt x="437115" y="841636"/>
                  </a:lnTo>
                  <a:lnTo>
                    <a:pt x="31626" y="745906"/>
                  </a:lnTo>
                  <a:lnTo>
                    <a:pt x="16653" y="738479"/>
                  </a:lnTo>
                  <a:lnTo>
                    <a:pt x="5730" y="725731"/>
                  </a:lnTo>
                  <a:lnTo>
                    <a:pt x="0" y="709435"/>
                  </a:lnTo>
                  <a:lnTo>
                    <a:pt x="605" y="691365"/>
                  </a:lnTo>
                  <a:lnTo>
                    <a:pt x="153491" y="66891"/>
                  </a:lnTo>
                  <a:lnTo>
                    <a:pt x="160697" y="50561"/>
                  </a:lnTo>
                  <a:lnTo>
                    <a:pt x="172884" y="38927"/>
                  </a:lnTo>
                  <a:lnTo>
                    <a:pt x="188394" y="32926"/>
                  </a:lnTo>
                  <a:lnTo>
                    <a:pt x="205568" y="33496"/>
                  </a:lnTo>
                  <a:lnTo>
                    <a:pt x="264285" y="47963"/>
                  </a:lnTo>
                </a:path>
              </a:pathLst>
            </a:custGeom>
            <a:ln w="14438">
              <a:solidFill>
                <a:srgbClr val="797979"/>
              </a:solidFill>
            </a:ln>
          </p:spPr>
          <p:txBody>
            <a:bodyPr wrap="square" lIns="0" tIns="0" rIns="0" bIns="0" rtlCol="0"/>
            <a:lstStyle/>
            <a:p>
              <a:endParaRPr sz="1454"/>
            </a:p>
          </p:txBody>
        </p:sp>
        <p:pic>
          <p:nvPicPr>
            <p:cNvPr id="50" name="object 50"/>
            <p:cNvPicPr/>
            <p:nvPr/>
          </p:nvPicPr>
          <p:blipFill>
            <a:blip r:embed="rId9" cstate="print"/>
            <a:stretch>
              <a:fillRect/>
            </a:stretch>
          </p:blipFill>
          <p:spPr>
            <a:xfrm>
              <a:off x="10998498" y="6287394"/>
              <a:ext cx="413285" cy="381762"/>
            </a:xfrm>
            <a:prstGeom prst="rect">
              <a:avLst/>
            </a:prstGeom>
          </p:spPr>
        </p:pic>
        <p:sp>
          <p:nvSpPr>
            <p:cNvPr id="51" name="object 51"/>
            <p:cNvSpPr/>
            <p:nvPr/>
          </p:nvSpPr>
          <p:spPr>
            <a:xfrm>
              <a:off x="9646101" y="8150663"/>
              <a:ext cx="731520" cy="649605"/>
            </a:xfrm>
            <a:custGeom>
              <a:avLst/>
              <a:gdLst/>
              <a:ahLst/>
              <a:cxnLst/>
              <a:rect l="l" t="t" r="r" b="b"/>
              <a:pathLst>
                <a:path w="731520" h="649604">
                  <a:moveTo>
                    <a:pt x="675653" y="649063"/>
                  </a:moveTo>
                  <a:lnTo>
                    <a:pt x="55716" y="649063"/>
                  </a:lnTo>
                  <a:lnTo>
                    <a:pt x="39446" y="647419"/>
                  </a:lnTo>
                  <a:lnTo>
                    <a:pt x="5763" y="624692"/>
                  </a:lnTo>
                  <a:lnTo>
                    <a:pt x="0" y="599037"/>
                  </a:lnTo>
                  <a:lnTo>
                    <a:pt x="2881" y="584647"/>
                  </a:lnTo>
                  <a:lnTo>
                    <a:pt x="319565" y="32077"/>
                  </a:lnTo>
                  <a:lnTo>
                    <a:pt x="352532" y="2125"/>
                  </a:lnTo>
                  <a:lnTo>
                    <a:pt x="365680" y="0"/>
                  </a:lnTo>
                  <a:lnTo>
                    <a:pt x="402251" y="18406"/>
                  </a:lnTo>
                  <a:lnTo>
                    <a:pt x="721752" y="569535"/>
                  </a:lnTo>
                  <a:lnTo>
                    <a:pt x="731369" y="599037"/>
                  </a:lnTo>
                  <a:lnTo>
                    <a:pt x="730409" y="612466"/>
                  </a:lnTo>
                  <a:lnTo>
                    <a:pt x="705910" y="642649"/>
                  </a:lnTo>
                  <a:lnTo>
                    <a:pt x="675653" y="649063"/>
                  </a:lnTo>
                  <a:close/>
                </a:path>
                <a:path w="731520" h="649604">
                  <a:moveTo>
                    <a:pt x="571897" y="588775"/>
                  </a:moveTo>
                  <a:lnTo>
                    <a:pt x="159465" y="588775"/>
                  </a:lnTo>
                  <a:lnTo>
                    <a:pt x="143194" y="587332"/>
                  </a:lnTo>
                  <a:lnTo>
                    <a:pt x="109512" y="565686"/>
                  </a:lnTo>
                  <a:lnTo>
                    <a:pt x="103748" y="539391"/>
                  </a:lnTo>
                  <a:lnTo>
                    <a:pt x="106630" y="524559"/>
                  </a:lnTo>
                  <a:lnTo>
                    <a:pt x="319565" y="152645"/>
                  </a:lnTo>
                  <a:lnTo>
                    <a:pt x="352532" y="122708"/>
                  </a:lnTo>
                  <a:lnTo>
                    <a:pt x="365680" y="120585"/>
                  </a:lnTo>
                  <a:lnTo>
                    <a:pt x="402251" y="138977"/>
                  </a:lnTo>
                  <a:lnTo>
                    <a:pt x="616734" y="509246"/>
                  </a:lnTo>
                  <a:lnTo>
                    <a:pt x="627456" y="539391"/>
                  </a:lnTo>
                  <a:lnTo>
                    <a:pt x="626633" y="553260"/>
                  </a:lnTo>
                  <a:lnTo>
                    <a:pt x="602154" y="583003"/>
                  </a:lnTo>
                  <a:lnTo>
                    <a:pt x="571897" y="588775"/>
                  </a:lnTo>
                  <a:close/>
                </a:path>
              </a:pathLst>
            </a:custGeom>
            <a:ln w="16671">
              <a:solidFill>
                <a:srgbClr val="797979"/>
              </a:solidFill>
            </a:ln>
          </p:spPr>
          <p:txBody>
            <a:bodyPr wrap="square" lIns="0" tIns="0" rIns="0" bIns="0" rtlCol="0"/>
            <a:lstStyle/>
            <a:p>
              <a:endParaRPr sz="1454"/>
            </a:p>
          </p:txBody>
        </p:sp>
        <p:pic>
          <p:nvPicPr>
            <p:cNvPr id="52" name="object 52"/>
            <p:cNvPicPr/>
            <p:nvPr/>
          </p:nvPicPr>
          <p:blipFill>
            <a:blip r:embed="rId10" cstate="print"/>
            <a:stretch>
              <a:fillRect/>
            </a:stretch>
          </p:blipFill>
          <p:spPr>
            <a:xfrm>
              <a:off x="9977822" y="8388633"/>
              <a:ext cx="67918" cy="291157"/>
            </a:xfrm>
            <a:prstGeom prst="rect">
              <a:avLst/>
            </a:prstGeom>
          </p:spPr>
        </p:pic>
        <p:sp>
          <p:nvSpPr>
            <p:cNvPr id="53" name="object 53"/>
            <p:cNvSpPr/>
            <p:nvPr/>
          </p:nvSpPr>
          <p:spPr>
            <a:xfrm>
              <a:off x="9692291" y="6846619"/>
              <a:ext cx="658495" cy="610870"/>
            </a:xfrm>
            <a:custGeom>
              <a:avLst/>
              <a:gdLst/>
              <a:ahLst/>
              <a:cxnLst/>
              <a:rect l="l" t="t" r="r" b="b"/>
              <a:pathLst>
                <a:path w="658495" h="610870">
                  <a:moveTo>
                    <a:pt x="288934" y="556442"/>
                  </a:moveTo>
                  <a:lnTo>
                    <a:pt x="273861" y="554624"/>
                  </a:lnTo>
                  <a:lnTo>
                    <a:pt x="259911" y="549487"/>
                  </a:lnTo>
                  <a:lnTo>
                    <a:pt x="87711" y="328812"/>
                  </a:lnTo>
                  <a:lnTo>
                    <a:pt x="77392" y="282648"/>
                  </a:lnTo>
                  <a:lnTo>
                    <a:pt x="85777" y="260758"/>
                  </a:lnTo>
                  <a:lnTo>
                    <a:pt x="103191" y="242817"/>
                  </a:lnTo>
                  <a:lnTo>
                    <a:pt x="125602" y="232593"/>
                  </a:lnTo>
                  <a:lnTo>
                    <a:pt x="149626" y="231852"/>
                  </a:lnTo>
                  <a:lnTo>
                    <a:pt x="172360" y="239962"/>
                  </a:lnTo>
                  <a:lnTo>
                    <a:pt x="190902" y="256292"/>
                  </a:lnTo>
                  <a:lnTo>
                    <a:pt x="287217" y="387833"/>
                  </a:lnTo>
                  <a:lnTo>
                    <a:pt x="545189" y="25282"/>
                  </a:lnTo>
                  <a:lnTo>
                    <a:pt x="562762" y="8215"/>
                  </a:lnTo>
                  <a:lnTo>
                    <a:pt x="585175" y="0"/>
                  </a:lnTo>
                  <a:lnTo>
                    <a:pt x="609524" y="635"/>
                  </a:lnTo>
                  <a:lnTo>
                    <a:pt x="632905" y="10123"/>
                  </a:lnTo>
                  <a:lnTo>
                    <a:pt x="649593" y="27343"/>
                  </a:lnTo>
                  <a:lnTo>
                    <a:pt x="658056" y="49313"/>
                  </a:lnTo>
                  <a:lnTo>
                    <a:pt x="657813" y="73187"/>
                  </a:lnTo>
                  <a:lnTo>
                    <a:pt x="340520" y="529464"/>
                  </a:lnTo>
                  <a:lnTo>
                    <a:pt x="304007" y="554598"/>
                  </a:lnTo>
                  <a:lnTo>
                    <a:pt x="288934" y="556442"/>
                  </a:lnTo>
                  <a:close/>
                </a:path>
                <a:path w="658495" h="610870">
                  <a:moveTo>
                    <a:pt x="569276" y="209084"/>
                  </a:moveTo>
                  <a:lnTo>
                    <a:pt x="569276" y="610401"/>
                  </a:lnTo>
                  <a:lnTo>
                    <a:pt x="0" y="608715"/>
                  </a:lnTo>
                  <a:lnTo>
                    <a:pt x="1719" y="52278"/>
                  </a:lnTo>
                  <a:lnTo>
                    <a:pt x="524560" y="52278"/>
                  </a:lnTo>
                </a:path>
              </a:pathLst>
            </a:custGeom>
            <a:ln w="22144">
              <a:solidFill>
                <a:srgbClr val="797979"/>
              </a:solidFill>
            </a:ln>
          </p:spPr>
          <p:txBody>
            <a:bodyPr wrap="square" lIns="0" tIns="0" rIns="0" bIns="0" rtlCol="0"/>
            <a:lstStyle/>
            <a:p>
              <a:endParaRPr sz="1454"/>
            </a:p>
          </p:txBody>
        </p:sp>
      </p:grpSp>
      <p:sp>
        <p:nvSpPr>
          <p:cNvPr id="54" name="object 54"/>
          <p:cNvSpPr txBox="1"/>
          <p:nvPr/>
        </p:nvSpPr>
        <p:spPr>
          <a:xfrm>
            <a:off x="3796059" y="5135273"/>
            <a:ext cx="603539" cy="260479"/>
          </a:xfrm>
          <a:prstGeom prst="rect">
            <a:avLst/>
          </a:prstGeom>
        </p:spPr>
        <p:txBody>
          <a:bodyPr vert="horz" wrap="square" lIns="0" tIns="8659" rIns="0" bIns="0" rtlCol="0">
            <a:spAutoFit/>
          </a:bodyPr>
          <a:lstStyle/>
          <a:p>
            <a:pPr marR="3464" indent="11257">
              <a:spcBef>
                <a:spcPts val="68"/>
              </a:spcBef>
            </a:pPr>
            <a:r>
              <a:rPr sz="818" spc="-7">
                <a:solidFill>
                  <a:srgbClr val="636668"/>
                </a:solidFill>
                <a:latin typeface="Arial"/>
                <a:cs typeface="Arial"/>
              </a:rPr>
              <a:t>International development</a:t>
            </a:r>
            <a:endParaRPr sz="818">
              <a:latin typeface="Arial"/>
              <a:cs typeface="Arial"/>
            </a:endParaRPr>
          </a:p>
        </p:txBody>
      </p:sp>
      <p:sp>
        <p:nvSpPr>
          <p:cNvPr id="55" name="object 55"/>
          <p:cNvSpPr txBox="1"/>
          <p:nvPr/>
        </p:nvSpPr>
        <p:spPr>
          <a:xfrm>
            <a:off x="3713971" y="4265554"/>
            <a:ext cx="750743" cy="386347"/>
          </a:xfrm>
          <a:prstGeom prst="rect">
            <a:avLst/>
          </a:prstGeom>
        </p:spPr>
        <p:txBody>
          <a:bodyPr vert="horz" wrap="square" lIns="0" tIns="8659" rIns="0" bIns="0" rtlCol="0">
            <a:spAutoFit/>
          </a:bodyPr>
          <a:lstStyle/>
          <a:p>
            <a:pPr marR="3464" indent="25544" algn="ctr">
              <a:spcBef>
                <a:spcPts val="68"/>
              </a:spcBef>
            </a:pPr>
            <a:r>
              <a:rPr sz="818" spc="-7">
                <a:solidFill>
                  <a:srgbClr val="626666"/>
                </a:solidFill>
                <a:latin typeface="Arial"/>
                <a:cs typeface="Arial"/>
              </a:rPr>
              <a:t>Architecture, engineering</a:t>
            </a:r>
            <a:r>
              <a:rPr sz="818" spc="10">
                <a:solidFill>
                  <a:srgbClr val="626666"/>
                </a:solidFill>
                <a:latin typeface="Arial"/>
                <a:cs typeface="Arial"/>
              </a:rPr>
              <a:t> </a:t>
            </a:r>
            <a:r>
              <a:rPr sz="818" spc="-17">
                <a:solidFill>
                  <a:srgbClr val="626666"/>
                </a:solidFill>
                <a:latin typeface="Arial"/>
                <a:cs typeface="Arial"/>
              </a:rPr>
              <a:t>and </a:t>
            </a:r>
            <a:r>
              <a:rPr sz="818" spc="-7">
                <a:solidFill>
                  <a:srgbClr val="626666"/>
                </a:solidFill>
                <a:latin typeface="Arial"/>
                <a:cs typeface="Arial"/>
              </a:rPr>
              <a:t>construction</a:t>
            </a:r>
            <a:endParaRPr sz="818">
              <a:latin typeface="Arial"/>
              <a:cs typeface="Arial"/>
            </a:endParaRPr>
          </a:p>
        </p:txBody>
      </p:sp>
      <p:sp>
        <p:nvSpPr>
          <p:cNvPr id="56" name="object 56"/>
          <p:cNvSpPr/>
          <p:nvPr/>
        </p:nvSpPr>
        <p:spPr>
          <a:xfrm>
            <a:off x="0" y="-7908"/>
            <a:ext cx="11538857" cy="2137497"/>
          </a:xfrm>
          <a:custGeom>
            <a:avLst/>
            <a:gdLst/>
            <a:ahLst/>
            <a:cxnLst/>
            <a:rect l="l" t="t" r="r" b="b"/>
            <a:pathLst>
              <a:path w="15544800" h="3134995">
                <a:moveTo>
                  <a:pt x="15544800" y="0"/>
                </a:moveTo>
                <a:lnTo>
                  <a:pt x="0" y="0"/>
                </a:lnTo>
                <a:lnTo>
                  <a:pt x="0" y="3134868"/>
                </a:lnTo>
                <a:lnTo>
                  <a:pt x="15544800" y="3134868"/>
                </a:lnTo>
                <a:lnTo>
                  <a:pt x="15544800" y="0"/>
                </a:lnTo>
                <a:close/>
              </a:path>
            </a:pathLst>
          </a:custGeom>
          <a:solidFill>
            <a:srgbClr val="00153B"/>
          </a:solidFill>
        </p:spPr>
        <p:txBody>
          <a:bodyPr wrap="square" lIns="0" tIns="0" rIns="0" bIns="0" rtlCol="0"/>
          <a:lstStyle/>
          <a:p>
            <a:endParaRPr sz="1454"/>
          </a:p>
        </p:txBody>
      </p:sp>
      <p:sp>
        <p:nvSpPr>
          <p:cNvPr id="57" name="object 57"/>
          <p:cNvSpPr txBox="1">
            <a:spLocks noGrp="1"/>
          </p:cNvSpPr>
          <p:nvPr>
            <p:ph type="title"/>
          </p:nvPr>
        </p:nvSpPr>
        <p:spPr>
          <a:xfrm>
            <a:off x="1651807" y="795769"/>
            <a:ext cx="4941397" cy="528379"/>
          </a:xfrm>
          <a:prstGeom prst="rect">
            <a:avLst/>
          </a:prstGeom>
          <a:solidFill>
            <a:srgbClr val="009EE3"/>
          </a:solidFill>
        </p:spPr>
        <p:txBody>
          <a:bodyPr vert="horz" wrap="square" lIns="0" tIns="96549" rIns="0" bIns="0" rtlCol="0" anchor="b" anchorCtr="0">
            <a:spAutoFit/>
          </a:bodyPr>
          <a:lstStyle/>
          <a:p>
            <a:pPr marL="61911">
              <a:spcBef>
                <a:spcPts val="760"/>
              </a:spcBef>
            </a:pPr>
            <a:r>
              <a:rPr>
                <a:solidFill>
                  <a:schemeClr val="bg1"/>
                </a:solidFill>
              </a:rPr>
              <a:t>Government</a:t>
            </a:r>
            <a:r>
              <a:rPr spc="-55">
                <a:solidFill>
                  <a:schemeClr val="bg1"/>
                </a:solidFill>
              </a:rPr>
              <a:t> </a:t>
            </a:r>
            <a:r>
              <a:rPr>
                <a:solidFill>
                  <a:schemeClr val="bg1"/>
                </a:solidFill>
              </a:rPr>
              <a:t>contract</a:t>
            </a:r>
            <a:r>
              <a:rPr spc="-51">
                <a:solidFill>
                  <a:schemeClr val="bg1"/>
                </a:solidFill>
              </a:rPr>
              <a:t> </a:t>
            </a:r>
            <a:r>
              <a:rPr spc="-7">
                <a:solidFill>
                  <a:schemeClr val="bg1"/>
                </a:solidFill>
              </a:rPr>
              <a:t>advisory</a:t>
            </a:r>
          </a:p>
        </p:txBody>
      </p:sp>
      <p:grpSp>
        <p:nvGrpSpPr>
          <p:cNvPr id="58" name="object 58"/>
          <p:cNvGrpSpPr/>
          <p:nvPr/>
        </p:nvGrpSpPr>
        <p:grpSpPr>
          <a:xfrm>
            <a:off x="1133302" y="122613"/>
            <a:ext cx="10262322" cy="2005878"/>
            <a:chOff x="493776" y="179831"/>
            <a:chExt cx="15051405" cy="2941955"/>
          </a:xfrm>
        </p:grpSpPr>
        <p:pic>
          <p:nvPicPr>
            <p:cNvPr id="59" name="object 59"/>
            <p:cNvPicPr/>
            <p:nvPr/>
          </p:nvPicPr>
          <p:blipFill>
            <a:blip r:embed="rId11" cstate="print"/>
            <a:stretch>
              <a:fillRect/>
            </a:stretch>
          </p:blipFill>
          <p:spPr>
            <a:xfrm>
              <a:off x="493776" y="585215"/>
              <a:ext cx="242315" cy="1908048"/>
            </a:xfrm>
            <a:prstGeom prst="rect">
              <a:avLst/>
            </a:prstGeom>
          </p:spPr>
        </p:pic>
        <p:sp>
          <p:nvSpPr>
            <p:cNvPr id="60" name="object 60"/>
            <p:cNvSpPr/>
            <p:nvPr/>
          </p:nvSpPr>
          <p:spPr>
            <a:xfrm>
              <a:off x="11963635" y="420893"/>
              <a:ext cx="742950" cy="123825"/>
            </a:xfrm>
            <a:custGeom>
              <a:avLst/>
              <a:gdLst/>
              <a:ahLst/>
              <a:cxnLst/>
              <a:rect l="l" t="t" r="r" b="b"/>
              <a:pathLst>
                <a:path w="742950" h="123825">
                  <a:moveTo>
                    <a:pt x="742787" y="0"/>
                  </a:moveTo>
                  <a:lnTo>
                    <a:pt x="0" y="0"/>
                  </a:lnTo>
                  <a:lnTo>
                    <a:pt x="0" y="123529"/>
                  </a:lnTo>
                  <a:lnTo>
                    <a:pt x="742787" y="123529"/>
                  </a:lnTo>
                  <a:lnTo>
                    <a:pt x="742787" y="0"/>
                  </a:lnTo>
                  <a:close/>
                </a:path>
              </a:pathLst>
            </a:custGeom>
            <a:solidFill>
              <a:srgbClr val="44AAE2"/>
            </a:solidFill>
          </p:spPr>
          <p:txBody>
            <a:bodyPr wrap="square" lIns="0" tIns="0" rIns="0" bIns="0" rtlCol="0"/>
            <a:lstStyle/>
            <a:p>
              <a:endParaRPr sz="1454"/>
            </a:p>
          </p:txBody>
        </p:sp>
        <p:sp>
          <p:nvSpPr>
            <p:cNvPr id="61" name="object 61"/>
            <p:cNvSpPr/>
            <p:nvPr/>
          </p:nvSpPr>
          <p:spPr>
            <a:xfrm>
              <a:off x="11527535" y="420893"/>
              <a:ext cx="94615" cy="123825"/>
            </a:xfrm>
            <a:custGeom>
              <a:avLst/>
              <a:gdLst/>
              <a:ahLst/>
              <a:cxnLst/>
              <a:rect l="l" t="t" r="r" b="b"/>
              <a:pathLst>
                <a:path w="94615" h="123825">
                  <a:moveTo>
                    <a:pt x="94210" y="0"/>
                  </a:moveTo>
                  <a:lnTo>
                    <a:pt x="0" y="0"/>
                  </a:lnTo>
                  <a:lnTo>
                    <a:pt x="0" y="123529"/>
                  </a:lnTo>
                  <a:lnTo>
                    <a:pt x="94210" y="123529"/>
                  </a:lnTo>
                  <a:lnTo>
                    <a:pt x="94210" y="0"/>
                  </a:lnTo>
                  <a:close/>
                </a:path>
              </a:pathLst>
            </a:custGeom>
            <a:solidFill>
              <a:srgbClr val="797979"/>
            </a:solidFill>
          </p:spPr>
          <p:txBody>
            <a:bodyPr wrap="square" lIns="0" tIns="0" rIns="0" bIns="0" rtlCol="0"/>
            <a:lstStyle/>
            <a:p>
              <a:endParaRPr sz="1454"/>
            </a:p>
          </p:txBody>
        </p:sp>
        <p:sp>
          <p:nvSpPr>
            <p:cNvPr id="62" name="object 62"/>
            <p:cNvSpPr/>
            <p:nvPr/>
          </p:nvSpPr>
          <p:spPr>
            <a:xfrm>
              <a:off x="11674779" y="420893"/>
              <a:ext cx="236220" cy="123825"/>
            </a:xfrm>
            <a:custGeom>
              <a:avLst/>
              <a:gdLst/>
              <a:ahLst/>
              <a:cxnLst/>
              <a:rect l="l" t="t" r="r" b="b"/>
              <a:pathLst>
                <a:path w="236220" h="123825">
                  <a:moveTo>
                    <a:pt x="235835" y="0"/>
                  </a:moveTo>
                  <a:lnTo>
                    <a:pt x="0" y="0"/>
                  </a:lnTo>
                  <a:lnTo>
                    <a:pt x="0" y="123529"/>
                  </a:lnTo>
                  <a:lnTo>
                    <a:pt x="235835" y="123529"/>
                  </a:lnTo>
                  <a:lnTo>
                    <a:pt x="235835" y="0"/>
                  </a:lnTo>
                  <a:close/>
                </a:path>
              </a:pathLst>
            </a:custGeom>
            <a:solidFill>
              <a:srgbClr val="4BBB38"/>
            </a:solidFill>
          </p:spPr>
          <p:txBody>
            <a:bodyPr wrap="square" lIns="0" tIns="0" rIns="0" bIns="0" rtlCol="0"/>
            <a:lstStyle/>
            <a:p>
              <a:endParaRPr sz="1454"/>
            </a:p>
          </p:txBody>
        </p:sp>
        <p:sp>
          <p:nvSpPr>
            <p:cNvPr id="63" name="object 63"/>
            <p:cNvSpPr/>
            <p:nvPr/>
          </p:nvSpPr>
          <p:spPr>
            <a:xfrm>
              <a:off x="11963629" y="638631"/>
              <a:ext cx="742950" cy="277495"/>
            </a:xfrm>
            <a:custGeom>
              <a:avLst/>
              <a:gdLst/>
              <a:ahLst/>
              <a:cxnLst/>
              <a:rect l="l" t="t" r="r" b="b"/>
              <a:pathLst>
                <a:path w="742950" h="277494">
                  <a:moveTo>
                    <a:pt x="213702" y="273253"/>
                  </a:moveTo>
                  <a:lnTo>
                    <a:pt x="150368" y="168440"/>
                  </a:lnTo>
                  <a:lnTo>
                    <a:pt x="174332" y="156959"/>
                  </a:lnTo>
                  <a:lnTo>
                    <a:pt x="191160" y="139319"/>
                  </a:lnTo>
                  <a:lnTo>
                    <a:pt x="201091" y="116814"/>
                  </a:lnTo>
                  <a:lnTo>
                    <a:pt x="204343" y="90766"/>
                  </a:lnTo>
                  <a:lnTo>
                    <a:pt x="202501" y="70116"/>
                  </a:lnTo>
                  <a:lnTo>
                    <a:pt x="175653" y="23393"/>
                  </a:lnTo>
                  <a:lnTo>
                    <a:pt x="123685" y="5194"/>
                  </a:lnTo>
                  <a:lnTo>
                    <a:pt x="100761" y="4368"/>
                  </a:lnTo>
                  <a:lnTo>
                    <a:pt x="0" y="4368"/>
                  </a:lnTo>
                  <a:lnTo>
                    <a:pt x="0" y="273253"/>
                  </a:lnTo>
                  <a:lnTo>
                    <a:pt x="54597" y="273253"/>
                  </a:lnTo>
                  <a:lnTo>
                    <a:pt x="54597" y="52717"/>
                  </a:lnTo>
                  <a:lnTo>
                    <a:pt x="102958" y="52717"/>
                  </a:lnTo>
                  <a:lnTo>
                    <a:pt x="144157" y="70573"/>
                  </a:lnTo>
                  <a:lnTo>
                    <a:pt x="148170" y="90766"/>
                  </a:lnTo>
                  <a:lnTo>
                    <a:pt x="145084" y="108559"/>
                  </a:lnTo>
                  <a:lnTo>
                    <a:pt x="136626" y="120332"/>
                  </a:lnTo>
                  <a:lnTo>
                    <a:pt x="123952" y="126822"/>
                  </a:lnTo>
                  <a:lnTo>
                    <a:pt x="108242" y="128828"/>
                  </a:lnTo>
                  <a:lnTo>
                    <a:pt x="71780" y="128828"/>
                  </a:lnTo>
                  <a:lnTo>
                    <a:pt x="71780" y="177482"/>
                  </a:lnTo>
                  <a:lnTo>
                    <a:pt x="93611" y="177482"/>
                  </a:lnTo>
                  <a:lnTo>
                    <a:pt x="150368" y="273253"/>
                  </a:lnTo>
                  <a:lnTo>
                    <a:pt x="213702" y="273253"/>
                  </a:lnTo>
                  <a:close/>
                </a:path>
                <a:path w="742950" h="277494">
                  <a:moveTo>
                    <a:pt x="430199" y="194017"/>
                  </a:moveTo>
                  <a:lnTo>
                    <a:pt x="412140" y="145592"/>
                  </a:lnTo>
                  <a:lnTo>
                    <a:pt x="369976" y="121031"/>
                  </a:lnTo>
                  <a:lnTo>
                    <a:pt x="314312" y="104813"/>
                  </a:lnTo>
                  <a:lnTo>
                    <a:pt x="295071" y="94005"/>
                  </a:lnTo>
                  <a:lnTo>
                    <a:pt x="287642" y="76415"/>
                  </a:lnTo>
                  <a:lnTo>
                    <a:pt x="290703" y="64185"/>
                  </a:lnTo>
                  <a:lnTo>
                    <a:pt x="299288" y="55524"/>
                  </a:lnTo>
                  <a:lnTo>
                    <a:pt x="312496" y="50368"/>
                  </a:lnTo>
                  <a:lnTo>
                    <a:pt x="329438" y="48666"/>
                  </a:lnTo>
                  <a:lnTo>
                    <a:pt x="347256" y="49199"/>
                  </a:lnTo>
                  <a:lnTo>
                    <a:pt x="365785" y="51079"/>
                  </a:lnTo>
                  <a:lnTo>
                    <a:pt x="386638" y="54711"/>
                  </a:lnTo>
                  <a:lnTo>
                    <a:pt x="411480" y="60515"/>
                  </a:lnTo>
                  <a:lnTo>
                    <a:pt x="411480" y="11849"/>
                  </a:lnTo>
                  <a:lnTo>
                    <a:pt x="389432" y="6311"/>
                  </a:lnTo>
                  <a:lnTo>
                    <a:pt x="369138" y="2654"/>
                  </a:lnTo>
                  <a:lnTo>
                    <a:pt x="349186" y="622"/>
                  </a:lnTo>
                  <a:lnTo>
                    <a:pt x="328193" y="0"/>
                  </a:lnTo>
                  <a:lnTo>
                    <a:pt x="290271" y="4165"/>
                  </a:lnTo>
                  <a:lnTo>
                    <a:pt x="258876" y="17386"/>
                  </a:lnTo>
                  <a:lnTo>
                    <a:pt x="237490" y="40792"/>
                  </a:lnTo>
                  <a:lnTo>
                    <a:pt x="229590" y="75488"/>
                  </a:lnTo>
                  <a:lnTo>
                    <a:pt x="233565" y="103784"/>
                  </a:lnTo>
                  <a:lnTo>
                    <a:pt x="245478" y="125437"/>
                  </a:lnTo>
                  <a:lnTo>
                    <a:pt x="265277" y="141770"/>
                  </a:lnTo>
                  <a:lnTo>
                    <a:pt x="292925" y="154089"/>
                  </a:lnTo>
                  <a:lnTo>
                    <a:pt x="321144" y="162331"/>
                  </a:lnTo>
                  <a:lnTo>
                    <a:pt x="346735" y="170116"/>
                  </a:lnTo>
                  <a:lnTo>
                    <a:pt x="365302" y="180898"/>
                  </a:lnTo>
                  <a:lnTo>
                    <a:pt x="372478" y="198081"/>
                  </a:lnTo>
                  <a:lnTo>
                    <a:pt x="368744" y="211937"/>
                  </a:lnTo>
                  <a:lnTo>
                    <a:pt x="358254" y="221424"/>
                  </a:lnTo>
                  <a:lnTo>
                    <a:pt x="342087" y="226898"/>
                  </a:lnTo>
                  <a:lnTo>
                    <a:pt x="321322" y="228638"/>
                  </a:lnTo>
                  <a:lnTo>
                    <a:pt x="300723" y="228142"/>
                  </a:lnTo>
                  <a:lnTo>
                    <a:pt x="281508" y="226263"/>
                  </a:lnTo>
                  <a:lnTo>
                    <a:pt x="260819" y="222453"/>
                  </a:lnTo>
                  <a:lnTo>
                    <a:pt x="235826" y="216166"/>
                  </a:lnTo>
                  <a:lnTo>
                    <a:pt x="235826" y="265137"/>
                  </a:lnTo>
                  <a:lnTo>
                    <a:pt x="258495" y="270992"/>
                  </a:lnTo>
                  <a:lnTo>
                    <a:pt x="280225" y="274726"/>
                  </a:lnTo>
                  <a:lnTo>
                    <a:pt x="301815" y="276720"/>
                  </a:lnTo>
                  <a:lnTo>
                    <a:pt x="324116" y="277304"/>
                  </a:lnTo>
                  <a:lnTo>
                    <a:pt x="368858" y="271881"/>
                  </a:lnTo>
                  <a:lnTo>
                    <a:pt x="402196" y="255905"/>
                  </a:lnTo>
                  <a:lnTo>
                    <a:pt x="423011" y="229793"/>
                  </a:lnTo>
                  <a:lnTo>
                    <a:pt x="430199" y="194017"/>
                  </a:lnTo>
                  <a:close/>
                </a:path>
                <a:path w="742950" h="277494">
                  <a:moveTo>
                    <a:pt x="593953" y="171564"/>
                  </a:moveTo>
                  <a:lnTo>
                    <a:pt x="531583" y="4368"/>
                  </a:lnTo>
                  <a:lnTo>
                    <a:pt x="458889" y="4368"/>
                  </a:lnTo>
                  <a:lnTo>
                    <a:pt x="458889" y="273253"/>
                  </a:lnTo>
                  <a:lnTo>
                    <a:pt x="511911" y="273253"/>
                  </a:lnTo>
                  <a:lnTo>
                    <a:pt x="511911" y="102311"/>
                  </a:lnTo>
                  <a:lnTo>
                    <a:pt x="512864" y="102311"/>
                  </a:lnTo>
                  <a:lnTo>
                    <a:pt x="566839" y="247357"/>
                  </a:lnTo>
                  <a:lnTo>
                    <a:pt x="593953" y="171564"/>
                  </a:lnTo>
                  <a:close/>
                </a:path>
                <a:path w="742950" h="277494">
                  <a:moveTo>
                    <a:pt x="742784" y="4368"/>
                  </a:moveTo>
                  <a:lnTo>
                    <a:pt x="671347" y="4368"/>
                  </a:lnTo>
                  <a:lnTo>
                    <a:pt x="575246" y="273253"/>
                  </a:lnTo>
                  <a:lnTo>
                    <a:pt x="627354" y="273253"/>
                  </a:lnTo>
                  <a:lnTo>
                    <a:pt x="688479" y="102311"/>
                  </a:lnTo>
                  <a:lnTo>
                    <a:pt x="689102" y="102311"/>
                  </a:lnTo>
                  <a:lnTo>
                    <a:pt x="689102" y="273253"/>
                  </a:lnTo>
                  <a:lnTo>
                    <a:pt x="742784" y="273253"/>
                  </a:lnTo>
                  <a:lnTo>
                    <a:pt x="742784" y="4368"/>
                  </a:lnTo>
                  <a:close/>
                </a:path>
              </a:pathLst>
            </a:custGeom>
            <a:solidFill>
              <a:srgbClr val="FDFDFD"/>
            </a:solidFill>
          </p:spPr>
          <p:txBody>
            <a:bodyPr wrap="square" lIns="0" tIns="0" rIns="0" bIns="0" rtlCol="0"/>
            <a:lstStyle/>
            <a:p>
              <a:endParaRPr sz="1454"/>
            </a:p>
          </p:txBody>
        </p:sp>
        <p:sp>
          <p:nvSpPr>
            <p:cNvPr id="64" name="object 64"/>
            <p:cNvSpPr/>
            <p:nvPr/>
          </p:nvSpPr>
          <p:spPr>
            <a:xfrm>
              <a:off x="8098536" y="179831"/>
              <a:ext cx="7446645" cy="2941955"/>
            </a:xfrm>
            <a:custGeom>
              <a:avLst/>
              <a:gdLst/>
              <a:ahLst/>
              <a:cxnLst/>
              <a:rect l="l" t="t" r="r" b="b"/>
              <a:pathLst>
                <a:path w="7446644" h="2941955">
                  <a:moveTo>
                    <a:pt x="732790" y="2363724"/>
                  </a:moveTo>
                  <a:lnTo>
                    <a:pt x="600837" y="2363724"/>
                  </a:lnTo>
                  <a:lnTo>
                    <a:pt x="600837" y="2512060"/>
                  </a:lnTo>
                  <a:lnTo>
                    <a:pt x="732790" y="2512060"/>
                  </a:lnTo>
                  <a:lnTo>
                    <a:pt x="732790" y="2363724"/>
                  </a:lnTo>
                  <a:close/>
                </a:path>
                <a:path w="7446644" h="2941955">
                  <a:moveTo>
                    <a:pt x="2051812" y="2066671"/>
                  </a:moveTo>
                  <a:lnTo>
                    <a:pt x="1722755" y="2066671"/>
                  </a:lnTo>
                  <a:lnTo>
                    <a:pt x="1722755" y="1918081"/>
                  </a:lnTo>
                  <a:lnTo>
                    <a:pt x="1648460" y="1918081"/>
                  </a:lnTo>
                  <a:lnTo>
                    <a:pt x="1648460" y="2066671"/>
                  </a:lnTo>
                  <a:lnTo>
                    <a:pt x="1512189" y="2066671"/>
                  </a:lnTo>
                  <a:lnTo>
                    <a:pt x="1512189" y="2215007"/>
                  </a:lnTo>
                  <a:lnTo>
                    <a:pt x="2051812" y="2215007"/>
                  </a:lnTo>
                  <a:lnTo>
                    <a:pt x="2051812" y="2066671"/>
                  </a:lnTo>
                  <a:close/>
                </a:path>
                <a:path w="7446644" h="2941955">
                  <a:moveTo>
                    <a:pt x="2704465" y="1918081"/>
                  </a:moveTo>
                  <a:lnTo>
                    <a:pt x="2278634" y="1918081"/>
                  </a:lnTo>
                  <a:lnTo>
                    <a:pt x="2278634" y="2066671"/>
                  </a:lnTo>
                  <a:lnTo>
                    <a:pt x="2704465" y="2066671"/>
                  </a:lnTo>
                  <a:lnTo>
                    <a:pt x="2704465" y="1918081"/>
                  </a:lnTo>
                  <a:close/>
                </a:path>
                <a:path w="7446644" h="2941955">
                  <a:moveTo>
                    <a:pt x="2761996" y="1621790"/>
                  </a:moveTo>
                  <a:lnTo>
                    <a:pt x="2630043" y="1621790"/>
                  </a:lnTo>
                  <a:lnTo>
                    <a:pt x="2630043" y="1770126"/>
                  </a:lnTo>
                  <a:lnTo>
                    <a:pt x="2761996" y="1770126"/>
                  </a:lnTo>
                  <a:lnTo>
                    <a:pt x="2761996" y="1621790"/>
                  </a:lnTo>
                  <a:close/>
                </a:path>
                <a:path w="7446644" h="2941955">
                  <a:moveTo>
                    <a:pt x="3166110" y="1621790"/>
                  </a:moveTo>
                  <a:lnTo>
                    <a:pt x="2836291" y="1621790"/>
                  </a:lnTo>
                  <a:lnTo>
                    <a:pt x="2836291" y="1770126"/>
                  </a:lnTo>
                  <a:lnTo>
                    <a:pt x="3166110" y="1770126"/>
                  </a:lnTo>
                  <a:lnTo>
                    <a:pt x="3166110" y="1621790"/>
                  </a:lnTo>
                  <a:close/>
                </a:path>
                <a:path w="7446644" h="2941955">
                  <a:moveTo>
                    <a:pt x="5304155" y="881507"/>
                  </a:moveTo>
                  <a:lnTo>
                    <a:pt x="5172202" y="881507"/>
                  </a:lnTo>
                  <a:lnTo>
                    <a:pt x="5172202" y="1029843"/>
                  </a:lnTo>
                  <a:lnTo>
                    <a:pt x="5304155" y="1029843"/>
                  </a:lnTo>
                  <a:lnTo>
                    <a:pt x="5304155" y="881507"/>
                  </a:lnTo>
                  <a:close/>
                </a:path>
                <a:path w="7446644" h="2941955">
                  <a:moveTo>
                    <a:pt x="5622544" y="733171"/>
                  </a:moveTo>
                  <a:lnTo>
                    <a:pt x="5548249" y="733171"/>
                  </a:lnTo>
                  <a:lnTo>
                    <a:pt x="5548249" y="881507"/>
                  </a:lnTo>
                  <a:lnTo>
                    <a:pt x="5622544" y="881507"/>
                  </a:lnTo>
                  <a:lnTo>
                    <a:pt x="5622544" y="733171"/>
                  </a:lnTo>
                  <a:close/>
                </a:path>
                <a:path w="7446644" h="2941955">
                  <a:moveTo>
                    <a:pt x="6037707" y="733171"/>
                  </a:moveTo>
                  <a:lnTo>
                    <a:pt x="5707888" y="733171"/>
                  </a:lnTo>
                  <a:lnTo>
                    <a:pt x="5707888" y="881507"/>
                  </a:lnTo>
                  <a:lnTo>
                    <a:pt x="6037707" y="881507"/>
                  </a:lnTo>
                  <a:lnTo>
                    <a:pt x="6037707" y="733171"/>
                  </a:lnTo>
                  <a:close/>
                </a:path>
                <a:path w="7446644" h="2941955">
                  <a:moveTo>
                    <a:pt x="7446137" y="1769745"/>
                  </a:moveTo>
                  <a:lnTo>
                    <a:pt x="3729355" y="1769745"/>
                  </a:lnTo>
                  <a:lnTo>
                    <a:pt x="3729355" y="1918081"/>
                  </a:lnTo>
                  <a:lnTo>
                    <a:pt x="7446137" y="1918081"/>
                  </a:lnTo>
                  <a:lnTo>
                    <a:pt x="7446137" y="1769745"/>
                  </a:lnTo>
                  <a:close/>
                </a:path>
                <a:path w="7446644" h="2941955">
                  <a:moveTo>
                    <a:pt x="7446137" y="288798"/>
                  </a:moveTo>
                  <a:lnTo>
                    <a:pt x="7349744" y="288798"/>
                  </a:lnTo>
                  <a:lnTo>
                    <a:pt x="7349744" y="436118"/>
                  </a:lnTo>
                  <a:lnTo>
                    <a:pt x="7275576" y="436118"/>
                  </a:lnTo>
                  <a:lnTo>
                    <a:pt x="7275576" y="288290"/>
                  </a:lnTo>
                  <a:lnTo>
                    <a:pt x="7140702" y="288290"/>
                  </a:lnTo>
                  <a:lnTo>
                    <a:pt x="7140702" y="139954"/>
                  </a:lnTo>
                  <a:lnTo>
                    <a:pt x="7070217" y="139954"/>
                  </a:lnTo>
                  <a:lnTo>
                    <a:pt x="7070217" y="436499"/>
                  </a:lnTo>
                  <a:lnTo>
                    <a:pt x="7070217" y="584708"/>
                  </a:lnTo>
                  <a:lnTo>
                    <a:pt x="6995922" y="584708"/>
                  </a:lnTo>
                  <a:lnTo>
                    <a:pt x="6995922" y="436499"/>
                  </a:lnTo>
                  <a:lnTo>
                    <a:pt x="7070217" y="436499"/>
                  </a:lnTo>
                  <a:lnTo>
                    <a:pt x="7070217" y="139954"/>
                  </a:lnTo>
                  <a:lnTo>
                    <a:pt x="7069328" y="139954"/>
                  </a:lnTo>
                  <a:lnTo>
                    <a:pt x="7069328" y="288290"/>
                  </a:lnTo>
                  <a:lnTo>
                    <a:pt x="6945757" y="288290"/>
                  </a:lnTo>
                  <a:lnTo>
                    <a:pt x="6945757" y="436118"/>
                  </a:lnTo>
                  <a:lnTo>
                    <a:pt x="6666103" y="436118"/>
                  </a:lnTo>
                  <a:lnTo>
                    <a:pt x="6666103" y="584708"/>
                  </a:lnTo>
                  <a:lnTo>
                    <a:pt x="6175756" y="584708"/>
                  </a:lnTo>
                  <a:lnTo>
                    <a:pt x="6175756" y="733298"/>
                  </a:lnTo>
                  <a:lnTo>
                    <a:pt x="6307201" y="733298"/>
                  </a:lnTo>
                  <a:lnTo>
                    <a:pt x="6307201" y="881888"/>
                  </a:lnTo>
                  <a:lnTo>
                    <a:pt x="6175629" y="881888"/>
                  </a:lnTo>
                  <a:lnTo>
                    <a:pt x="6175629" y="1030478"/>
                  </a:lnTo>
                  <a:lnTo>
                    <a:pt x="6175629" y="1176528"/>
                  </a:lnTo>
                  <a:lnTo>
                    <a:pt x="6055360" y="1176528"/>
                  </a:lnTo>
                  <a:lnTo>
                    <a:pt x="6055360" y="1030478"/>
                  </a:lnTo>
                  <a:lnTo>
                    <a:pt x="6175629" y="1030478"/>
                  </a:lnTo>
                  <a:lnTo>
                    <a:pt x="6175629" y="881888"/>
                  </a:lnTo>
                  <a:lnTo>
                    <a:pt x="5782564" y="881888"/>
                  </a:lnTo>
                  <a:lnTo>
                    <a:pt x="5782564" y="1027938"/>
                  </a:lnTo>
                  <a:lnTo>
                    <a:pt x="5708269" y="1027938"/>
                  </a:lnTo>
                  <a:lnTo>
                    <a:pt x="5708269" y="881888"/>
                  </a:lnTo>
                  <a:lnTo>
                    <a:pt x="5378450" y="881888"/>
                  </a:lnTo>
                  <a:lnTo>
                    <a:pt x="5378450" y="1027938"/>
                  </a:lnTo>
                  <a:lnTo>
                    <a:pt x="5378450" y="1030478"/>
                  </a:lnTo>
                  <a:lnTo>
                    <a:pt x="5462651" y="1030478"/>
                  </a:lnTo>
                  <a:lnTo>
                    <a:pt x="5462651" y="1176528"/>
                  </a:lnTo>
                  <a:lnTo>
                    <a:pt x="5266436" y="1176528"/>
                  </a:lnTo>
                  <a:lnTo>
                    <a:pt x="5266436" y="1325118"/>
                  </a:lnTo>
                  <a:lnTo>
                    <a:pt x="5192141" y="1325118"/>
                  </a:lnTo>
                  <a:lnTo>
                    <a:pt x="5192141" y="1176782"/>
                  </a:lnTo>
                  <a:lnTo>
                    <a:pt x="5089652" y="1176782"/>
                  </a:lnTo>
                  <a:lnTo>
                    <a:pt x="5089652" y="1325118"/>
                  </a:lnTo>
                  <a:lnTo>
                    <a:pt x="5089652" y="1473708"/>
                  </a:lnTo>
                  <a:lnTo>
                    <a:pt x="4957699" y="1473708"/>
                  </a:lnTo>
                  <a:lnTo>
                    <a:pt x="4957699" y="1325118"/>
                  </a:lnTo>
                  <a:lnTo>
                    <a:pt x="5089652" y="1325118"/>
                  </a:lnTo>
                  <a:lnTo>
                    <a:pt x="5089652" y="1176782"/>
                  </a:lnTo>
                  <a:lnTo>
                    <a:pt x="4862195" y="1176782"/>
                  </a:lnTo>
                  <a:lnTo>
                    <a:pt x="4862195" y="1325118"/>
                  </a:lnTo>
                  <a:lnTo>
                    <a:pt x="4788027" y="1325118"/>
                  </a:lnTo>
                  <a:lnTo>
                    <a:pt x="4788027" y="1176528"/>
                  </a:lnTo>
                  <a:lnTo>
                    <a:pt x="4656074" y="1176528"/>
                  </a:lnTo>
                  <a:lnTo>
                    <a:pt x="4656074" y="1325118"/>
                  </a:lnTo>
                  <a:lnTo>
                    <a:pt x="4656074" y="1473327"/>
                  </a:lnTo>
                  <a:lnTo>
                    <a:pt x="4442333" y="1473327"/>
                  </a:lnTo>
                  <a:lnTo>
                    <a:pt x="4442333" y="1325118"/>
                  </a:lnTo>
                  <a:lnTo>
                    <a:pt x="4111752" y="1325118"/>
                  </a:lnTo>
                  <a:lnTo>
                    <a:pt x="4111752" y="1473327"/>
                  </a:lnTo>
                  <a:lnTo>
                    <a:pt x="3781933" y="1473327"/>
                  </a:lnTo>
                  <a:lnTo>
                    <a:pt x="3781933" y="1621663"/>
                  </a:lnTo>
                  <a:lnTo>
                    <a:pt x="4791710" y="1621663"/>
                  </a:lnTo>
                  <a:lnTo>
                    <a:pt x="4791710" y="1473708"/>
                  </a:lnTo>
                  <a:lnTo>
                    <a:pt x="4865878" y="1473708"/>
                  </a:lnTo>
                  <a:lnTo>
                    <a:pt x="4865878" y="1622298"/>
                  </a:lnTo>
                  <a:lnTo>
                    <a:pt x="3240532" y="1622298"/>
                  </a:lnTo>
                  <a:lnTo>
                    <a:pt x="3240532" y="1769618"/>
                  </a:lnTo>
                  <a:lnTo>
                    <a:pt x="3382010" y="1769618"/>
                  </a:lnTo>
                  <a:lnTo>
                    <a:pt x="3382010" y="1918208"/>
                  </a:lnTo>
                  <a:lnTo>
                    <a:pt x="3047873" y="1918208"/>
                  </a:lnTo>
                  <a:lnTo>
                    <a:pt x="3047873" y="2066798"/>
                  </a:lnTo>
                  <a:lnTo>
                    <a:pt x="2417445" y="2066798"/>
                  </a:lnTo>
                  <a:lnTo>
                    <a:pt x="2417445" y="2215388"/>
                  </a:lnTo>
                  <a:lnTo>
                    <a:pt x="2417445" y="2363978"/>
                  </a:lnTo>
                  <a:lnTo>
                    <a:pt x="2285492" y="2363978"/>
                  </a:lnTo>
                  <a:lnTo>
                    <a:pt x="2285492" y="2215388"/>
                  </a:lnTo>
                  <a:lnTo>
                    <a:pt x="2417445" y="2215388"/>
                  </a:lnTo>
                  <a:lnTo>
                    <a:pt x="2417445" y="2066798"/>
                  </a:lnTo>
                  <a:lnTo>
                    <a:pt x="2125472" y="2066798"/>
                  </a:lnTo>
                  <a:lnTo>
                    <a:pt x="2125472" y="2215388"/>
                  </a:lnTo>
                  <a:lnTo>
                    <a:pt x="1919859" y="2215388"/>
                  </a:lnTo>
                  <a:lnTo>
                    <a:pt x="1919859" y="2363978"/>
                  </a:lnTo>
                  <a:lnTo>
                    <a:pt x="1846199" y="2363978"/>
                  </a:lnTo>
                  <a:lnTo>
                    <a:pt x="1846199" y="2215388"/>
                  </a:lnTo>
                  <a:lnTo>
                    <a:pt x="1600327" y="2215388"/>
                  </a:lnTo>
                  <a:lnTo>
                    <a:pt x="1600327" y="2363978"/>
                  </a:lnTo>
                  <a:lnTo>
                    <a:pt x="1600327" y="2512568"/>
                  </a:lnTo>
                  <a:lnTo>
                    <a:pt x="1526032" y="2512568"/>
                  </a:lnTo>
                  <a:lnTo>
                    <a:pt x="1526032" y="2363978"/>
                  </a:lnTo>
                  <a:lnTo>
                    <a:pt x="1600327" y="2363978"/>
                  </a:lnTo>
                  <a:lnTo>
                    <a:pt x="1600327" y="2215388"/>
                  </a:lnTo>
                  <a:lnTo>
                    <a:pt x="1207135" y="2215388"/>
                  </a:lnTo>
                  <a:lnTo>
                    <a:pt x="1207135" y="2363978"/>
                  </a:lnTo>
                  <a:lnTo>
                    <a:pt x="807085" y="2363978"/>
                  </a:lnTo>
                  <a:lnTo>
                    <a:pt x="807085" y="2512568"/>
                  </a:lnTo>
                  <a:lnTo>
                    <a:pt x="807085" y="2659888"/>
                  </a:lnTo>
                  <a:lnTo>
                    <a:pt x="600837" y="2659888"/>
                  </a:lnTo>
                  <a:lnTo>
                    <a:pt x="600837" y="2512568"/>
                  </a:lnTo>
                  <a:lnTo>
                    <a:pt x="351536" y="2512568"/>
                  </a:lnTo>
                  <a:lnTo>
                    <a:pt x="351536" y="2659888"/>
                  </a:lnTo>
                  <a:lnTo>
                    <a:pt x="0" y="2659888"/>
                  </a:lnTo>
                  <a:lnTo>
                    <a:pt x="0" y="2941828"/>
                  </a:lnTo>
                  <a:lnTo>
                    <a:pt x="7446137" y="2941828"/>
                  </a:lnTo>
                  <a:lnTo>
                    <a:pt x="7446137" y="2659888"/>
                  </a:lnTo>
                  <a:lnTo>
                    <a:pt x="7446137" y="2512568"/>
                  </a:lnTo>
                  <a:lnTo>
                    <a:pt x="7446137" y="2363978"/>
                  </a:lnTo>
                  <a:lnTo>
                    <a:pt x="7446137" y="2215388"/>
                  </a:lnTo>
                  <a:lnTo>
                    <a:pt x="7446137" y="2066798"/>
                  </a:lnTo>
                  <a:lnTo>
                    <a:pt x="7446137" y="1918208"/>
                  </a:lnTo>
                  <a:lnTo>
                    <a:pt x="3655187" y="1918208"/>
                  </a:lnTo>
                  <a:lnTo>
                    <a:pt x="3655187" y="1769618"/>
                  </a:lnTo>
                  <a:lnTo>
                    <a:pt x="7446137" y="1769618"/>
                  </a:lnTo>
                  <a:lnTo>
                    <a:pt x="7446137" y="1622298"/>
                  </a:lnTo>
                  <a:lnTo>
                    <a:pt x="7446137" y="436118"/>
                  </a:lnTo>
                  <a:lnTo>
                    <a:pt x="7446137" y="288798"/>
                  </a:lnTo>
                  <a:close/>
                </a:path>
                <a:path w="7446644" h="2941955">
                  <a:moveTo>
                    <a:pt x="7446264" y="0"/>
                  </a:moveTo>
                  <a:lnTo>
                    <a:pt x="7349744" y="0"/>
                  </a:lnTo>
                  <a:lnTo>
                    <a:pt x="7349744" y="139954"/>
                  </a:lnTo>
                  <a:lnTo>
                    <a:pt x="7446264" y="139954"/>
                  </a:lnTo>
                  <a:lnTo>
                    <a:pt x="7446264" y="0"/>
                  </a:lnTo>
                  <a:close/>
                </a:path>
              </a:pathLst>
            </a:custGeom>
            <a:solidFill>
              <a:srgbClr val="626666"/>
            </a:solidFill>
          </p:spPr>
          <p:txBody>
            <a:bodyPr wrap="square" lIns="0" tIns="0" rIns="0" bIns="0" rtlCol="0"/>
            <a:lstStyle/>
            <a:p>
              <a:endParaRPr sz="1454"/>
            </a:p>
          </p:txBody>
        </p:sp>
        <p:pic>
          <p:nvPicPr>
            <p:cNvPr id="65" name="object 65"/>
            <p:cNvPicPr/>
            <p:nvPr/>
          </p:nvPicPr>
          <p:blipFill>
            <a:blip r:embed="rId12" cstate="print"/>
            <a:stretch>
              <a:fillRect/>
            </a:stretch>
          </p:blipFill>
          <p:spPr>
            <a:xfrm>
              <a:off x="8829802" y="319786"/>
              <a:ext cx="6714871" cy="2801366"/>
            </a:xfrm>
            <a:prstGeom prst="rect">
              <a:avLst/>
            </a:prstGeom>
          </p:spPr>
        </p:pic>
        <p:pic>
          <p:nvPicPr>
            <p:cNvPr id="66" name="object 66"/>
            <p:cNvPicPr/>
            <p:nvPr/>
          </p:nvPicPr>
          <p:blipFill>
            <a:blip r:embed="rId13" cstate="print"/>
            <a:stretch>
              <a:fillRect/>
            </a:stretch>
          </p:blipFill>
          <p:spPr>
            <a:xfrm>
              <a:off x="15448280" y="179831"/>
              <a:ext cx="96519" cy="139953"/>
            </a:xfrm>
            <a:prstGeom prst="rect">
              <a:avLst/>
            </a:prstGeom>
          </p:spPr>
        </p:pic>
      </p:grpSp>
      <p:sp>
        <p:nvSpPr>
          <p:cNvPr id="67" name="object 67"/>
          <p:cNvSpPr/>
          <p:nvPr/>
        </p:nvSpPr>
        <p:spPr>
          <a:xfrm>
            <a:off x="1085504" y="2236123"/>
            <a:ext cx="10041081" cy="1115291"/>
          </a:xfrm>
          <a:custGeom>
            <a:avLst/>
            <a:gdLst/>
            <a:ahLst/>
            <a:cxnLst/>
            <a:rect l="l" t="t" r="r" b="b"/>
            <a:pathLst>
              <a:path w="14726919" h="1635760">
                <a:moveTo>
                  <a:pt x="14726412" y="0"/>
                </a:moveTo>
                <a:lnTo>
                  <a:pt x="0" y="0"/>
                </a:lnTo>
                <a:lnTo>
                  <a:pt x="0" y="1635252"/>
                </a:lnTo>
                <a:lnTo>
                  <a:pt x="14726412" y="1635252"/>
                </a:lnTo>
                <a:lnTo>
                  <a:pt x="14726412" y="0"/>
                </a:lnTo>
                <a:close/>
              </a:path>
            </a:pathLst>
          </a:custGeom>
          <a:solidFill>
            <a:srgbClr val="009EE3">
              <a:alpha val="90194"/>
            </a:srgbClr>
          </a:solidFill>
        </p:spPr>
        <p:txBody>
          <a:bodyPr wrap="square" lIns="0" tIns="0" rIns="0" bIns="0" rtlCol="0"/>
          <a:lstStyle/>
          <a:p>
            <a:endParaRPr sz="1454"/>
          </a:p>
        </p:txBody>
      </p:sp>
      <p:sp>
        <p:nvSpPr>
          <p:cNvPr id="68" name="object 68"/>
          <p:cNvSpPr txBox="1"/>
          <p:nvPr/>
        </p:nvSpPr>
        <p:spPr>
          <a:xfrm>
            <a:off x="1328650" y="2511137"/>
            <a:ext cx="3184381" cy="702523"/>
          </a:xfrm>
          <a:prstGeom prst="rect">
            <a:avLst/>
          </a:prstGeom>
        </p:spPr>
        <p:txBody>
          <a:bodyPr vert="horz" wrap="square" lIns="0" tIns="8659" rIns="0" bIns="0" rtlCol="0">
            <a:spAutoFit/>
          </a:bodyPr>
          <a:lstStyle/>
          <a:p>
            <a:pPr marL="233789" marR="3464" indent="-233789">
              <a:spcBef>
                <a:spcPts val="68"/>
              </a:spcBef>
              <a:buFont typeface="Wingdings"/>
              <a:buChar char=""/>
              <a:tabLst>
                <a:tab pos="233789" algn="l"/>
              </a:tabLst>
            </a:pPr>
            <a:r>
              <a:rPr sz="1023">
                <a:solidFill>
                  <a:srgbClr val="FFFFFF"/>
                </a:solidFill>
                <a:latin typeface="Arial"/>
                <a:cs typeface="Arial"/>
              </a:rPr>
              <a:t>Previous</a:t>
            </a:r>
            <a:r>
              <a:rPr sz="1023" spc="-7">
                <a:solidFill>
                  <a:srgbClr val="FFFFFF"/>
                </a:solidFill>
                <a:latin typeface="Arial"/>
                <a:cs typeface="Arial"/>
              </a:rPr>
              <a:t> </a:t>
            </a:r>
            <a:r>
              <a:rPr sz="1023">
                <a:solidFill>
                  <a:srgbClr val="FFFFFF"/>
                </a:solidFill>
                <a:latin typeface="Arial"/>
                <a:cs typeface="Arial"/>
              </a:rPr>
              <a:t>experience</a:t>
            </a:r>
            <a:r>
              <a:rPr sz="1023" spc="-10">
                <a:solidFill>
                  <a:srgbClr val="FFFFFF"/>
                </a:solidFill>
                <a:latin typeface="Arial"/>
                <a:cs typeface="Arial"/>
              </a:rPr>
              <a:t> </a:t>
            </a:r>
            <a:r>
              <a:rPr sz="1023">
                <a:solidFill>
                  <a:srgbClr val="FFFFFF"/>
                </a:solidFill>
                <a:latin typeface="Arial"/>
                <a:cs typeface="Arial"/>
              </a:rPr>
              <a:t>as</a:t>
            </a:r>
            <a:r>
              <a:rPr sz="1023" spc="-3">
                <a:solidFill>
                  <a:srgbClr val="FFFFFF"/>
                </a:solidFill>
                <a:latin typeface="Arial"/>
                <a:cs typeface="Arial"/>
              </a:rPr>
              <a:t> </a:t>
            </a:r>
            <a:r>
              <a:rPr sz="1023">
                <a:solidFill>
                  <a:srgbClr val="FFFFFF"/>
                </a:solidFill>
                <a:latin typeface="Arial"/>
                <a:cs typeface="Arial"/>
              </a:rPr>
              <a:t>CFOs,</a:t>
            </a:r>
            <a:r>
              <a:rPr sz="1023" spc="-10">
                <a:solidFill>
                  <a:srgbClr val="FFFFFF"/>
                </a:solidFill>
                <a:latin typeface="Arial"/>
                <a:cs typeface="Arial"/>
              </a:rPr>
              <a:t> </a:t>
            </a:r>
            <a:r>
              <a:rPr sz="1023">
                <a:solidFill>
                  <a:srgbClr val="FFFFFF"/>
                </a:solidFill>
                <a:latin typeface="Arial"/>
                <a:cs typeface="Arial"/>
              </a:rPr>
              <a:t>controllers</a:t>
            </a:r>
            <a:r>
              <a:rPr sz="1023" spc="-24">
                <a:solidFill>
                  <a:srgbClr val="FFFFFF"/>
                </a:solidFill>
                <a:latin typeface="Arial"/>
                <a:cs typeface="Arial"/>
              </a:rPr>
              <a:t> </a:t>
            </a:r>
            <a:r>
              <a:rPr sz="1023">
                <a:solidFill>
                  <a:srgbClr val="FFFFFF"/>
                </a:solidFill>
                <a:latin typeface="Arial"/>
                <a:cs typeface="Arial"/>
              </a:rPr>
              <a:t>or</a:t>
            </a:r>
            <a:r>
              <a:rPr sz="1023" spc="-7">
                <a:solidFill>
                  <a:srgbClr val="FFFFFF"/>
                </a:solidFill>
                <a:latin typeface="Arial"/>
                <a:cs typeface="Arial"/>
              </a:rPr>
              <a:t> senior </a:t>
            </a:r>
            <a:r>
              <a:rPr sz="1023">
                <a:solidFill>
                  <a:srgbClr val="FFFFFF"/>
                </a:solidFill>
                <a:latin typeface="Arial"/>
                <a:cs typeface="Arial"/>
              </a:rPr>
              <a:t>roles</a:t>
            </a:r>
            <a:r>
              <a:rPr sz="1023" spc="-17">
                <a:solidFill>
                  <a:srgbClr val="FFFFFF"/>
                </a:solidFill>
                <a:latin typeface="Arial"/>
                <a:cs typeface="Arial"/>
              </a:rPr>
              <a:t> </a:t>
            </a:r>
            <a:r>
              <a:rPr sz="1023">
                <a:solidFill>
                  <a:srgbClr val="FFFFFF"/>
                </a:solidFill>
                <a:latin typeface="Arial"/>
                <a:cs typeface="Arial"/>
              </a:rPr>
              <a:t>at</a:t>
            </a:r>
            <a:r>
              <a:rPr sz="1023" spc="-10">
                <a:solidFill>
                  <a:srgbClr val="FFFFFF"/>
                </a:solidFill>
                <a:latin typeface="Arial"/>
                <a:cs typeface="Arial"/>
              </a:rPr>
              <a:t> </a:t>
            </a:r>
            <a:r>
              <a:rPr sz="1023">
                <a:solidFill>
                  <a:srgbClr val="FFFFFF"/>
                </a:solidFill>
                <a:latin typeface="Arial"/>
                <a:cs typeface="Arial"/>
              </a:rPr>
              <a:t>top-tier</a:t>
            </a:r>
            <a:r>
              <a:rPr sz="1023" spc="-24">
                <a:solidFill>
                  <a:srgbClr val="FFFFFF"/>
                </a:solidFill>
                <a:latin typeface="Arial"/>
                <a:cs typeface="Arial"/>
              </a:rPr>
              <a:t> </a:t>
            </a:r>
            <a:r>
              <a:rPr sz="1023">
                <a:solidFill>
                  <a:srgbClr val="FFFFFF"/>
                </a:solidFill>
                <a:latin typeface="Arial"/>
                <a:cs typeface="Arial"/>
              </a:rPr>
              <a:t>government</a:t>
            </a:r>
            <a:r>
              <a:rPr sz="1023" spc="-7">
                <a:solidFill>
                  <a:srgbClr val="FFFFFF"/>
                </a:solidFill>
                <a:latin typeface="Arial"/>
                <a:cs typeface="Arial"/>
              </a:rPr>
              <a:t> contractors</a:t>
            </a:r>
            <a:endParaRPr sz="1023">
              <a:latin typeface="Arial"/>
              <a:cs typeface="Arial"/>
            </a:endParaRPr>
          </a:p>
          <a:p>
            <a:pPr marL="233789" marR="12122" indent="-233789">
              <a:spcBef>
                <a:spcPts val="539"/>
              </a:spcBef>
              <a:buFont typeface="Wingdings"/>
              <a:buChar char=""/>
              <a:tabLst>
                <a:tab pos="233789" algn="l"/>
              </a:tabLst>
            </a:pPr>
            <a:r>
              <a:rPr sz="1023">
                <a:solidFill>
                  <a:srgbClr val="FFFFFF"/>
                </a:solidFill>
                <a:latin typeface="Arial"/>
                <a:cs typeface="Arial"/>
              </a:rPr>
              <a:t>Experience</a:t>
            </a:r>
            <a:r>
              <a:rPr sz="1023" spc="-14">
                <a:solidFill>
                  <a:srgbClr val="FFFFFF"/>
                </a:solidFill>
                <a:latin typeface="Arial"/>
                <a:cs typeface="Arial"/>
              </a:rPr>
              <a:t> </a:t>
            </a:r>
            <a:r>
              <a:rPr sz="1023">
                <a:solidFill>
                  <a:srgbClr val="FFFFFF"/>
                </a:solidFill>
                <a:latin typeface="Arial"/>
                <a:cs typeface="Arial"/>
              </a:rPr>
              <a:t>with all</a:t>
            </a:r>
            <a:r>
              <a:rPr sz="1023" spc="-10">
                <a:solidFill>
                  <a:srgbClr val="FFFFFF"/>
                </a:solidFill>
                <a:latin typeface="Arial"/>
                <a:cs typeface="Arial"/>
              </a:rPr>
              <a:t> </a:t>
            </a:r>
            <a:r>
              <a:rPr sz="1023">
                <a:solidFill>
                  <a:srgbClr val="FFFFFF"/>
                </a:solidFill>
                <a:latin typeface="Arial"/>
                <a:cs typeface="Arial"/>
              </a:rPr>
              <a:t>aspects</a:t>
            </a:r>
            <a:r>
              <a:rPr sz="1023" spc="-31">
                <a:solidFill>
                  <a:srgbClr val="FFFFFF"/>
                </a:solidFill>
                <a:latin typeface="Arial"/>
                <a:cs typeface="Arial"/>
              </a:rPr>
              <a:t> </a:t>
            </a:r>
            <a:r>
              <a:rPr sz="1023">
                <a:solidFill>
                  <a:srgbClr val="FFFFFF"/>
                </a:solidFill>
                <a:latin typeface="Arial"/>
                <a:cs typeface="Arial"/>
              </a:rPr>
              <a:t>of</a:t>
            </a:r>
            <a:r>
              <a:rPr sz="1023" spc="-20">
                <a:solidFill>
                  <a:srgbClr val="FFFFFF"/>
                </a:solidFill>
                <a:latin typeface="Arial"/>
                <a:cs typeface="Arial"/>
              </a:rPr>
              <a:t> </a:t>
            </a:r>
            <a:r>
              <a:rPr sz="1023">
                <a:solidFill>
                  <a:srgbClr val="FFFFFF"/>
                </a:solidFill>
                <a:latin typeface="Arial"/>
                <a:cs typeface="Arial"/>
              </a:rPr>
              <a:t>government</a:t>
            </a:r>
            <a:r>
              <a:rPr sz="1023" spc="-14">
                <a:solidFill>
                  <a:srgbClr val="FFFFFF"/>
                </a:solidFill>
                <a:latin typeface="Arial"/>
                <a:cs typeface="Arial"/>
              </a:rPr>
              <a:t> </a:t>
            </a:r>
            <a:r>
              <a:rPr sz="1023" spc="-7">
                <a:solidFill>
                  <a:srgbClr val="FFFFFF"/>
                </a:solidFill>
                <a:latin typeface="Arial"/>
                <a:cs typeface="Arial"/>
              </a:rPr>
              <a:t>contract </a:t>
            </a:r>
            <a:r>
              <a:rPr sz="1023">
                <a:solidFill>
                  <a:srgbClr val="FFFFFF"/>
                </a:solidFill>
                <a:latin typeface="Arial"/>
                <a:cs typeface="Arial"/>
              </a:rPr>
              <a:t>life</a:t>
            </a:r>
            <a:r>
              <a:rPr sz="1023" spc="-17">
                <a:solidFill>
                  <a:srgbClr val="FFFFFF"/>
                </a:solidFill>
                <a:latin typeface="Arial"/>
                <a:cs typeface="Arial"/>
              </a:rPr>
              <a:t> </a:t>
            </a:r>
            <a:r>
              <a:rPr sz="1023" spc="-7">
                <a:solidFill>
                  <a:srgbClr val="FFFFFF"/>
                </a:solidFill>
                <a:latin typeface="Arial"/>
                <a:cs typeface="Arial"/>
              </a:rPr>
              <a:t>cycle</a:t>
            </a:r>
            <a:endParaRPr sz="1023">
              <a:latin typeface="Arial"/>
              <a:cs typeface="Arial"/>
            </a:endParaRPr>
          </a:p>
        </p:txBody>
      </p:sp>
      <p:sp>
        <p:nvSpPr>
          <p:cNvPr id="69" name="object 69"/>
          <p:cNvSpPr txBox="1"/>
          <p:nvPr/>
        </p:nvSpPr>
        <p:spPr>
          <a:xfrm>
            <a:off x="1299349" y="2287732"/>
            <a:ext cx="1910195" cy="197578"/>
          </a:xfrm>
          <a:prstGeom prst="rect">
            <a:avLst/>
          </a:prstGeom>
        </p:spPr>
        <p:txBody>
          <a:bodyPr vert="horz" wrap="square" lIns="0" tIns="8659" rIns="0" bIns="0" rtlCol="0">
            <a:spAutoFit/>
          </a:bodyPr>
          <a:lstStyle/>
          <a:p>
            <a:pPr>
              <a:spcBef>
                <a:spcPts val="68"/>
              </a:spcBef>
              <a:tabLst>
                <a:tab pos="567588" algn="l"/>
              </a:tabLst>
            </a:pPr>
            <a:r>
              <a:rPr sz="1227" b="1" spc="58">
                <a:solidFill>
                  <a:srgbClr val="FFFFFF"/>
                </a:solidFill>
                <a:latin typeface="Arial"/>
                <a:cs typeface="Arial"/>
              </a:rPr>
              <a:t>Te</a:t>
            </a:r>
            <a:r>
              <a:rPr sz="1227" b="1" spc="-143">
                <a:solidFill>
                  <a:srgbClr val="FFFFFF"/>
                </a:solidFill>
                <a:latin typeface="Arial"/>
                <a:cs typeface="Arial"/>
              </a:rPr>
              <a:t> </a:t>
            </a:r>
            <a:r>
              <a:rPr sz="1227" b="1">
                <a:solidFill>
                  <a:srgbClr val="FFFFFF"/>
                </a:solidFill>
                <a:latin typeface="Arial"/>
                <a:cs typeface="Arial"/>
              </a:rPr>
              <a:t>a</a:t>
            </a:r>
            <a:r>
              <a:rPr sz="1227" b="1" spc="-143">
                <a:solidFill>
                  <a:srgbClr val="FFFFFF"/>
                </a:solidFill>
                <a:latin typeface="Arial"/>
                <a:cs typeface="Arial"/>
              </a:rPr>
              <a:t> </a:t>
            </a:r>
            <a:r>
              <a:rPr sz="1227" b="1" spc="-34">
                <a:solidFill>
                  <a:srgbClr val="FFFFFF"/>
                </a:solidFill>
                <a:latin typeface="Arial"/>
                <a:cs typeface="Arial"/>
              </a:rPr>
              <a:t>m</a:t>
            </a:r>
            <a:r>
              <a:rPr sz="1227" b="1">
                <a:solidFill>
                  <a:srgbClr val="FFFFFF"/>
                </a:solidFill>
                <a:latin typeface="Arial"/>
                <a:cs typeface="Arial"/>
              </a:rPr>
              <a:t>	q</a:t>
            </a:r>
            <a:r>
              <a:rPr sz="1227" b="1" spc="-136">
                <a:solidFill>
                  <a:srgbClr val="FFFFFF"/>
                </a:solidFill>
                <a:latin typeface="Arial"/>
                <a:cs typeface="Arial"/>
              </a:rPr>
              <a:t> </a:t>
            </a:r>
            <a:r>
              <a:rPr sz="1227" b="1">
                <a:solidFill>
                  <a:srgbClr val="FFFFFF"/>
                </a:solidFill>
                <a:latin typeface="Arial"/>
                <a:cs typeface="Arial"/>
              </a:rPr>
              <a:t>u</a:t>
            </a:r>
            <a:r>
              <a:rPr sz="1227" b="1" spc="-136">
                <a:solidFill>
                  <a:srgbClr val="FFFFFF"/>
                </a:solidFill>
                <a:latin typeface="Arial"/>
                <a:cs typeface="Arial"/>
              </a:rPr>
              <a:t> </a:t>
            </a:r>
            <a:r>
              <a:rPr sz="1227" b="1">
                <a:solidFill>
                  <a:srgbClr val="FFFFFF"/>
                </a:solidFill>
                <a:latin typeface="Arial"/>
                <a:cs typeface="Arial"/>
              </a:rPr>
              <a:t>a</a:t>
            </a:r>
            <a:r>
              <a:rPr sz="1227" b="1" spc="-143">
                <a:solidFill>
                  <a:srgbClr val="FFFFFF"/>
                </a:solidFill>
                <a:latin typeface="Arial"/>
                <a:cs typeface="Arial"/>
              </a:rPr>
              <a:t> </a:t>
            </a:r>
            <a:r>
              <a:rPr sz="1227" b="1">
                <a:solidFill>
                  <a:srgbClr val="FFFFFF"/>
                </a:solidFill>
                <a:latin typeface="Arial"/>
                <a:cs typeface="Arial"/>
              </a:rPr>
              <a:t>l</a:t>
            </a:r>
            <a:r>
              <a:rPr sz="1227" b="1" spc="-136">
                <a:solidFill>
                  <a:srgbClr val="FFFFFF"/>
                </a:solidFill>
                <a:latin typeface="Arial"/>
                <a:cs typeface="Arial"/>
              </a:rPr>
              <a:t> </a:t>
            </a:r>
            <a:r>
              <a:rPr sz="1227" b="1">
                <a:solidFill>
                  <a:srgbClr val="FFFFFF"/>
                </a:solidFill>
                <a:latin typeface="Arial"/>
                <a:cs typeface="Arial"/>
              </a:rPr>
              <a:t>i</a:t>
            </a:r>
            <a:r>
              <a:rPr sz="1227" b="1" spc="-136">
                <a:solidFill>
                  <a:srgbClr val="FFFFFF"/>
                </a:solidFill>
                <a:latin typeface="Arial"/>
                <a:cs typeface="Arial"/>
              </a:rPr>
              <a:t> </a:t>
            </a:r>
            <a:r>
              <a:rPr sz="1227" b="1">
                <a:solidFill>
                  <a:srgbClr val="FFFFFF"/>
                </a:solidFill>
                <a:latin typeface="Arial"/>
                <a:cs typeface="Arial"/>
              </a:rPr>
              <a:t>f</a:t>
            </a:r>
            <a:r>
              <a:rPr sz="1227" b="1" spc="-139">
                <a:solidFill>
                  <a:srgbClr val="FFFFFF"/>
                </a:solidFill>
                <a:latin typeface="Arial"/>
                <a:cs typeface="Arial"/>
              </a:rPr>
              <a:t> </a:t>
            </a:r>
            <a:r>
              <a:rPr sz="1227" b="1">
                <a:solidFill>
                  <a:srgbClr val="FFFFFF"/>
                </a:solidFill>
                <a:latin typeface="Arial"/>
                <a:cs typeface="Arial"/>
              </a:rPr>
              <a:t>i</a:t>
            </a:r>
            <a:r>
              <a:rPr sz="1227" b="1" spc="-136">
                <a:solidFill>
                  <a:srgbClr val="FFFFFF"/>
                </a:solidFill>
                <a:latin typeface="Arial"/>
                <a:cs typeface="Arial"/>
              </a:rPr>
              <a:t> </a:t>
            </a:r>
            <a:r>
              <a:rPr sz="1227" b="1">
                <a:solidFill>
                  <a:srgbClr val="FFFFFF"/>
                </a:solidFill>
                <a:latin typeface="Arial"/>
                <a:cs typeface="Arial"/>
              </a:rPr>
              <a:t>c</a:t>
            </a:r>
            <a:r>
              <a:rPr sz="1227" b="1" spc="-143">
                <a:solidFill>
                  <a:srgbClr val="FFFFFF"/>
                </a:solidFill>
                <a:latin typeface="Arial"/>
                <a:cs typeface="Arial"/>
              </a:rPr>
              <a:t> </a:t>
            </a:r>
            <a:r>
              <a:rPr sz="1227" b="1">
                <a:solidFill>
                  <a:srgbClr val="FFFFFF"/>
                </a:solidFill>
                <a:latin typeface="Arial"/>
                <a:cs typeface="Arial"/>
              </a:rPr>
              <a:t>a</a:t>
            </a:r>
            <a:r>
              <a:rPr sz="1227" b="1" spc="-143">
                <a:solidFill>
                  <a:srgbClr val="FFFFFF"/>
                </a:solidFill>
                <a:latin typeface="Arial"/>
                <a:cs typeface="Arial"/>
              </a:rPr>
              <a:t> </a:t>
            </a:r>
            <a:r>
              <a:rPr sz="1227" b="1">
                <a:solidFill>
                  <a:srgbClr val="FFFFFF"/>
                </a:solidFill>
                <a:latin typeface="Arial"/>
                <a:cs typeface="Arial"/>
              </a:rPr>
              <a:t>t</a:t>
            </a:r>
            <a:r>
              <a:rPr sz="1227" b="1" spc="-139">
                <a:solidFill>
                  <a:srgbClr val="FFFFFF"/>
                </a:solidFill>
                <a:latin typeface="Arial"/>
                <a:cs typeface="Arial"/>
              </a:rPr>
              <a:t> </a:t>
            </a:r>
            <a:r>
              <a:rPr sz="1227" b="1">
                <a:solidFill>
                  <a:srgbClr val="FFFFFF"/>
                </a:solidFill>
                <a:latin typeface="Arial"/>
                <a:cs typeface="Arial"/>
              </a:rPr>
              <a:t>i</a:t>
            </a:r>
            <a:r>
              <a:rPr sz="1227" b="1" spc="-136">
                <a:solidFill>
                  <a:srgbClr val="FFFFFF"/>
                </a:solidFill>
                <a:latin typeface="Arial"/>
                <a:cs typeface="Arial"/>
              </a:rPr>
              <a:t> </a:t>
            </a:r>
            <a:r>
              <a:rPr sz="1227" b="1">
                <a:solidFill>
                  <a:srgbClr val="FFFFFF"/>
                </a:solidFill>
                <a:latin typeface="Arial"/>
                <a:cs typeface="Arial"/>
              </a:rPr>
              <a:t>o</a:t>
            </a:r>
            <a:r>
              <a:rPr sz="1227" b="1" spc="-136">
                <a:solidFill>
                  <a:srgbClr val="FFFFFF"/>
                </a:solidFill>
                <a:latin typeface="Arial"/>
                <a:cs typeface="Arial"/>
              </a:rPr>
              <a:t> </a:t>
            </a:r>
            <a:r>
              <a:rPr sz="1227" b="1">
                <a:solidFill>
                  <a:srgbClr val="FFFFFF"/>
                </a:solidFill>
                <a:latin typeface="Arial"/>
                <a:cs typeface="Arial"/>
              </a:rPr>
              <a:t>n</a:t>
            </a:r>
            <a:r>
              <a:rPr sz="1227" b="1" spc="-136">
                <a:solidFill>
                  <a:srgbClr val="FFFFFF"/>
                </a:solidFill>
                <a:latin typeface="Arial"/>
                <a:cs typeface="Arial"/>
              </a:rPr>
              <a:t> </a:t>
            </a:r>
            <a:r>
              <a:rPr sz="1227" b="1" spc="-34">
                <a:solidFill>
                  <a:srgbClr val="FFFFFF"/>
                </a:solidFill>
                <a:latin typeface="Arial"/>
                <a:cs typeface="Arial"/>
              </a:rPr>
              <a:t>s</a:t>
            </a:r>
            <a:endParaRPr sz="1227">
              <a:latin typeface="Arial"/>
              <a:cs typeface="Arial"/>
            </a:endParaRPr>
          </a:p>
        </p:txBody>
      </p:sp>
      <p:sp>
        <p:nvSpPr>
          <p:cNvPr id="70" name="object 70"/>
          <p:cNvSpPr txBox="1"/>
          <p:nvPr/>
        </p:nvSpPr>
        <p:spPr>
          <a:xfrm>
            <a:off x="7845396" y="2448358"/>
            <a:ext cx="2842780" cy="702523"/>
          </a:xfrm>
          <a:prstGeom prst="rect">
            <a:avLst/>
          </a:prstGeom>
        </p:spPr>
        <p:txBody>
          <a:bodyPr vert="horz" wrap="square" lIns="0" tIns="8659" rIns="0" bIns="0" rtlCol="0">
            <a:spAutoFit/>
          </a:bodyPr>
          <a:lstStyle/>
          <a:p>
            <a:pPr marL="233789" marR="3464" indent="-233789">
              <a:spcBef>
                <a:spcPts val="68"/>
              </a:spcBef>
              <a:buFont typeface="Wingdings"/>
              <a:buChar char=""/>
              <a:tabLst>
                <a:tab pos="233789" algn="l"/>
              </a:tabLst>
            </a:pPr>
            <a:r>
              <a:rPr sz="1023">
                <a:solidFill>
                  <a:srgbClr val="FFFFFF"/>
                </a:solidFill>
                <a:latin typeface="Arial"/>
                <a:cs typeface="Arial"/>
              </a:rPr>
              <a:t>Experience</a:t>
            </a:r>
            <a:r>
              <a:rPr sz="1023" spc="-10">
                <a:solidFill>
                  <a:srgbClr val="FFFFFF"/>
                </a:solidFill>
                <a:latin typeface="Arial"/>
                <a:cs typeface="Arial"/>
              </a:rPr>
              <a:t> </a:t>
            </a:r>
            <a:r>
              <a:rPr sz="1023">
                <a:solidFill>
                  <a:srgbClr val="FFFFFF"/>
                </a:solidFill>
                <a:latin typeface="Arial"/>
                <a:cs typeface="Arial"/>
              </a:rPr>
              <a:t>serving</a:t>
            </a:r>
            <a:r>
              <a:rPr sz="1023" spc="-7">
                <a:solidFill>
                  <a:srgbClr val="FFFFFF"/>
                </a:solidFill>
                <a:latin typeface="Arial"/>
                <a:cs typeface="Arial"/>
              </a:rPr>
              <a:t> </a:t>
            </a:r>
            <a:r>
              <a:rPr sz="1023">
                <a:solidFill>
                  <a:srgbClr val="FFFFFF"/>
                </a:solidFill>
                <a:latin typeface="Arial"/>
                <a:cs typeface="Arial"/>
              </a:rPr>
              <a:t>contractors</a:t>
            </a:r>
            <a:r>
              <a:rPr sz="1023" spc="-37">
                <a:solidFill>
                  <a:srgbClr val="FFFFFF"/>
                </a:solidFill>
                <a:latin typeface="Arial"/>
                <a:cs typeface="Arial"/>
              </a:rPr>
              <a:t> </a:t>
            </a:r>
            <a:r>
              <a:rPr sz="1023">
                <a:solidFill>
                  <a:srgbClr val="FFFFFF"/>
                </a:solidFill>
                <a:latin typeface="Arial"/>
                <a:cs typeface="Arial"/>
              </a:rPr>
              <a:t>in</a:t>
            </a:r>
            <a:r>
              <a:rPr sz="1023" spc="-10">
                <a:solidFill>
                  <a:srgbClr val="FFFFFF"/>
                </a:solidFill>
                <a:latin typeface="Arial"/>
                <a:cs typeface="Arial"/>
              </a:rPr>
              <a:t> </a:t>
            </a:r>
            <a:r>
              <a:rPr sz="1023">
                <a:solidFill>
                  <a:srgbClr val="FFFFFF"/>
                </a:solidFill>
                <a:latin typeface="Arial"/>
                <a:cs typeface="Arial"/>
              </a:rPr>
              <a:t>dozens</a:t>
            </a:r>
            <a:r>
              <a:rPr sz="1023" spc="-17">
                <a:solidFill>
                  <a:srgbClr val="FFFFFF"/>
                </a:solidFill>
                <a:latin typeface="Arial"/>
                <a:cs typeface="Arial"/>
              </a:rPr>
              <a:t> of </a:t>
            </a:r>
            <a:r>
              <a:rPr sz="1023">
                <a:solidFill>
                  <a:srgbClr val="FFFFFF"/>
                </a:solidFill>
                <a:latin typeface="Arial"/>
                <a:cs typeface="Arial"/>
              </a:rPr>
              <a:t>industries</a:t>
            </a:r>
            <a:r>
              <a:rPr sz="1023" spc="-27">
                <a:solidFill>
                  <a:srgbClr val="FFFFFF"/>
                </a:solidFill>
                <a:latin typeface="Arial"/>
                <a:cs typeface="Arial"/>
              </a:rPr>
              <a:t> </a:t>
            </a:r>
            <a:r>
              <a:rPr sz="1023">
                <a:solidFill>
                  <a:srgbClr val="FFFFFF"/>
                </a:solidFill>
                <a:latin typeface="Arial"/>
                <a:cs typeface="Arial"/>
              </a:rPr>
              <a:t>across</a:t>
            </a:r>
            <a:r>
              <a:rPr sz="1023" spc="-20">
                <a:solidFill>
                  <a:srgbClr val="FFFFFF"/>
                </a:solidFill>
                <a:latin typeface="Arial"/>
                <a:cs typeface="Arial"/>
              </a:rPr>
              <a:t> </a:t>
            </a:r>
            <a:r>
              <a:rPr sz="1023">
                <a:solidFill>
                  <a:srgbClr val="FFFFFF"/>
                </a:solidFill>
                <a:latin typeface="Arial"/>
                <a:cs typeface="Arial"/>
              </a:rPr>
              <a:t>a broad</a:t>
            </a:r>
            <a:r>
              <a:rPr sz="1023" spc="-14">
                <a:solidFill>
                  <a:srgbClr val="FFFFFF"/>
                </a:solidFill>
                <a:latin typeface="Arial"/>
                <a:cs typeface="Arial"/>
              </a:rPr>
              <a:t> </a:t>
            </a:r>
            <a:r>
              <a:rPr sz="1023">
                <a:solidFill>
                  <a:srgbClr val="FFFFFF"/>
                </a:solidFill>
                <a:latin typeface="Arial"/>
                <a:cs typeface="Arial"/>
              </a:rPr>
              <a:t>spectrum</a:t>
            </a:r>
            <a:r>
              <a:rPr sz="1023" spc="-24">
                <a:solidFill>
                  <a:srgbClr val="FFFFFF"/>
                </a:solidFill>
                <a:latin typeface="Arial"/>
                <a:cs typeface="Arial"/>
              </a:rPr>
              <a:t> </a:t>
            </a:r>
            <a:r>
              <a:rPr sz="1023">
                <a:solidFill>
                  <a:srgbClr val="FFFFFF"/>
                </a:solidFill>
                <a:latin typeface="Arial"/>
                <a:cs typeface="Arial"/>
              </a:rPr>
              <a:t>of</a:t>
            </a:r>
            <a:r>
              <a:rPr sz="1023" spc="-3">
                <a:solidFill>
                  <a:srgbClr val="FFFFFF"/>
                </a:solidFill>
                <a:latin typeface="Arial"/>
                <a:cs typeface="Arial"/>
              </a:rPr>
              <a:t> </a:t>
            </a:r>
            <a:r>
              <a:rPr sz="1023" spc="-7">
                <a:solidFill>
                  <a:srgbClr val="FFFFFF"/>
                </a:solidFill>
                <a:latin typeface="Arial"/>
                <a:cs typeface="Arial"/>
              </a:rPr>
              <a:t>federal </a:t>
            </a:r>
            <a:r>
              <a:rPr sz="1023">
                <a:solidFill>
                  <a:srgbClr val="FFFFFF"/>
                </a:solidFill>
                <a:latin typeface="Arial"/>
                <a:cs typeface="Arial"/>
              </a:rPr>
              <a:t>defense</a:t>
            </a:r>
            <a:r>
              <a:rPr sz="1023" spc="-27">
                <a:solidFill>
                  <a:srgbClr val="FFFFFF"/>
                </a:solidFill>
                <a:latin typeface="Arial"/>
                <a:cs typeface="Arial"/>
              </a:rPr>
              <a:t> </a:t>
            </a:r>
            <a:r>
              <a:rPr sz="1023">
                <a:solidFill>
                  <a:srgbClr val="FFFFFF"/>
                </a:solidFill>
                <a:latin typeface="Arial"/>
                <a:cs typeface="Arial"/>
              </a:rPr>
              <a:t>and</a:t>
            </a:r>
            <a:r>
              <a:rPr sz="1023" spc="-7">
                <a:solidFill>
                  <a:srgbClr val="FFFFFF"/>
                </a:solidFill>
                <a:latin typeface="Arial"/>
                <a:cs typeface="Arial"/>
              </a:rPr>
              <a:t> </a:t>
            </a:r>
            <a:r>
              <a:rPr sz="1023">
                <a:solidFill>
                  <a:srgbClr val="FFFFFF"/>
                </a:solidFill>
                <a:latin typeface="Arial"/>
                <a:cs typeface="Arial"/>
              </a:rPr>
              <a:t>civilian</a:t>
            </a:r>
            <a:r>
              <a:rPr sz="1023" spc="-3">
                <a:solidFill>
                  <a:srgbClr val="FFFFFF"/>
                </a:solidFill>
                <a:latin typeface="Arial"/>
                <a:cs typeface="Arial"/>
              </a:rPr>
              <a:t> </a:t>
            </a:r>
            <a:r>
              <a:rPr sz="1023" spc="-7">
                <a:solidFill>
                  <a:srgbClr val="FFFFFF"/>
                </a:solidFill>
                <a:latin typeface="Arial"/>
                <a:cs typeface="Arial"/>
              </a:rPr>
              <a:t>agencies</a:t>
            </a:r>
            <a:endParaRPr sz="1023">
              <a:latin typeface="Arial"/>
              <a:cs typeface="Arial"/>
            </a:endParaRPr>
          </a:p>
          <a:p>
            <a:pPr marL="233356" indent="-233356">
              <a:spcBef>
                <a:spcPts val="539"/>
              </a:spcBef>
              <a:buFont typeface="Wingdings"/>
              <a:buChar char=""/>
              <a:tabLst>
                <a:tab pos="233356" algn="l"/>
              </a:tabLst>
            </a:pPr>
            <a:r>
              <a:rPr sz="1023">
                <a:solidFill>
                  <a:srgbClr val="FFFFFF"/>
                </a:solidFill>
                <a:latin typeface="Arial"/>
                <a:cs typeface="Arial"/>
              </a:rPr>
              <a:t>Industry</a:t>
            </a:r>
            <a:r>
              <a:rPr sz="1023" spc="-31">
                <a:solidFill>
                  <a:srgbClr val="FFFFFF"/>
                </a:solidFill>
                <a:latin typeface="Arial"/>
                <a:cs typeface="Arial"/>
              </a:rPr>
              <a:t> </a:t>
            </a:r>
            <a:r>
              <a:rPr sz="1023">
                <a:solidFill>
                  <a:srgbClr val="FFFFFF"/>
                </a:solidFill>
                <a:latin typeface="Arial"/>
                <a:cs typeface="Arial"/>
              </a:rPr>
              <a:t>advocates</a:t>
            </a:r>
            <a:r>
              <a:rPr sz="1023" spc="-17">
                <a:solidFill>
                  <a:srgbClr val="FFFFFF"/>
                </a:solidFill>
                <a:latin typeface="Arial"/>
                <a:cs typeface="Arial"/>
              </a:rPr>
              <a:t> </a:t>
            </a:r>
            <a:r>
              <a:rPr sz="1023">
                <a:solidFill>
                  <a:srgbClr val="FFFFFF"/>
                </a:solidFill>
                <a:latin typeface="Arial"/>
                <a:cs typeface="Arial"/>
              </a:rPr>
              <a:t>and</a:t>
            </a:r>
            <a:r>
              <a:rPr sz="1023" spc="-7">
                <a:solidFill>
                  <a:srgbClr val="FFFFFF"/>
                </a:solidFill>
                <a:latin typeface="Arial"/>
                <a:cs typeface="Arial"/>
              </a:rPr>
              <a:t> </a:t>
            </a:r>
            <a:r>
              <a:rPr sz="1023">
                <a:solidFill>
                  <a:srgbClr val="FFFFFF"/>
                </a:solidFill>
                <a:latin typeface="Arial"/>
                <a:cs typeface="Arial"/>
              </a:rPr>
              <a:t>thought</a:t>
            </a:r>
            <a:r>
              <a:rPr sz="1023" spc="-20">
                <a:solidFill>
                  <a:srgbClr val="FFFFFF"/>
                </a:solidFill>
                <a:latin typeface="Arial"/>
                <a:cs typeface="Arial"/>
              </a:rPr>
              <a:t> </a:t>
            </a:r>
            <a:r>
              <a:rPr sz="1023" spc="-7">
                <a:solidFill>
                  <a:srgbClr val="FFFFFF"/>
                </a:solidFill>
                <a:latin typeface="Arial"/>
                <a:cs typeface="Arial"/>
              </a:rPr>
              <a:t>leaders</a:t>
            </a:r>
            <a:endParaRPr sz="1023">
              <a:latin typeface="Arial"/>
              <a:cs typeface="Arial"/>
            </a:endParaRPr>
          </a:p>
        </p:txBody>
      </p:sp>
      <p:sp>
        <p:nvSpPr>
          <p:cNvPr id="71" name="object 71"/>
          <p:cNvSpPr txBox="1"/>
          <p:nvPr/>
        </p:nvSpPr>
        <p:spPr>
          <a:xfrm>
            <a:off x="4950749" y="2466023"/>
            <a:ext cx="2663103" cy="702523"/>
          </a:xfrm>
          <a:prstGeom prst="rect">
            <a:avLst/>
          </a:prstGeom>
        </p:spPr>
        <p:txBody>
          <a:bodyPr vert="horz" wrap="square" lIns="0" tIns="8659" rIns="0" bIns="0" rtlCol="0">
            <a:spAutoFit/>
          </a:bodyPr>
          <a:lstStyle/>
          <a:p>
            <a:pPr marL="233789" marR="3464" indent="-233789">
              <a:spcBef>
                <a:spcPts val="68"/>
              </a:spcBef>
              <a:buFont typeface="Wingdings"/>
              <a:buChar char=""/>
              <a:tabLst>
                <a:tab pos="233789" algn="l"/>
              </a:tabLst>
            </a:pPr>
            <a:r>
              <a:rPr sz="1023">
                <a:solidFill>
                  <a:srgbClr val="FFFFFF"/>
                </a:solidFill>
                <a:latin typeface="Arial"/>
                <a:cs typeface="Arial"/>
              </a:rPr>
              <a:t>Previously</a:t>
            </a:r>
            <a:r>
              <a:rPr sz="1023" spc="-17">
                <a:solidFill>
                  <a:srgbClr val="FFFFFF"/>
                </a:solidFill>
                <a:latin typeface="Arial"/>
                <a:cs typeface="Arial"/>
              </a:rPr>
              <a:t> </a:t>
            </a:r>
            <a:r>
              <a:rPr sz="1023">
                <a:solidFill>
                  <a:srgbClr val="FFFFFF"/>
                </a:solidFill>
                <a:latin typeface="Arial"/>
                <a:cs typeface="Arial"/>
              </a:rPr>
              <a:t>served</a:t>
            </a:r>
            <a:r>
              <a:rPr sz="1023" spc="-10">
                <a:solidFill>
                  <a:srgbClr val="FFFFFF"/>
                </a:solidFill>
                <a:latin typeface="Arial"/>
                <a:cs typeface="Arial"/>
              </a:rPr>
              <a:t> </a:t>
            </a:r>
            <a:r>
              <a:rPr sz="1023">
                <a:solidFill>
                  <a:srgbClr val="FFFFFF"/>
                </a:solidFill>
                <a:latin typeface="Arial"/>
                <a:cs typeface="Arial"/>
              </a:rPr>
              <a:t>as</a:t>
            </a:r>
            <a:r>
              <a:rPr sz="1023" spc="-14">
                <a:solidFill>
                  <a:srgbClr val="FFFFFF"/>
                </a:solidFill>
                <a:latin typeface="Arial"/>
                <a:cs typeface="Arial"/>
              </a:rPr>
              <a:t> </a:t>
            </a:r>
            <a:r>
              <a:rPr sz="1023">
                <a:solidFill>
                  <a:srgbClr val="FFFFFF"/>
                </a:solidFill>
                <a:latin typeface="Arial"/>
                <a:cs typeface="Arial"/>
              </a:rPr>
              <a:t>government</a:t>
            </a:r>
            <a:r>
              <a:rPr sz="1023" spc="-20">
                <a:solidFill>
                  <a:srgbClr val="FFFFFF"/>
                </a:solidFill>
                <a:latin typeface="Arial"/>
                <a:cs typeface="Arial"/>
              </a:rPr>
              <a:t> </a:t>
            </a:r>
            <a:r>
              <a:rPr sz="1023" spc="-7">
                <a:solidFill>
                  <a:srgbClr val="FFFFFF"/>
                </a:solidFill>
                <a:latin typeface="Arial"/>
                <a:cs typeface="Arial"/>
              </a:rPr>
              <a:t>auditors </a:t>
            </a:r>
            <a:r>
              <a:rPr sz="1023">
                <a:solidFill>
                  <a:srgbClr val="FFFFFF"/>
                </a:solidFill>
                <a:latin typeface="Arial"/>
                <a:cs typeface="Arial"/>
              </a:rPr>
              <a:t>(e.g.,</a:t>
            </a:r>
            <a:r>
              <a:rPr sz="1023" spc="-37">
                <a:solidFill>
                  <a:srgbClr val="FFFFFF"/>
                </a:solidFill>
                <a:latin typeface="Arial"/>
                <a:cs typeface="Arial"/>
              </a:rPr>
              <a:t> </a:t>
            </a:r>
            <a:r>
              <a:rPr sz="1023">
                <a:solidFill>
                  <a:srgbClr val="FFFFFF"/>
                </a:solidFill>
                <a:latin typeface="Arial"/>
                <a:cs typeface="Arial"/>
              </a:rPr>
              <a:t>DCAA,</a:t>
            </a:r>
            <a:r>
              <a:rPr sz="1023" spc="-14">
                <a:solidFill>
                  <a:srgbClr val="FFFFFF"/>
                </a:solidFill>
                <a:latin typeface="Arial"/>
                <a:cs typeface="Arial"/>
              </a:rPr>
              <a:t> OIG)</a:t>
            </a:r>
            <a:endParaRPr sz="1023">
              <a:latin typeface="Arial"/>
              <a:cs typeface="Arial"/>
            </a:endParaRPr>
          </a:p>
          <a:p>
            <a:pPr marL="233789" marR="45892" indent="-233789">
              <a:spcBef>
                <a:spcPts val="542"/>
              </a:spcBef>
              <a:buFont typeface="Wingdings"/>
              <a:buChar char=""/>
              <a:tabLst>
                <a:tab pos="233789" algn="l"/>
              </a:tabLst>
            </a:pPr>
            <a:r>
              <a:rPr sz="1023">
                <a:solidFill>
                  <a:srgbClr val="FFFFFF"/>
                </a:solidFill>
                <a:latin typeface="Arial"/>
                <a:cs typeface="Arial"/>
              </a:rPr>
              <a:t>Provided</a:t>
            </a:r>
            <a:r>
              <a:rPr sz="1023" spc="-7">
                <a:solidFill>
                  <a:srgbClr val="FFFFFF"/>
                </a:solidFill>
                <a:latin typeface="Arial"/>
                <a:cs typeface="Arial"/>
              </a:rPr>
              <a:t> </a:t>
            </a:r>
            <a:r>
              <a:rPr sz="1023">
                <a:solidFill>
                  <a:srgbClr val="FFFFFF"/>
                </a:solidFill>
                <a:latin typeface="Arial"/>
                <a:cs typeface="Arial"/>
              </a:rPr>
              <a:t>decades</a:t>
            </a:r>
            <a:r>
              <a:rPr sz="1023" spc="-17">
                <a:solidFill>
                  <a:srgbClr val="FFFFFF"/>
                </a:solidFill>
                <a:latin typeface="Arial"/>
                <a:cs typeface="Arial"/>
              </a:rPr>
              <a:t> </a:t>
            </a:r>
            <a:r>
              <a:rPr sz="1023">
                <a:solidFill>
                  <a:srgbClr val="FFFFFF"/>
                </a:solidFill>
                <a:latin typeface="Arial"/>
                <a:cs typeface="Arial"/>
              </a:rPr>
              <a:t>of</a:t>
            </a:r>
            <a:r>
              <a:rPr sz="1023" spc="-17">
                <a:solidFill>
                  <a:srgbClr val="FFFFFF"/>
                </a:solidFill>
                <a:latin typeface="Arial"/>
                <a:cs typeface="Arial"/>
              </a:rPr>
              <a:t> </a:t>
            </a:r>
            <a:r>
              <a:rPr sz="1023">
                <a:solidFill>
                  <a:srgbClr val="FFFFFF"/>
                </a:solidFill>
                <a:latin typeface="Arial"/>
                <a:cs typeface="Arial"/>
              </a:rPr>
              <a:t>support</a:t>
            </a:r>
            <a:r>
              <a:rPr sz="1023" spc="-20">
                <a:solidFill>
                  <a:srgbClr val="FFFFFF"/>
                </a:solidFill>
                <a:latin typeface="Arial"/>
                <a:cs typeface="Arial"/>
              </a:rPr>
              <a:t> </a:t>
            </a:r>
            <a:r>
              <a:rPr sz="1023">
                <a:solidFill>
                  <a:srgbClr val="FFFFFF"/>
                </a:solidFill>
                <a:latin typeface="Arial"/>
                <a:cs typeface="Arial"/>
              </a:rPr>
              <a:t>to</a:t>
            </a:r>
            <a:r>
              <a:rPr sz="1023" spc="-7">
                <a:solidFill>
                  <a:srgbClr val="FFFFFF"/>
                </a:solidFill>
                <a:latin typeface="Arial"/>
                <a:cs typeface="Arial"/>
              </a:rPr>
              <a:t> hundreds </a:t>
            </a:r>
            <a:r>
              <a:rPr sz="1023">
                <a:solidFill>
                  <a:srgbClr val="FFFFFF"/>
                </a:solidFill>
                <a:latin typeface="Arial"/>
                <a:cs typeface="Arial"/>
              </a:rPr>
              <a:t>of</a:t>
            </a:r>
            <a:r>
              <a:rPr sz="1023" spc="-17">
                <a:solidFill>
                  <a:srgbClr val="FFFFFF"/>
                </a:solidFill>
                <a:latin typeface="Arial"/>
                <a:cs typeface="Arial"/>
              </a:rPr>
              <a:t> </a:t>
            </a:r>
            <a:r>
              <a:rPr sz="1023">
                <a:solidFill>
                  <a:srgbClr val="FFFFFF"/>
                </a:solidFill>
                <a:latin typeface="Arial"/>
                <a:cs typeface="Arial"/>
              </a:rPr>
              <a:t>government</a:t>
            </a:r>
            <a:r>
              <a:rPr sz="1023" spc="-20">
                <a:solidFill>
                  <a:srgbClr val="FFFFFF"/>
                </a:solidFill>
                <a:latin typeface="Arial"/>
                <a:cs typeface="Arial"/>
              </a:rPr>
              <a:t> </a:t>
            </a:r>
            <a:r>
              <a:rPr sz="1023" spc="-7">
                <a:solidFill>
                  <a:srgbClr val="FFFFFF"/>
                </a:solidFill>
                <a:latin typeface="Arial"/>
                <a:cs typeface="Arial"/>
              </a:rPr>
              <a:t>contractors</a:t>
            </a:r>
            <a:endParaRPr sz="1023">
              <a:latin typeface="Arial"/>
              <a:cs typeface="Arial"/>
            </a:endParaRPr>
          </a:p>
        </p:txBody>
      </p:sp>
      <p:grpSp>
        <p:nvGrpSpPr>
          <p:cNvPr id="72" name="object 72"/>
          <p:cNvGrpSpPr/>
          <p:nvPr/>
        </p:nvGrpSpPr>
        <p:grpSpPr>
          <a:xfrm>
            <a:off x="1410394" y="3808452"/>
            <a:ext cx="4036002" cy="1318347"/>
            <a:chOff x="900177" y="5585730"/>
            <a:chExt cx="5919470" cy="1933575"/>
          </a:xfrm>
        </p:grpSpPr>
        <p:pic>
          <p:nvPicPr>
            <p:cNvPr id="73" name="object 73"/>
            <p:cNvPicPr/>
            <p:nvPr/>
          </p:nvPicPr>
          <p:blipFill>
            <a:blip r:embed="rId14" cstate="print"/>
            <a:stretch>
              <a:fillRect/>
            </a:stretch>
          </p:blipFill>
          <p:spPr>
            <a:xfrm>
              <a:off x="946583" y="5804588"/>
              <a:ext cx="106620" cy="317455"/>
            </a:xfrm>
            <a:prstGeom prst="rect">
              <a:avLst/>
            </a:prstGeom>
          </p:spPr>
        </p:pic>
        <p:sp>
          <p:nvSpPr>
            <p:cNvPr id="74" name="object 74"/>
            <p:cNvSpPr/>
            <p:nvPr/>
          </p:nvSpPr>
          <p:spPr>
            <a:xfrm>
              <a:off x="934862" y="5794578"/>
              <a:ext cx="462915" cy="0"/>
            </a:xfrm>
            <a:custGeom>
              <a:avLst/>
              <a:gdLst/>
              <a:ahLst/>
              <a:cxnLst/>
              <a:rect l="l" t="t" r="r" b="b"/>
              <a:pathLst>
                <a:path w="462915">
                  <a:moveTo>
                    <a:pt x="462351" y="0"/>
                  </a:moveTo>
                  <a:lnTo>
                    <a:pt x="462351" y="0"/>
                  </a:lnTo>
                  <a:lnTo>
                    <a:pt x="0" y="0"/>
                  </a:lnTo>
                </a:path>
              </a:pathLst>
            </a:custGeom>
            <a:ln w="12406">
              <a:solidFill>
                <a:srgbClr val="44AAE2"/>
              </a:solidFill>
            </a:ln>
          </p:spPr>
          <p:txBody>
            <a:bodyPr wrap="square" lIns="0" tIns="0" rIns="0" bIns="0" rtlCol="0"/>
            <a:lstStyle/>
            <a:p>
              <a:endParaRPr sz="1454"/>
            </a:p>
          </p:txBody>
        </p:sp>
        <p:sp>
          <p:nvSpPr>
            <p:cNvPr id="75" name="object 75"/>
            <p:cNvSpPr/>
            <p:nvPr/>
          </p:nvSpPr>
          <p:spPr>
            <a:xfrm>
              <a:off x="906380" y="5610595"/>
              <a:ext cx="537845" cy="575310"/>
            </a:xfrm>
            <a:custGeom>
              <a:avLst/>
              <a:gdLst/>
              <a:ahLst/>
              <a:cxnLst/>
              <a:rect l="l" t="t" r="r" b="b"/>
              <a:pathLst>
                <a:path w="537844" h="575310">
                  <a:moveTo>
                    <a:pt x="30381" y="166821"/>
                  </a:moveTo>
                  <a:lnTo>
                    <a:pt x="261087" y="0"/>
                  </a:lnTo>
                  <a:lnTo>
                    <a:pt x="491780" y="166821"/>
                  </a:lnTo>
                  <a:lnTo>
                    <a:pt x="30381" y="166821"/>
                  </a:lnTo>
                  <a:close/>
                </a:path>
                <a:path w="537844" h="575310">
                  <a:moveTo>
                    <a:pt x="93989" y="151565"/>
                  </a:moveTo>
                  <a:lnTo>
                    <a:pt x="261087" y="37180"/>
                  </a:lnTo>
                  <a:lnTo>
                    <a:pt x="427220" y="151565"/>
                  </a:lnTo>
                </a:path>
                <a:path w="537844" h="575310">
                  <a:moveTo>
                    <a:pt x="512669" y="539565"/>
                  </a:moveTo>
                  <a:lnTo>
                    <a:pt x="24684" y="539565"/>
                  </a:lnTo>
                  <a:lnTo>
                    <a:pt x="24684" y="505247"/>
                  </a:lnTo>
                  <a:lnTo>
                    <a:pt x="512669" y="505247"/>
                  </a:lnTo>
                  <a:lnTo>
                    <a:pt x="512669" y="539565"/>
                  </a:lnTo>
                  <a:close/>
                </a:path>
                <a:path w="537844" h="575310">
                  <a:moveTo>
                    <a:pt x="537361" y="574838"/>
                  </a:moveTo>
                  <a:lnTo>
                    <a:pt x="0" y="574838"/>
                  </a:lnTo>
                  <a:lnTo>
                    <a:pt x="0" y="539565"/>
                  </a:lnTo>
                  <a:lnTo>
                    <a:pt x="537361" y="539565"/>
                  </a:lnTo>
                  <a:lnTo>
                    <a:pt x="537361" y="574838"/>
                  </a:lnTo>
                  <a:close/>
                </a:path>
              </a:pathLst>
            </a:custGeom>
            <a:ln w="12374">
              <a:solidFill>
                <a:srgbClr val="44AAE2"/>
              </a:solidFill>
            </a:ln>
          </p:spPr>
          <p:txBody>
            <a:bodyPr wrap="square" lIns="0" tIns="0" rIns="0" bIns="0" rtlCol="0"/>
            <a:lstStyle/>
            <a:p>
              <a:endParaRPr sz="1454"/>
            </a:p>
          </p:txBody>
        </p:sp>
        <p:pic>
          <p:nvPicPr>
            <p:cNvPr id="76" name="object 76"/>
            <p:cNvPicPr/>
            <p:nvPr/>
          </p:nvPicPr>
          <p:blipFill>
            <a:blip r:embed="rId15" cstate="print"/>
            <a:stretch>
              <a:fillRect/>
            </a:stretch>
          </p:blipFill>
          <p:spPr>
            <a:xfrm>
              <a:off x="1063596" y="5804588"/>
              <a:ext cx="337086" cy="317455"/>
            </a:xfrm>
            <a:prstGeom prst="rect">
              <a:avLst/>
            </a:prstGeom>
          </p:spPr>
        </p:pic>
        <p:sp>
          <p:nvSpPr>
            <p:cNvPr id="77" name="object 77"/>
            <p:cNvSpPr/>
            <p:nvPr/>
          </p:nvSpPr>
          <p:spPr>
            <a:xfrm>
              <a:off x="1917729" y="5653322"/>
              <a:ext cx="667385" cy="523240"/>
            </a:xfrm>
            <a:custGeom>
              <a:avLst/>
              <a:gdLst/>
              <a:ahLst/>
              <a:cxnLst/>
              <a:rect l="l" t="t" r="r" b="b"/>
              <a:pathLst>
                <a:path w="667385" h="523239">
                  <a:moveTo>
                    <a:pt x="331339" y="135270"/>
                  </a:moveTo>
                  <a:lnTo>
                    <a:pt x="320401" y="114134"/>
                  </a:lnTo>
                  <a:lnTo>
                    <a:pt x="285723" y="67635"/>
                  </a:lnTo>
                  <a:lnTo>
                    <a:pt x="224506" y="21135"/>
                  </a:lnTo>
                  <a:lnTo>
                    <a:pt x="133954" y="0"/>
                  </a:lnTo>
                  <a:lnTo>
                    <a:pt x="91518" y="6195"/>
                  </a:lnTo>
                  <a:lnTo>
                    <a:pt x="31990" y="49603"/>
                  </a:lnTo>
                  <a:lnTo>
                    <a:pt x="3562" y="120679"/>
                  </a:lnTo>
                  <a:lnTo>
                    <a:pt x="0" y="161459"/>
                  </a:lnTo>
                  <a:lnTo>
                    <a:pt x="2999" y="202997"/>
                  </a:lnTo>
                  <a:lnTo>
                    <a:pt x="12156" y="243239"/>
                  </a:lnTo>
                  <a:lnTo>
                    <a:pt x="27067" y="280132"/>
                  </a:lnTo>
                  <a:lnTo>
                    <a:pt x="97358" y="361772"/>
                  </a:lnTo>
                  <a:lnTo>
                    <a:pt x="199424" y="440354"/>
                  </a:lnTo>
                  <a:lnTo>
                    <a:pt x="291379" y="499506"/>
                  </a:lnTo>
                  <a:lnTo>
                    <a:pt x="331339" y="522861"/>
                  </a:lnTo>
                  <a:lnTo>
                    <a:pt x="373014" y="496374"/>
                  </a:lnTo>
                  <a:lnTo>
                    <a:pt x="468309" y="431842"/>
                  </a:lnTo>
                  <a:lnTo>
                    <a:pt x="572634" y="351658"/>
                  </a:lnTo>
                  <a:lnTo>
                    <a:pt x="641395" y="278216"/>
                  </a:lnTo>
                  <a:lnTo>
                    <a:pt x="656829" y="242148"/>
                  </a:lnTo>
                  <a:lnTo>
                    <a:pt x="665765" y="199580"/>
                  </a:lnTo>
                  <a:lnTo>
                    <a:pt x="667389" y="153998"/>
                  </a:lnTo>
                  <a:lnTo>
                    <a:pt x="660888" y="108888"/>
                  </a:lnTo>
                  <a:lnTo>
                    <a:pt x="645451" y="67735"/>
                  </a:lnTo>
                  <a:lnTo>
                    <a:pt x="620265" y="34024"/>
                  </a:lnTo>
                  <a:lnTo>
                    <a:pt x="584516" y="11242"/>
                  </a:lnTo>
                  <a:lnTo>
                    <a:pt x="537393" y="2874"/>
                  </a:lnTo>
                  <a:lnTo>
                    <a:pt x="445486" y="23560"/>
                  </a:lnTo>
                  <a:lnTo>
                    <a:pt x="381290" y="69072"/>
                  </a:lnTo>
                  <a:lnTo>
                    <a:pt x="343631" y="114583"/>
                  </a:lnTo>
                  <a:lnTo>
                    <a:pt x="331339" y="135270"/>
                  </a:lnTo>
                  <a:close/>
                </a:path>
                <a:path w="667385" h="523239">
                  <a:moveTo>
                    <a:pt x="18401" y="261905"/>
                  </a:moveTo>
                  <a:lnTo>
                    <a:pt x="137801" y="261905"/>
                  </a:lnTo>
                  <a:lnTo>
                    <a:pt x="164757" y="188994"/>
                  </a:lnTo>
                  <a:lnTo>
                    <a:pt x="201356" y="348253"/>
                  </a:lnTo>
                  <a:lnTo>
                    <a:pt x="230236" y="126635"/>
                  </a:lnTo>
                  <a:lnTo>
                    <a:pt x="265860" y="296444"/>
                  </a:lnTo>
                  <a:lnTo>
                    <a:pt x="279338" y="258073"/>
                  </a:lnTo>
                  <a:lnTo>
                    <a:pt x="405487" y="258073"/>
                  </a:lnTo>
                  <a:lnTo>
                    <a:pt x="425697" y="188994"/>
                  </a:lnTo>
                  <a:lnTo>
                    <a:pt x="457475" y="348253"/>
                  </a:lnTo>
                  <a:lnTo>
                    <a:pt x="492138" y="126635"/>
                  </a:lnTo>
                  <a:lnTo>
                    <a:pt x="519106" y="297402"/>
                  </a:lnTo>
                  <a:lnTo>
                    <a:pt x="539329" y="258073"/>
                  </a:lnTo>
                  <a:lnTo>
                    <a:pt x="650051" y="258073"/>
                  </a:lnTo>
                </a:path>
              </a:pathLst>
            </a:custGeom>
            <a:ln w="12496">
              <a:solidFill>
                <a:srgbClr val="44AAE2"/>
              </a:solidFill>
            </a:ln>
          </p:spPr>
          <p:txBody>
            <a:bodyPr wrap="square" lIns="0" tIns="0" rIns="0" bIns="0" rtlCol="0"/>
            <a:lstStyle/>
            <a:p>
              <a:endParaRPr sz="1454"/>
            </a:p>
          </p:txBody>
        </p:sp>
        <p:sp>
          <p:nvSpPr>
            <p:cNvPr id="78" name="object 78"/>
            <p:cNvSpPr/>
            <p:nvPr/>
          </p:nvSpPr>
          <p:spPr>
            <a:xfrm>
              <a:off x="3274953" y="5650205"/>
              <a:ext cx="339090" cy="535940"/>
            </a:xfrm>
            <a:custGeom>
              <a:avLst/>
              <a:gdLst/>
              <a:ahLst/>
              <a:cxnLst/>
              <a:rect l="l" t="t" r="r" b="b"/>
              <a:pathLst>
                <a:path w="339089" h="535939">
                  <a:moveTo>
                    <a:pt x="35736" y="24750"/>
                  </a:moveTo>
                  <a:lnTo>
                    <a:pt x="42498" y="24750"/>
                  </a:lnTo>
                  <a:lnTo>
                    <a:pt x="45337" y="29109"/>
                  </a:lnTo>
                  <a:lnTo>
                    <a:pt x="47812" y="41053"/>
                  </a:lnTo>
                  <a:lnTo>
                    <a:pt x="49560" y="58888"/>
                  </a:lnTo>
                  <a:lnTo>
                    <a:pt x="50223" y="80918"/>
                  </a:lnTo>
                  <a:lnTo>
                    <a:pt x="50223" y="164676"/>
                  </a:lnTo>
                  <a:lnTo>
                    <a:pt x="42862" y="213349"/>
                  </a:lnTo>
                  <a:lnTo>
                    <a:pt x="26082" y="251310"/>
                  </a:lnTo>
                  <a:lnTo>
                    <a:pt x="2987" y="278478"/>
                  </a:lnTo>
                  <a:lnTo>
                    <a:pt x="964" y="280814"/>
                  </a:lnTo>
                </a:path>
                <a:path w="339089" h="535939">
                  <a:moveTo>
                    <a:pt x="24141" y="12369"/>
                  </a:moveTo>
                  <a:lnTo>
                    <a:pt x="24141" y="19035"/>
                  </a:lnTo>
                  <a:lnTo>
                    <a:pt x="28974" y="24750"/>
                  </a:lnTo>
                  <a:lnTo>
                    <a:pt x="35736" y="24750"/>
                  </a:lnTo>
                </a:path>
                <a:path w="339089" h="535939">
                  <a:moveTo>
                    <a:pt x="24141" y="11418"/>
                  </a:moveTo>
                  <a:lnTo>
                    <a:pt x="24141" y="11418"/>
                  </a:lnTo>
                  <a:lnTo>
                    <a:pt x="24141" y="12369"/>
                  </a:lnTo>
                </a:path>
                <a:path w="339089" h="535939">
                  <a:moveTo>
                    <a:pt x="35736" y="0"/>
                  </a:moveTo>
                  <a:lnTo>
                    <a:pt x="28974" y="0"/>
                  </a:lnTo>
                  <a:lnTo>
                    <a:pt x="24141" y="4765"/>
                  </a:lnTo>
                  <a:lnTo>
                    <a:pt x="24141" y="11418"/>
                  </a:lnTo>
                </a:path>
                <a:path w="339089" h="535939">
                  <a:moveTo>
                    <a:pt x="154553" y="0"/>
                  </a:moveTo>
                  <a:lnTo>
                    <a:pt x="154553" y="0"/>
                  </a:lnTo>
                  <a:lnTo>
                    <a:pt x="35736" y="0"/>
                  </a:lnTo>
                </a:path>
                <a:path w="339089" h="535939">
                  <a:moveTo>
                    <a:pt x="167113" y="11418"/>
                  </a:moveTo>
                  <a:lnTo>
                    <a:pt x="167113" y="4765"/>
                  </a:lnTo>
                  <a:lnTo>
                    <a:pt x="161315" y="0"/>
                  </a:lnTo>
                  <a:lnTo>
                    <a:pt x="154553" y="0"/>
                  </a:lnTo>
                </a:path>
                <a:path w="339089" h="535939">
                  <a:moveTo>
                    <a:pt x="167113" y="12369"/>
                  </a:moveTo>
                  <a:lnTo>
                    <a:pt x="167113" y="12369"/>
                  </a:lnTo>
                  <a:lnTo>
                    <a:pt x="167113" y="11418"/>
                  </a:lnTo>
                </a:path>
                <a:path w="339089" h="535939">
                  <a:moveTo>
                    <a:pt x="154553" y="24750"/>
                  </a:moveTo>
                  <a:lnTo>
                    <a:pt x="161315" y="24750"/>
                  </a:lnTo>
                  <a:lnTo>
                    <a:pt x="167113" y="19035"/>
                  </a:lnTo>
                  <a:lnTo>
                    <a:pt x="167113" y="12369"/>
                  </a:lnTo>
                </a:path>
                <a:path w="339089" h="535939">
                  <a:moveTo>
                    <a:pt x="154553" y="24750"/>
                  </a:moveTo>
                  <a:lnTo>
                    <a:pt x="147792" y="24750"/>
                  </a:lnTo>
                  <a:lnTo>
                    <a:pt x="145103" y="29109"/>
                  </a:lnTo>
                  <a:lnTo>
                    <a:pt x="142960" y="41053"/>
                  </a:lnTo>
                  <a:lnTo>
                    <a:pt x="141542" y="58888"/>
                  </a:lnTo>
                  <a:lnTo>
                    <a:pt x="141030" y="80918"/>
                  </a:lnTo>
                  <a:lnTo>
                    <a:pt x="141030" y="164676"/>
                  </a:lnTo>
                  <a:lnTo>
                    <a:pt x="150568" y="218222"/>
                  </a:lnTo>
                  <a:lnTo>
                    <a:pt x="173874" y="267482"/>
                  </a:lnTo>
                  <a:lnTo>
                    <a:pt x="330356" y="488331"/>
                  </a:lnTo>
                  <a:lnTo>
                    <a:pt x="338804" y="505911"/>
                  </a:lnTo>
                  <a:lnTo>
                    <a:pt x="337113" y="520458"/>
                  </a:lnTo>
                  <a:lnTo>
                    <a:pt x="326005" y="530363"/>
                  </a:lnTo>
                  <a:lnTo>
                    <a:pt x="306202" y="534022"/>
                  </a:lnTo>
                  <a:lnTo>
                    <a:pt x="0" y="535927"/>
                  </a:lnTo>
                </a:path>
              </a:pathLst>
            </a:custGeom>
            <a:ln w="12468">
              <a:solidFill>
                <a:srgbClr val="44AAE2"/>
              </a:solidFill>
            </a:ln>
          </p:spPr>
          <p:txBody>
            <a:bodyPr wrap="square" lIns="0" tIns="0" rIns="0" bIns="0" rtlCol="0"/>
            <a:lstStyle/>
            <a:p>
              <a:endParaRPr sz="1454"/>
            </a:p>
          </p:txBody>
        </p:sp>
        <p:pic>
          <p:nvPicPr>
            <p:cNvPr id="79" name="object 79"/>
            <p:cNvPicPr/>
            <p:nvPr/>
          </p:nvPicPr>
          <p:blipFill>
            <a:blip r:embed="rId16" cstate="print"/>
            <a:stretch>
              <a:fillRect/>
            </a:stretch>
          </p:blipFill>
          <p:spPr>
            <a:xfrm>
              <a:off x="3107092" y="6036132"/>
              <a:ext cx="87184" cy="156260"/>
            </a:xfrm>
            <a:prstGeom prst="rect">
              <a:avLst/>
            </a:prstGeom>
          </p:spPr>
        </p:pic>
        <p:sp>
          <p:nvSpPr>
            <p:cNvPr id="80" name="object 80"/>
            <p:cNvSpPr/>
            <p:nvPr/>
          </p:nvSpPr>
          <p:spPr>
            <a:xfrm>
              <a:off x="3275917" y="6007651"/>
              <a:ext cx="244475" cy="124460"/>
            </a:xfrm>
            <a:custGeom>
              <a:avLst/>
              <a:gdLst/>
              <a:ahLst/>
              <a:cxnLst/>
              <a:rect l="l" t="t" r="r" b="b"/>
              <a:pathLst>
                <a:path w="244475" h="124460">
                  <a:moveTo>
                    <a:pt x="0" y="3323"/>
                  </a:moveTo>
                  <a:lnTo>
                    <a:pt x="5797" y="5237"/>
                  </a:lnTo>
                  <a:lnTo>
                    <a:pt x="10630" y="7138"/>
                  </a:lnTo>
                  <a:lnTo>
                    <a:pt x="15451" y="9989"/>
                  </a:lnTo>
                  <a:lnTo>
                    <a:pt x="33350" y="18023"/>
                  </a:lnTo>
                  <a:lnTo>
                    <a:pt x="53606" y="20701"/>
                  </a:lnTo>
                  <a:lnTo>
                    <a:pt x="73864" y="18023"/>
                  </a:lnTo>
                  <a:lnTo>
                    <a:pt x="91770" y="9989"/>
                  </a:lnTo>
                  <a:lnTo>
                    <a:pt x="109263" y="2497"/>
                  </a:lnTo>
                  <a:lnTo>
                    <a:pt x="129562" y="0"/>
                  </a:lnTo>
                  <a:lnTo>
                    <a:pt x="150042" y="2497"/>
                  </a:lnTo>
                  <a:lnTo>
                    <a:pt x="168077" y="9989"/>
                  </a:lnTo>
                  <a:lnTo>
                    <a:pt x="185569" y="18023"/>
                  </a:lnTo>
                  <a:lnTo>
                    <a:pt x="205868" y="20701"/>
                  </a:lnTo>
                  <a:lnTo>
                    <a:pt x="226348" y="18023"/>
                  </a:lnTo>
                  <a:lnTo>
                    <a:pt x="244383" y="9989"/>
                  </a:lnTo>
                </a:path>
                <a:path w="244475" h="124460">
                  <a:moveTo>
                    <a:pt x="233752" y="90908"/>
                  </a:moveTo>
                  <a:lnTo>
                    <a:pt x="233752" y="97562"/>
                  </a:lnTo>
                  <a:lnTo>
                    <a:pt x="227967" y="103277"/>
                  </a:lnTo>
                  <a:lnTo>
                    <a:pt x="221206" y="103277"/>
                  </a:lnTo>
                  <a:lnTo>
                    <a:pt x="213467" y="103277"/>
                  </a:lnTo>
                  <a:lnTo>
                    <a:pt x="207682" y="97562"/>
                  </a:lnTo>
                  <a:lnTo>
                    <a:pt x="207682" y="90908"/>
                  </a:lnTo>
                  <a:lnTo>
                    <a:pt x="207682" y="83291"/>
                  </a:lnTo>
                  <a:lnTo>
                    <a:pt x="213467" y="77576"/>
                  </a:lnTo>
                  <a:lnTo>
                    <a:pt x="221206" y="77576"/>
                  </a:lnTo>
                  <a:lnTo>
                    <a:pt x="227967" y="77576"/>
                  </a:lnTo>
                  <a:lnTo>
                    <a:pt x="233752" y="83291"/>
                  </a:lnTo>
                  <a:lnTo>
                    <a:pt x="233752" y="90908"/>
                  </a:lnTo>
                  <a:close/>
                </a:path>
                <a:path w="244475" h="124460">
                  <a:moveTo>
                    <a:pt x="193195" y="107087"/>
                  </a:moveTo>
                  <a:lnTo>
                    <a:pt x="193195" y="116606"/>
                  </a:lnTo>
                  <a:lnTo>
                    <a:pt x="185456" y="124221"/>
                  </a:lnTo>
                  <a:lnTo>
                    <a:pt x="176767" y="124221"/>
                  </a:lnTo>
                  <a:lnTo>
                    <a:pt x="167113" y="124221"/>
                  </a:lnTo>
                  <a:lnTo>
                    <a:pt x="159387" y="116606"/>
                  </a:lnTo>
                  <a:lnTo>
                    <a:pt x="159387" y="107087"/>
                  </a:lnTo>
                  <a:lnTo>
                    <a:pt x="159387" y="98525"/>
                  </a:lnTo>
                  <a:lnTo>
                    <a:pt x="167113" y="90908"/>
                  </a:lnTo>
                  <a:lnTo>
                    <a:pt x="176767" y="90908"/>
                  </a:lnTo>
                  <a:lnTo>
                    <a:pt x="185456" y="90908"/>
                  </a:lnTo>
                  <a:lnTo>
                    <a:pt x="193195" y="98525"/>
                  </a:lnTo>
                  <a:lnTo>
                    <a:pt x="193195" y="107087"/>
                  </a:lnTo>
                  <a:close/>
                </a:path>
              </a:pathLst>
            </a:custGeom>
            <a:ln w="12468">
              <a:solidFill>
                <a:srgbClr val="44AAE2"/>
              </a:solidFill>
            </a:ln>
          </p:spPr>
          <p:txBody>
            <a:bodyPr wrap="square" lIns="0" tIns="0" rIns="0" bIns="0" rtlCol="0"/>
            <a:lstStyle/>
            <a:p>
              <a:endParaRPr sz="1454"/>
            </a:p>
          </p:txBody>
        </p:sp>
        <p:sp>
          <p:nvSpPr>
            <p:cNvPr id="81" name="object 81"/>
            <p:cNvSpPr/>
            <p:nvPr/>
          </p:nvSpPr>
          <p:spPr>
            <a:xfrm>
              <a:off x="3160005" y="5593087"/>
              <a:ext cx="142240" cy="632460"/>
            </a:xfrm>
            <a:custGeom>
              <a:avLst/>
              <a:gdLst/>
              <a:ahLst/>
              <a:cxnLst/>
              <a:rect l="l" t="t" r="r" b="b"/>
              <a:pathLst>
                <a:path w="142239" h="632460">
                  <a:moveTo>
                    <a:pt x="26079" y="19998"/>
                  </a:moveTo>
                  <a:lnTo>
                    <a:pt x="11591" y="19998"/>
                  </a:lnTo>
                  <a:lnTo>
                    <a:pt x="4829" y="19998"/>
                  </a:lnTo>
                  <a:lnTo>
                    <a:pt x="0" y="15233"/>
                  </a:lnTo>
                  <a:lnTo>
                    <a:pt x="0" y="8566"/>
                  </a:lnTo>
                  <a:lnTo>
                    <a:pt x="0" y="7616"/>
                  </a:lnTo>
                  <a:lnTo>
                    <a:pt x="0" y="950"/>
                  </a:lnTo>
                  <a:lnTo>
                    <a:pt x="1207" y="0"/>
                  </a:lnTo>
                </a:path>
                <a:path w="142239" h="632460">
                  <a:moveTo>
                    <a:pt x="140786" y="0"/>
                  </a:moveTo>
                  <a:lnTo>
                    <a:pt x="141994" y="950"/>
                  </a:lnTo>
                  <a:lnTo>
                    <a:pt x="141994" y="7616"/>
                  </a:lnTo>
                  <a:lnTo>
                    <a:pt x="141994" y="8566"/>
                  </a:lnTo>
                  <a:lnTo>
                    <a:pt x="141994" y="15233"/>
                  </a:lnTo>
                  <a:lnTo>
                    <a:pt x="137161" y="19998"/>
                  </a:lnTo>
                  <a:lnTo>
                    <a:pt x="130399" y="19998"/>
                  </a:lnTo>
                  <a:lnTo>
                    <a:pt x="115912" y="19998"/>
                  </a:lnTo>
                  <a:lnTo>
                    <a:pt x="115912" y="574006"/>
                  </a:lnTo>
                  <a:lnTo>
                    <a:pt x="113451" y="596733"/>
                  </a:lnTo>
                  <a:lnTo>
                    <a:pt x="105648" y="615176"/>
                  </a:lnTo>
                  <a:lnTo>
                    <a:pt x="91868" y="627551"/>
                  </a:lnTo>
                  <a:lnTo>
                    <a:pt x="71479" y="632072"/>
                  </a:lnTo>
                  <a:lnTo>
                    <a:pt x="52160" y="627551"/>
                  </a:lnTo>
                  <a:lnTo>
                    <a:pt x="37912" y="615176"/>
                  </a:lnTo>
                  <a:lnTo>
                    <a:pt x="29098" y="596733"/>
                  </a:lnTo>
                  <a:lnTo>
                    <a:pt x="26079" y="574006"/>
                  </a:lnTo>
                  <a:lnTo>
                    <a:pt x="26079" y="19998"/>
                  </a:lnTo>
                </a:path>
              </a:pathLst>
            </a:custGeom>
            <a:ln w="12468">
              <a:solidFill>
                <a:srgbClr val="44AAE2"/>
              </a:solidFill>
            </a:ln>
          </p:spPr>
          <p:txBody>
            <a:bodyPr wrap="square" lIns="0" tIns="0" rIns="0" bIns="0" rtlCol="0"/>
            <a:lstStyle/>
            <a:p>
              <a:endParaRPr sz="1454"/>
            </a:p>
          </p:txBody>
        </p:sp>
        <p:sp>
          <p:nvSpPr>
            <p:cNvPr id="82" name="object 82"/>
            <p:cNvSpPr/>
            <p:nvPr/>
          </p:nvSpPr>
          <p:spPr>
            <a:xfrm>
              <a:off x="3186085" y="5699707"/>
              <a:ext cx="230504" cy="424180"/>
            </a:xfrm>
            <a:custGeom>
              <a:avLst/>
              <a:gdLst/>
              <a:ahLst/>
              <a:cxnLst/>
              <a:rect l="l" t="t" r="r" b="b"/>
              <a:pathLst>
                <a:path w="230504" h="424179">
                  <a:moveTo>
                    <a:pt x="89832" y="189427"/>
                  </a:moveTo>
                  <a:lnTo>
                    <a:pt x="84034" y="193242"/>
                  </a:lnTo>
                  <a:lnTo>
                    <a:pt x="73416" y="193242"/>
                  </a:lnTo>
                  <a:lnTo>
                    <a:pt x="67619" y="189427"/>
                  </a:lnTo>
                  <a:lnTo>
                    <a:pt x="61821" y="185625"/>
                  </a:lnTo>
                  <a:lnTo>
                    <a:pt x="51190" y="185625"/>
                  </a:lnTo>
                  <a:lnTo>
                    <a:pt x="45399" y="189427"/>
                  </a:lnTo>
                  <a:lnTo>
                    <a:pt x="38637" y="193242"/>
                  </a:lnTo>
                  <a:lnTo>
                    <a:pt x="28978" y="193242"/>
                  </a:lnTo>
                  <a:lnTo>
                    <a:pt x="22217" y="189427"/>
                  </a:lnTo>
                  <a:lnTo>
                    <a:pt x="16420" y="185625"/>
                  </a:lnTo>
                  <a:lnTo>
                    <a:pt x="5796" y="185625"/>
                  </a:lnTo>
                  <a:lnTo>
                    <a:pt x="0" y="189427"/>
                  </a:lnTo>
                </a:path>
                <a:path w="230504" h="424179">
                  <a:moveTo>
                    <a:pt x="68583" y="315082"/>
                  </a:moveTo>
                  <a:lnTo>
                    <a:pt x="68583" y="322699"/>
                  </a:lnTo>
                  <a:lnTo>
                    <a:pt x="62785" y="328402"/>
                  </a:lnTo>
                  <a:lnTo>
                    <a:pt x="55059" y="328402"/>
                  </a:lnTo>
                  <a:lnTo>
                    <a:pt x="47331" y="328402"/>
                  </a:lnTo>
                  <a:lnTo>
                    <a:pt x="41535" y="322699"/>
                  </a:lnTo>
                  <a:lnTo>
                    <a:pt x="41535" y="315082"/>
                  </a:lnTo>
                  <a:lnTo>
                    <a:pt x="41535" y="308416"/>
                  </a:lnTo>
                  <a:lnTo>
                    <a:pt x="47331" y="302701"/>
                  </a:lnTo>
                  <a:lnTo>
                    <a:pt x="55059" y="302701"/>
                  </a:lnTo>
                  <a:lnTo>
                    <a:pt x="62785" y="302701"/>
                  </a:lnTo>
                  <a:lnTo>
                    <a:pt x="68583" y="308416"/>
                  </a:lnTo>
                  <a:lnTo>
                    <a:pt x="68583" y="315082"/>
                  </a:lnTo>
                  <a:close/>
                </a:path>
                <a:path w="230504" h="424179">
                  <a:moveTo>
                    <a:pt x="56024" y="406469"/>
                  </a:moveTo>
                  <a:lnTo>
                    <a:pt x="56024" y="415983"/>
                  </a:lnTo>
                  <a:lnTo>
                    <a:pt x="48296" y="423598"/>
                  </a:lnTo>
                  <a:lnTo>
                    <a:pt x="38637" y="423598"/>
                  </a:lnTo>
                  <a:lnTo>
                    <a:pt x="28978" y="423598"/>
                  </a:lnTo>
                  <a:lnTo>
                    <a:pt x="21250" y="415983"/>
                  </a:lnTo>
                  <a:lnTo>
                    <a:pt x="21250" y="406469"/>
                  </a:lnTo>
                  <a:lnTo>
                    <a:pt x="21250" y="396939"/>
                  </a:lnTo>
                  <a:lnTo>
                    <a:pt x="28978" y="389335"/>
                  </a:lnTo>
                  <a:lnTo>
                    <a:pt x="38637" y="389335"/>
                  </a:lnTo>
                  <a:lnTo>
                    <a:pt x="48296" y="389335"/>
                  </a:lnTo>
                  <a:lnTo>
                    <a:pt x="56024" y="396939"/>
                  </a:lnTo>
                  <a:lnTo>
                    <a:pt x="56024" y="406469"/>
                  </a:lnTo>
                  <a:close/>
                </a:path>
                <a:path w="230504" h="424179">
                  <a:moveTo>
                    <a:pt x="48296" y="154208"/>
                  </a:moveTo>
                  <a:lnTo>
                    <a:pt x="48296" y="159923"/>
                  </a:lnTo>
                  <a:lnTo>
                    <a:pt x="43467" y="163725"/>
                  </a:lnTo>
                  <a:lnTo>
                    <a:pt x="38637" y="163725"/>
                  </a:lnTo>
                  <a:lnTo>
                    <a:pt x="33808" y="163725"/>
                  </a:lnTo>
                  <a:lnTo>
                    <a:pt x="29944" y="159923"/>
                  </a:lnTo>
                  <a:lnTo>
                    <a:pt x="29944" y="154208"/>
                  </a:lnTo>
                  <a:lnTo>
                    <a:pt x="29944" y="149443"/>
                  </a:lnTo>
                  <a:lnTo>
                    <a:pt x="33808" y="145641"/>
                  </a:lnTo>
                  <a:lnTo>
                    <a:pt x="38637" y="145641"/>
                  </a:lnTo>
                  <a:lnTo>
                    <a:pt x="43467" y="145641"/>
                  </a:lnTo>
                  <a:lnTo>
                    <a:pt x="48296" y="149443"/>
                  </a:lnTo>
                  <a:lnTo>
                    <a:pt x="48296" y="154208"/>
                  </a:lnTo>
                  <a:close/>
                </a:path>
                <a:path w="230504" h="424179">
                  <a:moveTo>
                    <a:pt x="36705" y="255112"/>
                  </a:moveTo>
                  <a:lnTo>
                    <a:pt x="36705" y="260815"/>
                  </a:lnTo>
                  <a:lnTo>
                    <a:pt x="31876" y="265581"/>
                  </a:lnTo>
                  <a:lnTo>
                    <a:pt x="26081" y="265581"/>
                  </a:lnTo>
                  <a:lnTo>
                    <a:pt x="21250" y="265581"/>
                  </a:lnTo>
                  <a:lnTo>
                    <a:pt x="16420" y="260815"/>
                  </a:lnTo>
                  <a:lnTo>
                    <a:pt x="16420" y="255112"/>
                  </a:lnTo>
                  <a:lnTo>
                    <a:pt x="16420" y="250347"/>
                  </a:lnTo>
                  <a:lnTo>
                    <a:pt x="21250" y="245595"/>
                  </a:lnTo>
                  <a:lnTo>
                    <a:pt x="26081" y="245595"/>
                  </a:lnTo>
                  <a:lnTo>
                    <a:pt x="31876" y="245595"/>
                  </a:lnTo>
                  <a:lnTo>
                    <a:pt x="36705" y="250347"/>
                  </a:lnTo>
                  <a:lnTo>
                    <a:pt x="36705" y="255112"/>
                  </a:lnTo>
                  <a:close/>
                </a:path>
                <a:path w="230504" h="424179">
                  <a:moveTo>
                    <a:pt x="229898" y="57118"/>
                  </a:moveTo>
                  <a:lnTo>
                    <a:pt x="229898" y="57118"/>
                  </a:lnTo>
                  <a:lnTo>
                    <a:pt x="192221" y="57118"/>
                  </a:lnTo>
                </a:path>
                <a:path w="230504" h="424179">
                  <a:moveTo>
                    <a:pt x="229898" y="28552"/>
                  </a:moveTo>
                  <a:lnTo>
                    <a:pt x="229898" y="28552"/>
                  </a:lnTo>
                  <a:lnTo>
                    <a:pt x="192221" y="28552"/>
                  </a:lnTo>
                </a:path>
                <a:path w="230504" h="424179">
                  <a:moveTo>
                    <a:pt x="229898" y="0"/>
                  </a:moveTo>
                  <a:lnTo>
                    <a:pt x="229898" y="0"/>
                  </a:lnTo>
                  <a:lnTo>
                    <a:pt x="174841" y="0"/>
                  </a:lnTo>
                </a:path>
                <a:path w="230504" h="424179">
                  <a:moveTo>
                    <a:pt x="229898" y="141826"/>
                  </a:moveTo>
                  <a:lnTo>
                    <a:pt x="229898" y="141826"/>
                  </a:lnTo>
                  <a:lnTo>
                    <a:pt x="174841" y="141826"/>
                  </a:lnTo>
                </a:path>
                <a:path w="230504" h="424179">
                  <a:moveTo>
                    <a:pt x="229898" y="85671"/>
                  </a:moveTo>
                  <a:lnTo>
                    <a:pt x="229898" y="85671"/>
                  </a:lnTo>
                  <a:lnTo>
                    <a:pt x="192221" y="85671"/>
                  </a:lnTo>
                </a:path>
                <a:path w="230504" h="424179">
                  <a:moveTo>
                    <a:pt x="229898" y="114224"/>
                  </a:moveTo>
                  <a:lnTo>
                    <a:pt x="229898" y="114224"/>
                  </a:lnTo>
                  <a:lnTo>
                    <a:pt x="192221" y="114224"/>
                  </a:lnTo>
                </a:path>
              </a:pathLst>
            </a:custGeom>
            <a:ln w="12468">
              <a:solidFill>
                <a:srgbClr val="44AAE2"/>
              </a:solidFill>
            </a:ln>
          </p:spPr>
          <p:txBody>
            <a:bodyPr wrap="square" lIns="0" tIns="0" rIns="0" bIns="0" rtlCol="0"/>
            <a:lstStyle/>
            <a:p>
              <a:endParaRPr sz="1454"/>
            </a:p>
          </p:txBody>
        </p:sp>
        <p:sp>
          <p:nvSpPr>
            <p:cNvPr id="83" name="object 83"/>
            <p:cNvSpPr/>
            <p:nvPr/>
          </p:nvSpPr>
          <p:spPr>
            <a:xfrm>
              <a:off x="4507637" y="5632354"/>
              <a:ext cx="650875" cy="558165"/>
            </a:xfrm>
            <a:custGeom>
              <a:avLst/>
              <a:gdLst/>
              <a:ahLst/>
              <a:cxnLst/>
              <a:rect l="l" t="t" r="r" b="b"/>
              <a:pathLst>
                <a:path w="650875" h="558164">
                  <a:moveTo>
                    <a:pt x="226785" y="0"/>
                  </a:moveTo>
                  <a:lnTo>
                    <a:pt x="226785" y="557767"/>
                  </a:lnTo>
                  <a:lnTo>
                    <a:pt x="296645" y="557767"/>
                  </a:lnTo>
                  <a:lnTo>
                    <a:pt x="296645" y="473628"/>
                  </a:lnTo>
                  <a:lnTo>
                    <a:pt x="353099" y="473628"/>
                  </a:lnTo>
                  <a:lnTo>
                    <a:pt x="353099" y="557767"/>
                  </a:lnTo>
                  <a:lnTo>
                    <a:pt x="423916" y="557767"/>
                  </a:lnTo>
                  <a:lnTo>
                    <a:pt x="423916" y="0"/>
                  </a:lnTo>
                  <a:lnTo>
                    <a:pt x="226785" y="0"/>
                  </a:lnTo>
                  <a:close/>
                </a:path>
                <a:path w="650875" h="558164">
                  <a:moveTo>
                    <a:pt x="226785" y="222164"/>
                  </a:moveTo>
                  <a:lnTo>
                    <a:pt x="226785" y="222164"/>
                  </a:lnTo>
                  <a:lnTo>
                    <a:pt x="70811" y="222164"/>
                  </a:lnTo>
                </a:path>
                <a:path w="650875" h="558164">
                  <a:moveTo>
                    <a:pt x="70811" y="557767"/>
                  </a:moveTo>
                  <a:lnTo>
                    <a:pt x="70811" y="557767"/>
                  </a:lnTo>
                  <a:lnTo>
                    <a:pt x="226785" y="557767"/>
                  </a:lnTo>
                </a:path>
                <a:path w="650875" h="558164">
                  <a:moveTo>
                    <a:pt x="0" y="557767"/>
                  </a:moveTo>
                  <a:lnTo>
                    <a:pt x="70811" y="557767"/>
                  </a:lnTo>
                  <a:lnTo>
                    <a:pt x="70811" y="180556"/>
                  </a:lnTo>
                  <a:lnTo>
                    <a:pt x="0" y="180556"/>
                  </a:lnTo>
                  <a:lnTo>
                    <a:pt x="0" y="557767"/>
                  </a:lnTo>
                  <a:close/>
                </a:path>
                <a:path w="650875" h="558164">
                  <a:moveTo>
                    <a:pt x="112915" y="277935"/>
                  </a:moveTo>
                  <a:lnTo>
                    <a:pt x="112915" y="277935"/>
                  </a:lnTo>
                  <a:lnTo>
                    <a:pt x="141618" y="277935"/>
                  </a:lnTo>
                </a:path>
                <a:path w="650875" h="558164">
                  <a:moveTo>
                    <a:pt x="155981" y="277935"/>
                  </a:moveTo>
                  <a:lnTo>
                    <a:pt x="155981" y="277935"/>
                  </a:lnTo>
                  <a:lnTo>
                    <a:pt x="183723" y="277935"/>
                  </a:lnTo>
                </a:path>
                <a:path w="650875" h="558164">
                  <a:moveTo>
                    <a:pt x="112915" y="333719"/>
                  </a:moveTo>
                  <a:lnTo>
                    <a:pt x="112915" y="333719"/>
                  </a:lnTo>
                  <a:lnTo>
                    <a:pt x="141618" y="333719"/>
                  </a:lnTo>
                </a:path>
                <a:path w="650875" h="558164">
                  <a:moveTo>
                    <a:pt x="155981" y="333719"/>
                  </a:moveTo>
                  <a:lnTo>
                    <a:pt x="155981" y="333719"/>
                  </a:lnTo>
                  <a:lnTo>
                    <a:pt x="183723" y="333719"/>
                  </a:lnTo>
                </a:path>
                <a:path w="650875" h="558164">
                  <a:moveTo>
                    <a:pt x="112915" y="390435"/>
                  </a:moveTo>
                  <a:lnTo>
                    <a:pt x="112915" y="390435"/>
                  </a:lnTo>
                  <a:lnTo>
                    <a:pt x="141618" y="390435"/>
                  </a:lnTo>
                </a:path>
                <a:path w="650875" h="558164">
                  <a:moveTo>
                    <a:pt x="155981" y="390435"/>
                  </a:moveTo>
                  <a:lnTo>
                    <a:pt x="155981" y="390435"/>
                  </a:lnTo>
                  <a:lnTo>
                    <a:pt x="183723" y="390435"/>
                  </a:lnTo>
                </a:path>
                <a:path w="650875" h="558164">
                  <a:moveTo>
                    <a:pt x="112915" y="446218"/>
                  </a:moveTo>
                  <a:lnTo>
                    <a:pt x="112915" y="446218"/>
                  </a:lnTo>
                  <a:lnTo>
                    <a:pt x="141618" y="446218"/>
                  </a:lnTo>
                </a:path>
                <a:path w="650875" h="558164">
                  <a:moveTo>
                    <a:pt x="155981" y="446218"/>
                  </a:moveTo>
                  <a:lnTo>
                    <a:pt x="155981" y="446218"/>
                  </a:lnTo>
                  <a:lnTo>
                    <a:pt x="183723" y="446218"/>
                  </a:lnTo>
                </a:path>
                <a:path w="650875" h="558164">
                  <a:moveTo>
                    <a:pt x="112915" y="501989"/>
                  </a:moveTo>
                  <a:lnTo>
                    <a:pt x="112915" y="501989"/>
                  </a:lnTo>
                  <a:lnTo>
                    <a:pt x="141618" y="501989"/>
                  </a:lnTo>
                </a:path>
                <a:path w="650875" h="558164">
                  <a:moveTo>
                    <a:pt x="155981" y="501989"/>
                  </a:moveTo>
                  <a:lnTo>
                    <a:pt x="155981" y="501989"/>
                  </a:lnTo>
                  <a:lnTo>
                    <a:pt x="183723" y="501989"/>
                  </a:lnTo>
                </a:path>
                <a:path w="650875" h="558164">
                  <a:moveTo>
                    <a:pt x="423916" y="222164"/>
                  </a:moveTo>
                  <a:lnTo>
                    <a:pt x="423916" y="222164"/>
                  </a:lnTo>
                  <a:lnTo>
                    <a:pt x="579886" y="222164"/>
                  </a:lnTo>
                </a:path>
                <a:path w="650875" h="558164">
                  <a:moveTo>
                    <a:pt x="579886" y="557767"/>
                  </a:moveTo>
                  <a:lnTo>
                    <a:pt x="579886" y="557767"/>
                  </a:lnTo>
                  <a:lnTo>
                    <a:pt x="423916" y="557767"/>
                  </a:lnTo>
                </a:path>
                <a:path w="650875" h="558164">
                  <a:moveTo>
                    <a:pt x="650703" y="557767"/>
                  </a:moveTo>
                  <a:lnTo>
                    <a:pt x="579886" y="557767"/>
                  </a:lnTo>
                  <a:lnTo>
                    <a:pt x="579886" y="180556"/>
                  </a:lnTo>
                  <a:lnTo>
                    <a:pt x="650703" y="180556"/>
                  </a:lnTo>
                  <a:lnTo>
                    <a:pt x="650703" y="557767"/>
                  </a:lnTo>
                  <a:close/>
                </a:path>
                <a:path w="650875" h="558164">
                  <a:moveTo>
                    <a:pt x="536824" y="277935"/>
                  </a:moveTo>
                  <a:lnTo>
                    <a:pt x="536824" y="277935"/>
                  </a:lnTo>
                  <a:lnTo>
                    <a:pt x="509082" y="277935"/>
                  </a:lnTo>
                </a:path>
                <a:path w="650875" h="558164">
                  <a:moveTo>
                    <a:pt x="494720" y="277935"/>
                  </a:moveTo>
                  <a:lnTo>
                    <a:pt x="494720" y="277935"/>
                  </a:lnTo>
                  <a:lnTo>
                    <a:pt x="466977" y="277935"/>
                  </a:lnTo>
                </a:path>
                <a:path w="650875" h="558164">
                  <a:moveTo>
                    <a:pt x="536824" y="333719"/>
                  </a:moveTo>
                  <a:lnTo>
                    <a:pt x="536824" y="333719"/>
                  </a:lnTo>
                  <a:lnTo>
                    <a:pt x="509082" y="333719"/>
                  </a:lnTo>
                </a:path>
                <a:path w="650875" h="558164">
                  <a:moveTo>
                    <a:pt x="494720" y="333719"/>
                  </a:moveTo>
                  <a:lnTo>
                    <a:pt x="494720" y="333719"/>
                  </a:lnTo>
                  <a:lnTo>
                    <a:pt x="466977" y="333719"/>
                  </a:lnTo>
                </a:path>
                <a:path w="650875" h="558164">
                  <a:moveTo>
                    <a:pt x="536824" y="390435"/>
                  </a:moveTo>
                  <a:lnTo>
                    <a:pt x="536824" y="390435"/>
                  </a:lnTo>
                  <a:lnTo>
                    <a:pt x="509082" y="390435"/>
                  </a:lnTo>
                </a:path>
                <a:path w="650875" h="558164">
                  <a:moveTo>
                    <a:pt x="494720" y="390435"/>
                  </a:moveTo>
                  <a:lnTo>
                    <a:pt x="494720" y="390435"/>
                  </a:lnTo>
                  <a:lnTo>
                    <a:pt x="466977" y="390435"/>
                  </a:lnTo>
                </a:path>
                <a:path w="650875" h="558164">
                  <a:moveTo>
                    <a:pt x="536824" y="446218"/>
                  </a:moveTo>
                  <a:lnTo>
                    <a:pt x="536824" y="446218"/>
                  </a:lnTo>
                  <a:lnTo>
                    <a:pt x="509082" y="446218"/>
                  </a:lnTo>
                </a:path>
                <a:path w="650875" h="558164">
                  <a:moveTo>
                    <a:pt x="494720" y="446218"/>
                  </a:moveTo>
                  <a:lnTo>
                    <a:pt x="494720" y="446218"/>
                  </a:lnTo>
                  <a:lnTo>
                    <a:pt x="466977" y="446218"/>
                  </a:lnTo>
                </a:path>
                <a:path w="650875" h="558164">
                  <a:moveTo>
                    <a:pt x="536824" y="501989"/>
                  </a:moveTo>
                  <a:lnTo>
                    <a:pt x="536824" y="501989"/>
                  </a:lnTo>
                  <a:lnTo>
                    <a:pt x="509082" y="501989"/>
                  </a:lnTo>
                </a:path>
                <a:path w="650875" h="558164">
                  <a:moveTo>
                    <a:pt x="494720" y="501989"/>
                  </a:moveTo>
                  <a:lnTo>
                    <a:pt x="494720" y="501989"/>
                  </a:lnTo>
                  <a:lnTo>
                    <a:pt x="466977" y="501989"/>
                  </a:lnTo>
                </a:path>
                <a:path w="650875" h="558164">
                  <a:moveTo>
                    <a:pt x="268889" y="54825"/>
                  </a:moveTo>
                  <a:lnTo>
                    <a:pt x="268889" y="54825"/>
                  </a:lnTo>
                  <a:lnTo>
                    <a:pt x="381811" y="54825"/>
                  </a:lnTo>
                </a:path>
                <a:path w="650875" h="558164">
                  <a:moveTo>
                    <a:pt x="268889" y="110609"/>
                  </a:moveTo>
                  <a:lnTo>
                    <a:pt x="268889" y="110609"/>
                  </a:lnTo>
                  <a:lnTo>
                    <a:pt x="381811" y="110609"/>
                  </a:lnTo>
                </a:path>
                <a:path w="650875" h="558164">
                  <a:moveTo>
                    <a:pt x="268889" y="166380"/>
                  </a:moveTo>
                  <a:lnTo>
                    <a:pt x="268889" y="166380"/>
                  </a:lnTo>
                  <a:lnTo>
                    <a:pt x="381811" y="166380"/>
                  </a:lnTo>
                </a:path>
                <a:path w="650875" h="558164">
                  <a:moveTo>
                    <a:pt x="268889" y="222164"/>
                  </a:moveTo>
                  <a:lnTo>
                    <a:pt x="268889" y="222164"/>
                  </a:lnTo>
                  <a:lnTo>
                    <a:pt x="381811" y="222164"/>
                  </a:lnTo>
                </a:path>
                <a:path w="650875" h="558164">
                  <a:moveTo>
                    <a:pt x="268889" y="277935"/>
                  </a:moveTo>
                  <a:lnTo>
                    <a:pt x="268889" y="277935"/>
                  </a:lnTo>
                  <a:lnTo>
                    <a:pt x="381811" y="277935"/>
                  </a:lnTo>
                </a:path>
                <a:path w="650875" h="558164">
                  <a:moveTo>
                    <a:pt x="268889" y="333719"/>
                  </a:moveTo>
                  <a:lnTo>
                    <a:pt x="268889" y="333719"/>
                  </a:lnTo>
                  <a:lnTo>
                    <a:pt x="381811" y="333719"/>
                  </a:lnTo>
                </a:path>
                <a:path w="650875" h="558164">
                  <a:moveTo>
                    <a:pt x="268889" y="390435"/>
                  </a:moveTo>
                  <a:lnTo>
                    <a:pt x="268889" y="390435"/>
                  </a:lnTo>
                  <a:lnTo>
                    <a:pt x="381811" y="390435"/>
                  </a:lnTo>
                </a:path>
              </a:pathLst>
            </a:custGeom>
            <a:ln w="12365">
              <a:solidFill>
                <a:srgbClr val="44AAE2"/>
              </a:solidFill>
            </a:ln>
          </p:spPr>
          <p:txBody>
            <a:bodyPr wrap="square" lIns="0" tIns="0" rIns="0" bIns="0" rtlCol="0"/>
            <a:lstStyle/>
            <a:p>
              <a:endParaRPr sz="1454"/>
            </a:p>
          </p:txBody>
        </p:sp>
        <p:sp>
          <p:nvSpPr>
            <p:cNvPr id="84" name="object 84"/>
            <p:cNvSpPr/>
            <p:nvPr/>
          </p:nvSpPr>
          <p:spPr>
            <a:xfrm>
              <a:off x="6004197" y="5591981"/>
              <a:ext cx="775970" cy="639445"/>
            </a:xfrm>
            <a:custGeom>
              <a:avLst/>
              <a:gdLst/>
              <a:ahLst/>
              <a:cxnLst/>
              <a:rect l="l" t="t" r="r" b="b"/>
              <a:pathLst>
                <a:path w="775970" h="639445">
                  <a:moveTo>
                    <a:pt x="493052" y="109092"/>
                  </a:moveTo>
                  <a:lnTo>
                    <a:pt x="555161" y="159300"/>
                  </a:lnTo>
                  <a:lnTo>
                    <a:pt x="559356" y="158259"/>
                  </a:lnTo>
                  <a:lnTo>
                    <a:pt x="569373" y="156765"/>
                  </a:lnTo>
                  <a:lnTo>
                    <a:pt x="581364" y="157261"/>
                  </a:lnTo>
                  <a:lnTo>
                    <a:pt x="591478" y="162192"/>
                  </a:lnTo>
                  <a:lnTo>
                    <a:pt x="602896" y="178156"/>
                  </a:lnTo>
                  <a:lnTo>
                    <a:pt x="604729" y="190679"/>
                  </a:lnTo>
                  <a:lnTo>
                    <a:pt x="602084" y="198856"/>
                  </a:lnTo>
                  <a:lnTo>
                    <a:pt x="600067" y="201783"/>
                  </a:lnTo>
                  <a:lnTo>
                    <a:pt x="603083" y="199610"/>
                  </a:lnTo>
                  <a:lnTo>
                    <a:pt x="611296" y="195989"/>
                  </a:lnTo>
                  <a:lnTo>
                    <a:pt x="623451" y="195265"/>
                  </a:lnTo>
                  <a:lnTo>
                    <a:pt x="638292" y="201783"/>
                  </a:lnTo>
                  <a:lnTo>
                    <a:pt x="648803" y="214939"/>
                  </a:lnTo>
                  <a:lnTo>
                    <a:pt x="651430" y="228818"/>
                  </a:lnTo>
                  <a:lnTo>
                    <a:pt x="650117" y="239801"/>
                  </a:lnTo>
                  <a:lnTo>
                    <a:pt x="648803" y="244266"/>
                  </a:lnTo>
                  <a:lnTo>
                    <a:pt x="650848" y="242093"/>
                  </a:lnTo>
                  <a:lnTo>
                    <a:pt x="656566" y="238472"/>
                  </a:lnTo>
                  <a:lnTo>
                    <a:pt x="665332" y="237747"/>
                  </a:lnTo>
                  <a:lnTo>
                    <a:pt x="676517" y="244266"/>
                  </a:lnTo>
                  <a:lnTo>
                    <a:pt x="685114" y="255008"/>
                  </a:lnTo>
                  <a:lnTo>
                    <a:pt x="687265" y="263576"/>
                  </a:lnTo>
                  <a:lnTo>
                    <a:pt x="686193" y="269247"/>
                  </a:lnTo>
                  <a:lnTo>
                    <a:pt x="685119" y="271298"/>
                  </a:lnTo>
                  <a:lnTo>
                    <a:pt x="730979" y="212400"/>
                  </a:lnTo>
                  <a:lnTo>
                    <a:pt x="717605" y="301235"/>
                  </a:lnTo>
                  <a:lnTo>
                    <a:pt x="765374" y="334051"/>
                  </a:lnTo>
                  <a:lnTo>
                    <a:pt x="666961" y="350466"/>
                  </a:lnTo>
                  <a:lnTo>
                    <a:pt x="775885" y="557085"/>
                  </a:lnTo>
                  <a:lnTo>
                    <a:pt x="763466" y="639152"/>
                  </a:lnTo>
                  <a:lnTo>
                    <a:pt x="581921" y="411292"/>
                  </a:lnTo>
                  <a:lnTo>
                    <a:pt x="507380" y="411292"/>
                  </a:lnTo>
                  <a:lnTo>
                    <a:pt x="559933" y="479843"/>
                  </a:lnTo>
                  <a:lnTo>
                    <a:pt x="290486" y="461500"/>
                  </a:lnTo>
                  <a:lnTo>
                    <a:pt x="262969" y="481715"/>
                  </a:lnTo>
                  <a:lnTo>
                    <a:pt x="192901" y="527637"/>
                  </a:lnTo>
                  <a:lnTo>
                    <a:pt x="99003" y="577179"/>
                  </a:lnTo>
                  <a:lnTo>
                    <a:pt x="0" y="608256"/>
                  </a:lnTo>
                  <a:lnTo>
                    <a:pt x="39669" y="544021"/>
                  </a:lnTo>
                  <a:lnTo>
                    <a:pt x="107378" y="472364"/>
                  </a:lnTo>
                  <a:lnTo>
                    <a:pt x="171325" y="414103"/>
                  </a:lnTo>
                  <a:lnTo>
                    <a:pt x="199708" y="390057"/>
                  </a:lnTo>
                  <a:lnTo>
                    <a:pt x="214990" y="201783"/>
                  </a:lnTo>
                  <a:lnTo>
                    <a:pt x="325835" y="244266"/>
                  </a:lnTo>
                  <a:lnTo>
                    <a:pt x="317234" y="187296"/>
                  </a:lnTo>
                  <a:lnTo>
                    <a:pt x="96507" y="61789"/>
                  </a:lnTo>
                  <a:lnTo>
                    <a:pt x="214990" y="57920"/>
                  </a:lnTo>
                  <a:lnTo>
                    <a:pt x="394638" y="138065"/>
                  </a:lnTo>
                  <a:lnTo>
                    <a:pt x="509301" y="0"/>
                  </a:lnTo>
                  <a:lnTo>
                    <a:pt x="524584" y="35721"/>
                  </a:lnTo>
                  <a:lnTo>
                    <a:pt x="493052" y="109092"/>
                  </a:lnTo>
                  <a:close/>
                </a:path>
              </a:pathLst>
            </a:custGeom>
            <a:ln w="12500">
              <a:solidFill>
                <a:srgbClr val="44AAE2"/>
              </a:solidFill>
            </a:ln>
          </p:spPr>
          <p:txBody>
            <a:bodyPr wrap="square" lIns="0" tIns="0" rIns="0" bIns="0" rtlCol="0"/>
            <a:lstStyle/>
            <a:p>
              <a:endParaRPr sz="1454"/>
            </a:p>
          </p:txBody>
        </p:sp>
        <p:sp>
          <p:nvSpPr>
            <p:cNvPr id="85" name="object 85"/>
            <p:cNvSpPr/>
            <p:nvPr/>
          </p:nvSpPr>
          <p:spPr>
            <a:xfrm>
              <a:off x="6209631" y="5751281"/>
              <a:ext cx="349885" cy="168275"/>
            </a:xfrm>
            <a:custGeom>
              <a:avLst/>
              <a:gdLst/>
              <a:ahLst/>
              <a:cxnLst/>
              <a:rect l="l" t="t" r="r" b="b"/>
              <a:pathLst>
                <a:path w="349884" h="168275">
                  <a:moveTo>
                    <a:pt x="349727" y="0"/>
                  </a:moveTo>
                  <a:lnTo>
                    <a:pt x="308567" y="16397"/>
                  </a:lnTo>
                  <a:lnTo>
                    <a:pt x="265524" y="36325"/>
                  </a:lnTo>
                  <a:lnTo>
                    <a:pt x="216569" y="57160"/>
                  </a:lnTo>
                  <a:lnTo>
                    <a:pt x="157672" y="76276"/>
                  </a:lnTo>
                  <a:lnTo>
                    <a:pt x="112203" y="91557"/>
                  </a:lnTo>
                  <a:lnTo>
                    <a:pt x="70590" y="111636"/>
                  </a:lnTo>
                  <a:lnTo>
                    <a:pt x="33100" y="136966"/>
                  </a:lnTo>
                  <a:lnTo>
                    <a:pt x="0" y="168002"/>
                  </a:lnTo>
                </a:path>
              </a:pathLst>
            </a:custGeom>
            <a:ln w="12527">
              <a:solidFill>
                <a:srgbClr val="44AAE2"/>
              </a:solidFill>
            </a:ln>
          </p:spPr>
          <p:txBody>
            <a:bodyPr wrap="square" lIns="0" tIns="0" rIns="0" bIns="0" rtlCol="0"/>
            <a:lstStyle/>
            <a:p>
              <a:endParaRPr sz="1454"/>
            </a:p>
          </p:txBody>
        </p:sp>
        <p:sp>
          <p:nvSpPr>
            <p:cNvPr id="86" name="object 86"/>
            <p:cNvSpPr/>
            <p:nvPr/>
          </p:nvSpPr>
          <p:spPr>
            <a:xfrm>
              <a:off x="6391188" y="5793764"/>
              <a:ext cx="262255" cy="267970"/>
            </a:xfrm>
            <a:custGeom>
              <a:avLst/>
              <a:gdLst/>
              <a:ahLst/>
              <a:cxnLst/>
              <a:rect l="l" t="t" r="r" b="b"/>
              <a:pathLst>
                <a:path w="262254" h="267970">
                  <a:moveTo>
                    <a:pt x="213076" y="0"/>
                  </a:moveTo>
                  <a:lnTo>
                    <a:pt x="213076" y="0"/>
                  </a:lnTo>
                  <a:lnTo>
                    <a:pt x="106060" y="67586"/>
                  </a:lnTo>
                </a:path>
                <a:path w="262254" h="267970">
                  <a:moveTo>
                    <a:pt x="261811" y="42482"/>
                  </a:moveTo>
                  <a:lnTo>
                    <a:pt x="245463" y="52138"/>
                  </a:lnTo>
                  <a:lnTo>
                    <a:pt x="208422" y="76276"/>
                  </a:lnTo>
                  <a:lnTo>
                    <a:pt x="168694" y="107654"/>
                  </a:lnTo>
                  <a:lnTo>
                    <a:pt x="144286" y="139029"/>
                  </a:lnTo>
                  <a:lnTo>
                    <a:pt x="122006" y="173489"/>
                  </a:lnTo>
                  <a:lnTo>
                    <a:pt x="83604" y="213377"/>
                  </a:lnTo>
                  <a:lnTo>
                    <a:pt x="39472" y="248194"/>
                  </a:lnTo>
                  <a:lnTo>
                    <a:pt x="0" y="267442"/>
                  </a:lnTo>
                </a:path>
              </a:pathLst>
            </a:custGeom>
            <a:ln w="12488">
              <a:solidFill>
                <a:srgbClr val="44AAE2"/>
              </a:solidFill>
            </a:ln>
          </p:spPr>
          <p:txBody>
            <a:bodyPr wrap="square" lIns="0" tIns="0" rIns="0" bIns="0" rtlCol="0"/>
            <a:lstStyle/>
            <a:p>
              <a:endParaRPr sz="1454"/>
            </a:p>
          </p:txBody>
        </p:sp>
        <p:pic>
          <p:nvPicPr>
            <p:cNvPr id="87" name="object 87"/>
            <p:cNvPicPr/>
            <p:nvPr/>
          </p:nvPicPr>
          <p:blipFill>
            <a:blip r:embed="rId17" cstate="print"/>
            <a:stretch>
              <a:fillRect/>
            </a:stretch>
          </p:blipFill>
          <p:spPr>
            <a:xfrm>
              <a:off x="6077266" y="5955512"/>
              <a:ext cx="238954" cy="204621"/>
            </a:xfrm>
            <a:prstGeom prst="rect">
              <a:avLst/>
            </a:prstGeom>
          </p:spPr>
        </p:pic>
        <p:sp>
          <p:nvSpPr>
            <p:cNvPr id="88" name="object 88"/>
            <p:cNvSpPr/>
            <p:nvPr/>
          </p:nvSpPr>
          <p:spPr>
            <a:xfrm>
              <a:off x="6398835" y="5701073"/>
              <a:ext cx="323215" cy="260985"/>
            </a:xfrm>
            <a:custGeom>
              <a:avLst/>
              <a:gdLst/>
              <a:ahLst/>
              <a:cxnLst/>
              <a:rect l="l" t="t" r="r" b="b"/>
              <a:pathLst>
                <a:path w="323215" h="260985">
                  <a:moveTo>
                    <a:pt x="98413" y="0"/>
                  </a:moveTo>
                  <a:lnTo>
                    <a:pt x="98413" y="0"/>
                  </a:lnTo>
                  <a:lnTo>
                    <a:pt x="0" y="28973"/>
                  </a:lnTo>
                </a:path>
                <a:path w="323215" h="260985">
                  <a:moveTo>
                    <a:pt x="290480" y="162205"/>
                  </a:moveTo>
                  <a:lnTo>
                    <a:pt x="219769" y="260693"/>
                  </a:lnTo>
                  <a:lnTo>
                    <a:pt x="322967" y="192142"/>
                  </a:lnTo>
                </a:path>
              </a:pathLst>
            </a:custGeom>
            <a:ln w="12488">
              <a:solidFill>
                <a:srgbClr val="44AAE2"/>
              </a:solidFill>
            </a:ln>
          </p:spPr>
          <p:txBody>
            <a:bodyPr wrap="square" lIns="0" tIns="0" rIns="0" bIns="0" rtlCol="0"/>
            <a:lstStyle/>
            <a:p>
              <a:endParaRPr sz="1454"/>
            </a:p>
          </p:txBody>
        </p:sp>
        <p:sp>
          <p:nvSpPr>
            <p:cNvPr id="89" name="object 89"/>
            <p:cNvSpPr/>
            <p:nvPr/>
          </p:nvSpPr>
          <p:spPr>
            <a:xfrm>
              <a:off x="2747226" y="7122232"/>
              <a:ext cx="318770" cy="318135"/>
            </a:xfrm>
            <a:custGeom>
              <a:avLst/>
              <a:gdLst/>
              <a:ahLst/>
              <a:cxnLst/>
              <a:rect l="l" t="t" r="r" b="b"/>
              <a:pathLst>
                <a:path w="318769" h="318134">
                  <a:moveTo>
                    <a:pt x="242747" y="0"/>
                  </a:moveTo>
                  <a:lnTo>
                    <a:pt x="0" y="242746"/>
                  </a:lnTo>
                  <a:lnTo>
                    <a:pt x="75861" y="317658"/>
                  </a:lnTo>
                  <a:lnTo>
                    <a:pt x="318607" y="75859"/>
                  </a:lnTo>
                  <a:lnTo>
                    <a:pt x="242747" y="0"/>
                  </a:lnTo>
                  <a:close/>
                </a:path>
              </a:pathLst>
            </a:custGeom>
            <a:ln w="12326">
              <a:solidFill>
                <a:srgbClr val="44AAE2"/>
              </a:solidFill>
            </a:ln>
          </p:spPr>
          <p:txBody>
            <a:bodyPr wrap="square" lIns="0" tIns="0" rIns="0" bIns="0" rtlCol="0"/>
            <a:lstStyle/>
            <a:p>
              <a:endParaRPr sz="1454"/>
            </a:p>
          </p:txBody>
        </p:sp>
        <p:pic>
          <p:nvPicPr>
            <p:cNvPr id="90" name="object 90"/>
            <p:cNvPicPr/>
            <p:nvPr/>
          </p:nvPicPr>
          <p:blipFill>
            <a:blip r:embed="rId18" cstate="print"/>
            <a:stretch>
              <a:fillRect/>
            </a:stretch>
          </p:blipFill>
          <p:spPr>
            <a:xfrm>
              <a:off x="2993290" y="7094266"/>
              <a:ext cx="99562" cy="100509"/>
            </a:xfrm>
            <a:prstGeom prst="rect">
              <a:avLst/>
            </a:prstGeom>
          </p:spPr>
        </p:pic>
        <p:pic>
          <p:nvPicPr>
            <p:cNvPr id="91" name="object 91"/>
            <p:cNvPicPr/>
            <p:nvPr/>
          </p:nvPicPr>
          <p:blipFill>
            <a:blip r:embed="rId19" cstate="print"/>
            <a:stretch>
              <a:fillRect/>
            </a:stretch>
          </p:blipFill>
          <p:spPr>
            <a:xfrm>
              <a:off x="2723047" y="7371138"/>
              <a:ext cx="92920" cy="93880"/>
            </a:xfrm>
            <a:prstGeom prst="rect">
              <a:avLst/>
            </a:prstGeom>
          </p:spPr>
        </p:pic>
        <p:sp>
          <p:nvSpPr>
            <p:cNvPr id="92" name="object 92"/>
            <p:cNvSpPr/>
            <p:nvPr/>
          </p:nvSpPr>
          <p:spPr>
            <a:xfrm>
              <a:off x="2677058" y="6978108"/>
              <a:ext cx="532130" cy="532130"/>
            </a:xfrm>
            <a:custGeom>
              <a:avLst/>
              <a:gdLst/>
              <a:ahLst/>
              <a:cxnLst/>
              <a:rect l="l" t="t" r="r" b="b"/>
              <a:pathLst>
                <a:path w="532130" h="532129">
                  <a:moveTo>
                    <a:pt x="290153" y="374547"/>
                  </a:moveTo>
                  <a:lnTo>
                    <a:pt x="447560" y="531951"/>
                  </a:lnTo>
                  <a:lnTo>
                    <a:pt x="531951" y="447559"/>
                  </a:lnTo>
                  <a:lnTo>
                    <a:pt x="374544" y="290155"/>
                  </a:lnTo>
                  <a:lnTo>
                    <a:pt x="290153" y="374547"/>
                  </a:lnTo>
                  <a:close/>
                </a:path>
                <a:path w="532130" h="532129">
                  <a:moveTo>
                    <a:pt x="304384" y="303426"/>
                  </a:moveTo>
                  <a:lnTo>
                    <a:pt x="304384" y="303426"/>
                  </a:lnTo>
                  <a:lnTo>
                    <a:pt x="490230" y="489281"/>
                  </a:lnTo>
                </a:path>
                <a:path w="532130" h="532129">
                  <a:moveTo>
                    <a:pt x="241796" y="157407"/>
                  </a:moveTo>
                  <a:lnTo>
                    <a:pt x="84392" y="0"/>
                  </a:lnTo>
                  <a:lnTo>
                    <a:pt x="0" y="84391"/>
                  </a:lnTo>
                  <a:lnTo>
                    <a:pt x="157404" y="241798"/>
                  </a:lnTo>
                  <a:lnTo>
                    <a:pt x="241796" y="157407"/>
                  </a:lnTo>
                  <a:close/>
                </a:path>
                <a:path w="532130" h="532129">
                  <a:moveTo>
                    <a:pt x="228524" y="227567"/>
                  </a:moveTo>
                  <a:lnTo>
                    <a:pt x="228524" y="227567"/>
                  </a:lnTo>
                  <a:lnTo>
                    <a:pt x="42670" y="41721"/>
                  </a:lnTo>
                </a:path>
              </a:pathLst>
            </a:custGeom>
            <a:ln w="12326">
              <a:solidFill>
                <a:srgbClr val="44AAE2"/>
              </a:solidFill>
            </a:ln>
          </p:spPr>
          <p:txBody>
            <a:bodyPr wrap="square" lIns="0" tIns="0" rIns="0" bIns="0" rtlCol="0"/>
            <a:lstStyle/>
            <a:p>
              <a:endParaRPr sz="1454"/>
            </a:p>
          </p:txBody>
        </p:sp>
        <p:pic>
          <p:nvPicPr>
            <p:cNvPr id="93" name="object 93"/>
            <p:cNvPicPr/>
            <p:nvPr/>
          </p:nvPicPr>
          <p:blipFill>
            <a:blip r:embed="rId20" cstate="print"/>
            <a:stretch>
              <a:fillRect/>
            </a:stretch>
          </p:blipFill>
          <p:spPr>
            <a:xfrm>
              <a:off x="3001821" y="7302874"/>
              <a:ext cx="173526" cy="173523"/>
            </a:xfrm>
            <a:prstGeom prst="rect">
              <a:avLst/>
            </a:prstGeom>
          </p:spPr>
        </p:pic>
        <p:sp>
          <p:nvSpPr>
            <p:cNvPr id="94" name="object 94"/>
            <p:cNvSpPr/>
            <p:nvPr/>
          </p:nvSpPr>
          <p:spPr>
            <a:xfrm>
              <a:off x="2716883" y="6916467"/>
              <a:ext cx="554355" cy="262890"/>
            </a:xfrm>
            <a:custGeom>
              <a:avLst/>
              <a:gdLst/>
              <a:ahLst/>
              <a:cxnLst/>
              <a:rect l="l" t="t" r="r" b="b"/>
              <a:pathLst>
                <a:path w="554354" h="262890">
                  <a:moveTo>
                    <a:pt x="76806" y="262665"/>
                  </a:moveTo>
                  <a:lnTo>
                    <a:pt x="76806" y="262665"/>
                  </a:lnTo>
                  <a:lnTo>
                    <a:pt x="162144" y="178274"/>
                  </a:lnTo>
                </a:path>
                <a:path w="554354" h="262890">
                  <a:moveTo>
                    <a:pt x="38876" y="224735"/>
                  </a:moveTo>
                  <a:lnTo>
                    <a:pt x="38876" y="224735"/>
                  </a:lnTo>
                  <a:lnTo>
                    <a:pt x="123266" y="140344"/>
                  </a:lnTo>
                </a:path>
                <a:path w="554354" h="262890">
                  <a:moveTo>
                    <a:pt x="0" y="186805"/>
                  </a:moveTo>
                  <a:lnTo>
                    <a:pt x="0" y="186805"/>
                  </a:lnTo>
                  <a:lnTo>
                    <a:pt x="85336" y="101466"/>
                  </a:lnTo>
                </a:path>
                <a:path w="554354" h="262890">
                  <a:moveTo>
                    <a:pt x="347054" y="0"/>
                  </a:moveTo>
                  <a:lnTo>
                    <a:pt x="319742" y="37886"/>
                  </a:lnTo>
                  <a:lnTo>
                    <a:pt x="306085" y="80960"/>
                  </a:lnTo>
                  <a:lnTo>
                    <a:pt x="306085" y="125761"/>
                  </a:lnTo>
                  <a:lnTo>
                    <a:pt x="319742" y="168831"/>
                  </a:lnTo>
                  <a:lnTo>
                    <a:pt x="347054" y="206712"/>
                  </a:lnTo>
                  <a:lnTo>
                    <a:pt x="384935" y="234025"/>
                  </a:lnTo>
                  <a:lnTo>
                    <a:pt x="428005" y="247681"/>
                  </a:lnTo>
                  <a:lnTo>
                    <a:pt x="472806" y="247681"/>
                  </a:lnTo>
                  <a:lnTo>
                    <a:pt x="515880" y="234025"/>
                  </a:lnTo>
                  <a:lnTo>
                    <a:pt x="553767" y="206712"/>
                  </a:lnTo>
                  <a:lnTo>
                    <a:pt x="347054" y="0"/>
                  </a:lnTo>
                  <a:close/>
                </a:path>
                <a:path w="554354" h="262890">
                  <a:moveTo>
                    <a:pt x="450404" y="103362"/>
                  </a:moveTo>
                  <a:lnTo>
                    <a:pt x="450404" y="103362"/>
                  </a:lnTo>
                  <a:lnTo>
                    <a:pt x="504462" y="49305"/>
                  </a:lnTo>
                </a:path>
              </a:pathLst>
            </a:custGeom>
            <a:ln w="12326">
              <a:solidFill>
                <a:srgbClr val="44AAE2"/>
              </a:solidFill>
            </a:ln>
          </p:spPr>
          <p:txBody>
            <a:bodyPr wrap="square" lIns="0" tIns="0" rIns="0" bIns="0" rtlCol="0"/>
            <a:lstStyle/>
            <a:p>
              <a:endParaRPr sz="1454"/>
            </a:p>
          </p:txBody>
        </p:sp>
        <p:sp>
          <p:nvSpPr>
            <p:cNvPr id="95" name="object 95"/>
            <p:cNvSpPr/>
            <p:nvPr/>
          </p:nvSpPr>
          <p:spPr>
            <a:xfrm>
              <a:off x="4431563" y="6908305"/>
              <a:ext cx="751840" cy="605155"/>
            </a:xfrm>
            <a:custGeom>
              <a:avLst/>
              <a:gdLst/>
              <a:ahLst/>
              <a:cxnLst/>
              <a:rect l="l" t="t" r="r" b="b"/>
              <a:pathLst>
                <a:path w="751839" h="605154">
                  <a:moveTo>
                    <a:pt x="751563" y="301925"/>
                  </a:moveTo>
                  <a:lnTo>
                    <a:pt x="747618" y="351019"/>
                  </a:lnTo>
                  <a:lnTo>
                    <a:pt x="736198" y="397603"/>
                  </a:lnTo>
                  <a:lnTo>
                    <a:pt x="717925" y="441051"/>
                  </a:lnTo>
                  <a:lnTo>
                    <a:pt x="693422" y="480736"/>
                  </a:lnTo>
                  <a:lnTo>
                    <a:pt x="663311" y="516033"/>
                  </a:lnTo>
                  <a:lnTo>
                    <a:pt x="628215" y="546316"/>
                  </a:lnTo>
                  <a:lnTo>
                    <a:pt x="588755" y="570959"/>
                  </a:lnTo>
                  <a:lnTo>
                    <a:pt x="545556" y="589337"/>
                  </a:lnTo>
                  <a:lnTo>
                    <a:pt x="499239" y="600822"/>
                  </a:lnTo>
                  <a:lnTo>
                    <a:pt x="450426" y="604789"/>
                  </a:lnTo>
                  <a:lnTo>
                    <a:pt x="401613" y="600822"/>
                  </a:lnTo>
                  <a:lnTo>
                    <a:pt x="355295" y="589337"/>
                  </a:lnTo>
                  <a:lnTo>
                    <a:pt x="312096" y="570959"/>
                  </a:lnTo>
                  <a:lnTo>
                    <a:pt x="272637" y="546316"/>
                  </a:lnTo>
                  <a:lnTo>
                    <a:pt x="237540" y="516033"/>
                  </a:lnTo>
                  <a:lnTo>
                    <a:pt x="207429" y="480736"/>
                  </a:lnTo>
                  <a:lnTo>
                    <a:pt x="182926" y="441051"/>
                  </a:lnTo>
                  <a:lnTo>
                    <a:pt x="164653" y="397603"/>
                  </a:lnTo>
                  <a:lnTo>
                    <a:pt x="153233" y="351019"/>
                  </a:lnTo>
                  <a:lnTo>
                    <a:pt x="149288" y="301925"/>
                  </a:lnTo>
                  <a:lnTo>
                    <a:pt x="153233" y="252860"/>
                  </a:lnTo>
                  <a:lnTo>
                    <a:pt x="164653" y="206349"/>
                  </a:lnTo>
                  <a:lnTo>
                    <a:pt x="182926" y="163007"/>
                  </a:lnTo>
                  <a:lnTo>
                    <a:pt x="207429" y="123450"/>
                  </a:lnTo>
                  <a:lnTo>
                    <a:pt x="237540" y="88291"/>
                  </a:lnTo>
                  <a:lnTo>
                    <a:pt x="272637" y="58146"/>
                  </a:lnTo>
                  <a:lnTo>
                    <a:pt x="312096" y="33629"/>
                  </a:lnTo>
                  <a:lnTo>
                    <a:pt x="355295" y="15356"/>
                  </a:lnTo>
                  <a:lnTo>
                    <a:pt x="401613" y="3941"/>
                  </a:lnTo>
                  <a:lnTo>
                    <a:pt x="450426" y="0"/>
                  </a:lnTo>
                  <a:lnTo>
                    <a:pt x="499239" y="3941"/>
                  </a:lnTo>
                  <a:lnTo>
                    <a:pt x="545556" y="15356"/>
                  </a:lnTo>
                  <a:lnTo>
                    <a:pt x="588755" y="33629"/>
                  </a:lnTo>
                  <a:lnTo>
                    <a:pt x="628215" y="58146"/>
                  </a:lnTo>
                  <a:lnTo>
                    <a:pt x="663311" y="88291"/>
                  </a:lnTo>
                  <a:lnTo>
                    <a:pt x="693422" y="123450"/>
                  </a:lnTo>
                  <a:lnTo>
                    <a:pt x="717925" y="163007"/>
                  </a:lnTo>
                  <a:lnTo>
                    <a:pt x="736198" y="206349"/>
                  </a:lnTo>
                  <a:lnTo>
                    <a:pt x="747618" y="252860"/>
                  </a:lnTo>
                  <a:lnTo>
                    <a:pt x="751563" y="301925"/>
                  </a:lnTo>
                  <a:close/>
                </a:path>
                <a:path w="751839" h="605154">
                  <a:moveTo>
                    <a:pt x="153875" y="301002"/>
                  </a:moveTo>
                  <a:lnTo>
                    <a:pt x="153875" y="301002"/>
                  </a:lnTo>
                  <a:lnTo>
                    <a:pt x="747893" y="301002"/>
                  </a:lnTo>
                </a:path>
                <a:path w="751839" h="605154">
                  <a:moveTo>
                    <a:pt x="450426" y="1845"/>
                  </a:moveTo>
                  <a:lnTo>
                    <a:pt x="450426" y="1845"/>
                  </a:lnTo>
                  <a:lnTo>
                    <a:pt x="450426" y="601096"/>
                  </a:lnTo>
                </a:path>
                <a:path w="751839" h="605154">
                  <a:moveTo>
                    <a:pt x="450426" y="1845"/>
                  </a:moveTo>
                  <a:lnTo>
                    <a:pt x="473809" y="20037"/>
                  </a:lnTo>
                  <a:lnTo>
                    <a:pt x="525251" y="75362"/>
                  </a:lnTo>
                  <a:lnTo>
                    <a:pt x="576694" y="168950"/>
                  </a:lnTo>
                  <a:lnTo>
                    <a:pt x="600077" y="301925"/>
                  </a:lnTo>
                  <a:lnTo>
                    <a:pt x="576694" y="434761"/>
                  </a:lnTo>
                  <a:lnTo>
                    <a:pt x="525251" y="528035"/>
                  </a:lnTo>
                  <a:lnTo>
                    <a:pt x="473809" y="583047"/>
                  </a:lnTo>
                  <a:lnTo>
                    <a:pt x="450426" y="601096"/>
                  </a:lnTo>
                </a:path>
                <a:path w="751839" h="605154">
                  <a:moveTo>
                    <a:pt x="450426" y="1845"/>
                  </a:moveTo>
                  <a:lnTo>
                    <a:pt x="427043" y="20037"/>
                  </a:lnTo>
                  <a:lnTo>
                    <a:pt x="375600" y="75362"/>
                  </a:lnTo>
                  <a:lnTo>
                    <a:pt x="324157" y="168950"/>
                  </a:lnTo>
                  <a:lnTo>
                    <a:pt x="300774" y="301925"/>
                  </a:lnTo>
                  <a:lnTo>
                    <a:pt x="324157" y="434761"/>
                  </a:lnTo>
                  <a:lnTo>
                    <a:pt x="375600" y="528035"/>
                  </a:lnTo>
                  <a:lnTo>
                    <a:pt x="427043" y="583047"/>
                  </a:lnTo>
                  <a:lnTo>
                    <a:pt x="450426" y="601096"/>
                  </a:lnTo>
                </a:path>
                <a:path w="751839" h="605154">
                  <a:moveTo>
                    <a:pt x="219979" y="103414"/>
                  </a:moveTo>
                  <a:lnTo>
                    <a:pt x="234555" y="113657"/>
                  </a:lnTo>
                  <a:lnTo>
                    <a:pt x="278051" y="136191"/>
                  </a:lnTo>
                  <a:lnTo>
                    <a:pt x="350123" y="158726"/>
                  </a:lnTo>
                  <a:lnTo>
                    <a:pt x="450426" y="168969"/>
                  </a:lnTo>
                  <a:lnTo>
                    <a:pt x="551259" y="158726"/>
                  </a:lnTo>
                  <a:lnTo>
                    <a:pt x="623603" y="136191"/>
                  </a:lnTo>
                  <a:lnTo>
                    <a:pt x="667200" y="113657"/>
                  </a:lnTo>
                  <a:lnTo>
                    <a:pt x="681789" y="103414"/>
                  </a:lnTo>
                </a:path>
                <a:path w="751839" h="605154">
                  <a:moveTo>
                    <a:pt x="219979" y="500451"/>
                  </a:moveTo>
                  <a:lnTo>
                    <a:pt x="234555" y="490207"/>
                  </a:lnTo>
                  <a:lnTo>
                    <a:pt x="278051" y="467672"/>
                  </a:lnTo>
                  <a:lnTo>
                    <a:pt x="350123" y="445137"/>
                  </a:lnTo>
                  <a:lnTo>
                    <a:pt x="450426" y="434893"/>
                  </a:lnTo>
                  <a:lnTo>
                    <a:pt x="551259" y="445137"/>
                  </a:lnTo>
                  <a:lnTo>
                    <a:pt x="623603" y="467672"/>
                  </a:lnTo>
                  <a:lnTo>
                    <a:pt x="667200" y="490207"/>
                  </a:lnTo>
                  <a:lnTo>
                    <a:pt x="681789" y="500451"/>
                  </a:lnTo>
                </a:path>
                <a:path w="751839" h="605154">
                  <a:moveTo>
                    <a:pt x="172248" y="163432"/>
                  </a:moveTo>
                  <a:lnTo>
                    <a:pt x="148503" y="168481"/>
                  </a:lnTo>
                  <a:lnTo>
                    <a:pt x="113951" y="178618"/>
                  </a:lnTo>
                  <a:lnTo>
                    <a:pt x="75208" y="194634"/>
                  </a:lnTo>
                  <a:lnTo>
                    <a:pt x="38891" y="217322"/>
                  </a:lnTo>
                  <a:lnTo>
                    <a:pt x="11616" y="247472"/>
                  </a:lnTo>
                  <a:lnTo>
                    <a:pt x="0" y="285876"/>
                  </a:lnTo>
                  <a:lnTo>
                    <a:pt x="10658" y="333324"/>
                  </a:lnTo>
                  <a:lnTo>
                    <a:pt x="53528" y="377400"/>
                  </a:lnTo>
                  <a:lnTo>
                    <a:pt x="126077" y="403724"/>
                  </a:lnTo>
                  <a:lnTo>
                    <a:pt x="170811" y="411042"/>
                  </a:lnTo>
                  <a:lnTo>
                    <a:pt x="219761" y="414898"/>
                  </a:lnTo>
                  <a:lnTo>
                    <a:pt x="271859" y="415616"/>
                  </a:lnTo>
                  <a:lnTo>
                    <a:pt x="326036" y="413522"/>
                  </a:lnTo>
                  <a:lnTo>
                    <a:pt x="381225" y="408940"/>
                  </a:lnTo>
                  <a:lnTo>
                    <a:pt x="436358" y="402196"/>
                  </a:lnTo>
                  <a:lnTo>
                    <a:pt x="490366" y="393615"/>
                  </a:lnTo>
                  <a:lnTo>
                    <a:pt x="542182" y="383521"/>
                  </a:lnTo>
                  <a:lnTo>
                    <a:pt x="590737" y="372241"/>
                  </a:lnTo>
                  <a:lnTo>
                    <a:pt x="634964" y="360098"/>
                  </a:lnTo>
                </a:path>
              </a:pathLst>
            </a:custGeom>
            <a:ln w="11970">
              <a:solidFill>
                <a:srgbClr val="44AAE2"/>
              </a:solidFill>
            </a:ln>
          </p:spPr>
          <p:txBody>
            <a:bodyPr wrap="square" lIns="0" tIns="0" rIns="0" bIns="0" rtlCol="0"/>
            <a:lstStyle/>
            <a:p>
              <a:endParaRPr sz="1454"/>
            </a:p>
          </p:txBody>
        </p:sp>
        <p:sp>
          <p:nvSpPr>
            <p:cNvPr id="96" name="object 96"/>
            <p:cNvSpPr/>
            <p:nvPr/>
          </p:nvSpPr>
          <p:spPr>
            <a:xfrm>
              <a:off x="5031640" y="7243476"/>
              <a:ext cx="87630" cy="64769"/>
            </a:xfrm>
            <a:custGeom>
              <a:avLst/>
              <a:gdLst/>
              <a:ahLst/>
              <a:cxnLst/>
              <a:rect l="l" t="t" r="r" b="b"/>
              <a:pathLst>
                <a:path w="87629" h="64770">
                  <a:moveTo>
                    <a:pt x="0" y="0"/>
                  </a:moveTo>
                  <a:lnTo>
                    <a:pt x="23865" y="27696"/>
                  </a:lnTo>
                  <a:lnTo>
                    <a:pt x="21113" y="64632"/>
                  </a:lnTo>
                  <a:lnTo>
                    <a:pt x="87217" y="7382"/>
                  </a:lnTo>
                  <a:lnTo>
                    <a:pt x="0" y="0"/>
                  </a:lnTo>
                  <a:close/>
                </a:path>
              </a:pathLst>
            </a:custGeom>
            <a:solidFill>
              <a:srgbClr val="44AAE2"/>
            </a:solidFill>
          </p:spPr>
          <p:txBody>
            <a:bodyPr wrap="square" lIns="0" tIns="0" rIns="0" bIns="0" rtlCol="0"/>
            <a:lstStyle/>
            <a:p>
              <a:endParaRPr sz="1454"/>
            </a:p>
          </p:txBody>
        </p:sp>
        <p:sp>
          <p:nvSpPr>
            <p:cNvPr id="97" name="object 97"/>
            <p:cNvSpPr/>
            <p:nvPr/>
          </p:nvSpPr>
          <p:spPr>
            <a:xfrm>
              <a:off x="6133983" y="7063032"/>
              <a:ext cx="275590" cy="361950"/>
            </a:xfrm>
            <a:custGeom>
              <a:avLst/>
              <a:gdLst/>
              <a:ahLst/>
              <a:cxnLst/>
              <a:rect l="l" t="t" r="r" b="b"/>
              <a:pathLst>
                <a:path w="275589" h="361950">
                  <a:moveTo>
                    <a:pt x="184087" y="0"/>
                  </a:moveTo>
                  <a:lnTo>
                    <a:pt x="184087" y="0"/>
                  </a:lnTo>
                  <a:lnTo>
                    <a:pt x="275180" y="24175"/>
                  </a:lnTo>
                </a:path>
                <a:path w="275589" h="361950">
                  <a:moveTo>
                    <a:pt x="269475" y="45440"/>
                  </a:moveTo>
                  <a:lnTo>
                    <a:pt x="269475" y="45440"/>
                  </a:lnTo>
                  <a:lnTo>
                    <a:pt x="179331" y="21277"/>
                  </a:lnTo>
                </a:path>
                <a:path w="275589" h="361950">
                  <a:moveTo>
                    <a:pt x="104378" y="317078"/>
                  </a:moveTo>
                  <a:lnTo>
                    <a:pt x="104378" y="317078"/>
                  </a:lnTo>
                  <a:lnTo>
                    <a:pt x="195470" y="340276"/>
                  </a:lnTo>
                </a:path>
                <a:path w="275589" h="361950">
                  <a:moveTo>
                    <a:pt x="189779" y="361544"/>
                  </a:moveTo>
                  <a:lnTo>
                    <a:pt x="189779" y="361544"/>
                  </a:lnTo>
                  <a:lnTo>
                    <a:pt x="99635" y="337377"/>
                  </a:lnTo>
                </a:path>
                <a:path w="275589" h="361950">
                  <a:moveTo>
                    <a:pt x="197368" y="99574"/>
                  </a:moveTo>
                  <a:lnTo>
                    <a:pt x="197368" y="99574"/>
                  </a:lnTo>
                  <a:lnTo>
                    <a:pt x="158462" y="255203"/>
                  </a:lnTo>
                </a:path>
                <a:path w="275589" h="361950">
                  <a:moveTo>
                    <a:pt x="85399" y="0"/>
                  </a:moveTo>
                  <a:lnTo>
                    <a:pt x="85399" y="0"/>
                  </a:lnTo>
                  <a:lnTo>
                    <a:pt x="175537" y="23209"/>
                  </a:lnTo>
                </a:path>
                <a:path w="275589" h="361950">
                  <a:moveTo>
                    <a:pt x="170794" y="44474"/>
                  </a:moveTo>
                  <a:lnTo>
                    <a:pt x="170794" y="44474"/>
                  </a:lnTo>
                  <a:lnTo>
                    <a:pt x="79706" y="20311"/>
                  </a:lnTo>
                </a:path>
                <a:path w="275589" h="361950">
                  <a:moveTo>
                    <a:pt x="5694" y="316112"/>
                  </a:moveTo>
                  <a:lnTo>
                    <a:pt x="5694" y="316112"/>
                  </a:lnTo>
                  <a:lnTo>
                    <a:pt x="95836" y="339310"/>
                  </a:lnTo>
                </a:path>
                <a:path w="275589" h="361950">
                  <a:moveTo>
                    <a:pt x="91092" y="360576"/>
                  </a:moveTo>
                  <a:lnTo>
                    <a:pt x="91092" y="360576"/>
                  </a:lnTo>
                  <a:lnTo>
                    <a:pt x="0" y="337377"/>
                  </a:lnTo>
                </a:path>
                <a:path w="275589" h="361950">
                  <a:moveTo>
                    <a:pt x="115761" y="71535"/>
                  </a:moveTo>
                  <a:lnTo>
                    <a:pt x="115761" y="71535"/>
                  </a:lnTo>
                  <a:lnTo>
                    <a:pt x="59779" y="290970"/>
                  </a:lnTo>
                </a:path>
              </a:pathLst>
            </a:custGeom>
            <a:ln w="12453">
              <a:solidFill>
                <a:srgbClr val="44AAE2"/>
              </a:solidFill>
            </a:ln>
          </p:spPr>
          <p:txBody>
            <a:bodyPr wrap="square" lIns="0" tIns="0" rIns="0" bIns="0" rtlCol="0"/>
            <a:lstStyle/>
            <a:p>
              <a:endParaRPr sz="1454"/>
            </a:p>
          </p:txBody>
        </p:sp>
        <p:sp>
          <p:nvSpPr>
            <p:cNvPr id="98" name="object 98"/>
            <p:cNvSpPr/>
            <p:nvPr/>
          </p:nvSpPr>
          <p:spPr>
            <a:xfrm>
              <a:off x="6111211" y="6975075"/>
              <a:ext cx="702310" cy="532765"/>
            </a:xfrm>
            <a:custGeom>
              <a:avLst/>
              <a:gdLst/>
              <a:ahLst/>
              <a:cxnLst/>
              <a:rect l="l" t="t" r="r" b="b"/>
              <a:pathLst>
                <a:path w="702309" h="532765">
                  <a:moveTo>
                    <a:pt x="0" y="508468"/>
                  </a:moveTo>
                  <a:lnTo>
                    <a:pt x="92040" y="532635"/>
                  </a:lnTo>
                  <a:lnTo>
                    <a:pt x="220140" y="27060"/>
                  </a:lnTo>
                  <a:lnTo>
                    <a:pt x="128099" y="2897"/>
                  </a:lnTo>
                  <a:lnTo>
                    <a:pt x="0" y="508468"/>
                  </a:lnTo>
                  <a:close/>
                </a:path>
                <a:path w="702309" h="532765">
                  <a:moveTo>
                    <a:pt x="99631" y="505568"/>
                  </a:moveTo>
                  <a:lnTo>
                    <a:pt x="191669" y="529735"/>
                  </a:lnTo>
                  <a:lnTo>
                    <a:pt x="319770" y="24162"/>
                  </a:lnTo>
                  <a:lnTo>
                    <a:pt x="227729" y="0"/>
                  </a:lnTo>
                  <a:lnTo>
                    <a:pt x="99631" y="505568"/>
                  </a:lnTo>
                  <a:close/>
                </a:path>
                <a:path w="702309" h="532765">
                  <a:moveTo>
                    <a:pt x="702164" y="528768"/>
                  </a:moveTo>
                  <a:lnTo>
                    <a:pt x="386186" y="528768"/>
                  </a:lnTo>
                  <a:lnTo>
                    <a:pt x="386186" y="20298"/>
                  </a:lnTo>
                  <a:lnTo>
                    <a:pt x="695524" y="20298"/>
                  </a:lnTo>
                  <a:lnTo>
                    <a:pt x="695524" y="528768"/>
                  </a:lnTo>
                </a:path>
                <a:path w="702309" h="532765">
                  <a:moveTo>
                    <a:pt x="386186" y="20298"/>
                  </a:moveTo>
                  <a:lnTo>
                    <a:pt x="318822" y="20298"/>
                  </a:lnTo>
                  <a:lnTo>
                    <a:pt x="318822" y="528768"/>
                  </a:lnTo>
                  <a:lnTo>
                    <a:pt x="386186" y="528768"/>
                  </a:lnTo>
                </a:path>
                <a:path w="702309" h="532765">
                  <a:moveTo>
                    <a:pt x="318822" y="101494"/>
                  </a:moveTo>
                  <a:lnTo>
                    <a:pt x="386186" y="101494"/>
                  </a:lnTo>
                  <a:lnTo>
                    <a:pt x="386186" y="136295"/>
                  </a:lnTo>
                  <a:lnTo>
                    <a:pt x="318822" y="136295"/>
                  </a:lnTo>
                  <a:lnTo>
                    <a:pt x="318822" y="101494"/>
                  </a:lnTo>
                  <a:close/>
                </a:path>
                <a:path w="702309" h="532765">
                  <a:moveTo>
                    <a:pt x="318822" y="313201"/>
                  </a:moveTo>
                  <a:lnTo>
                    <a:pt x="386186" y="313201"/>
                  </a:lnTo>
                  <a:lnTo>
                    <a:pt x="386186" y="348969"/>
                  </a:lnTo>
                  <a:lnTo>
                    <a:pt x="318822" y="348969"/>
                  </a:lnTo>
                  <a:lnTo>
                    <a:pt x="318822" y="313201"/>
                  </a:lnTo>
                  <a:close/>
                </a:path>
              </a:pathLst>
            </a:custGeom>
            <a:ln w="12453">
              <a:solidFill>
                <a:srgbClr val="44AAE2"/>
              </a:solidFill>
            </a:ln>
          </p:spPr>
          <p:txBody>
            <a:bodyPr wrap="square" lIns="0" tIns="0" rIns="0" bIns="0" rtlCol="0"/>
            <a:lstStyle/>
            <a:p>
              <a:endParaRPr sz="1454"/>
            </a:p>
          </p:txBody>
        </p:sp>
        <p:sp>
          <p:nvSpPr>
            <p:cNvPr id="99" name="object 99"/>
            <p:cNvSpPr/>
            <p:nvPr/>
          </p:nvSpPr>
          <p:spPr>
            <a:xfrm>
              <a:off x="6463247" y="7093969"/>
              <a:ext cx="272415" cy="160655"/>
            </a:xfrm>
            <a:custGeom>
              <a:avLst/>
              <a:gdLst/>
              <a:ahLst/>
              <a:cxnLst/>
              <a:rect l="l" t="t" r="r" b="b"/>
              <a:pathLst>
                <a:path w="272415" h="160654">
                  <a:moveTo>
                    <a:pt x="0" y="50270"/>
                  </a:moveTo>
                  <a:lnTo>
                    <a:pt x="0" y="50270"/>
                  </a:lnTo>
                  <a:lnTo>
                    <a:pt x="0" y="160471"/>
                  </a:lnTo>
                </a:path>
                <a:path w="272415" h="160654">
                  <a:moveTo>
                    <a:pt x="112910" y="0"/>
                  </a:moveTo>
                  <a:lnTo>
                    <a:pt x="112910" y="0"/>
                  </a:lnTo>
                  <a:lnTo>
                    <a:pt x="272329" y="0"/>
                  </a:lnTo>
                </a:path>
                <a:path w="272415" h="160654">
                  <a:moveTo>
                    <a:pt x="133793" y="44474"/>
                  </a:moveTo>
                  <a:lnTo>
                    <a:pt x="133793" y="44474"/>
                  </a:lnTo>
                  <a:lnTo>
                    <a:pt x="249549" y="44474"/>
                  </a:lnTo>
                </a:path>
              </a:pathLst>
            </a:custGeom>
            <a:ln w="12453">
              <a:solidFill>
                <a:srgbClr val="44AAE2"/>
              </a:solidFill>
            </a:ln>
          </p:spPr>
          <p:txBody>
            <a:bodyPr wrap="square" lIns="0" tIns="0" rIns="0" bIns="0" rtlCol="0"/>
            <a:lstStyle/>
            <a:p>
              <a:endParaRPr sz="1454"/>
            </a:p>
          </p:txBody>
        </p:sp>
        <p:pic>
          <p:nvPicPr>
            <p:cNvPr id="100" name="object 100"/>
            <p:cNvPicPr/>
            <p:nvPr/>
          </p:nvPicPr>
          <p:blipFill>
            <a:blip r:embed="rId21" cstate="print"/>
            <a:stretch>
              <a:fillRect/>
            </a:stretch>
          </p:blipFill>
          <p:spPr>
            <a:xfrm>
              <a:off x="1079166" y="7025165"/>
              <a:ext cx="249007" cy="207653"/>
            </a:xfrm>
            <a:prstGeom prst="rect">
              <a:avLst/>
            </a:prstGeom>
          </p:spPr>
        </p:pic>
        <p:sp>
          <p:nvSpPr>
            <p:cNvPr id="101" name="object 101"/>
            <p:cNvSpPr/>
            <p:nvPr/>
          </p:nvSpPr>
          <p:spPr>
            <a:xfrm>
              <a:off x="939448" y="6911273"/>
              <a:ext cx="599440" cy="590550"/>
            </a:xfrm>
            <a:custGeom>
              <a:avLst/>
              <a:gdLst/>
              <a:ahLst/>
              <a:cxnLst/>
              <a:rect l="l" t="t" r="r" b="b"/>
              <a:pathLst>
                <a:path w="599440" h="590550">
                  <a:moveTo>
                    <a:pt x="0" y="0"/>
                  </a:moveTo>
                  <a:lnTo>
                    <a:pt x="332390" y="0"/>
                  </a:lnTo>
                  <a:lnTo>
                    <a:pt x="383097" y="44884"/>
                  </a:lnTo>
                  <a:lnTo>
                    <a:pt x="451828" y="44884"/>
                  </a:lnTo>
                </a:path>
                <a:path w="599440" h="590550">
                  <a:moveTo>
                    <a:pt x="535205" y="109976"/>
                  </a:moveTo>
                  <a:lnTo>
                    <a:pt x="476619" y="109976"/>
                  </a:lnTo>
                  <a:lnTo>
                    <a:pt x="476619" y="292908"/>
                  </a:lnTo>
                </a:path>
                <a:path w="599440" h="590550">
                  <a:moveTo>
                    <a:pt x="599433" y="265974"/>
                  </a:moveTo>
                  <a:lnTo>
                    <a:pt x="552117" y="265974"/>
                  </a:lnTo>
                  <a:lnTo>
                    <a:pt x="505912" y="328824"/>
                  </a:lnTo>
                  <a:lnTo>
                    <a:pt x="434930" y="328824"/>
                  </a:lnTo>
                  <a:lnTo>
                    <a:pt x="434930" y="80801"/>
                  </a:lnTo>
                  <a:lnTo>
                    <a:pt x="360557" y="80801"/>
                  </a:lnTo>
                  <a:lnTo>
                    <a:pt x="304222" y="33674"/>
                  </a:lnTo>
                  <a:lnTo>
                    <a:pt x="95774" y="33674"/>
                  </a:lnTo>
                  <a:lnTo>
                    <a:pt x="95774" y="139167"/>
                  </a:lnTo>
                  <a:lnTo>
                    <a:pt x="30423" y="200882"/>
                  </a:lnTo>
                  <a:lnTo>
                    <a:pt x="30423" y="407384"/>
                  </a:lnTo>
                  <a:lnTo>
                    <a:pt x="0" y="407384"/>
                  </a:lnTo>
                </a:path>
                <a:path w="599440" h="590550">
                  <a:moveTo>
                    <a:pt x="345911" y="67334"/>
                  </a:moveTo>
                  <a:lnTo>
                    <a:pt x="345911" y="67334"/>
                  </a:lnTo>
                  <a:lnTo>
                    <a:pt x="95774" y="67334"/>
                  </a:lnTo>
                </a:path>
                <a:path w="599440" h="590550">
                  <a:moveTo>
                    <a:pt x="70986" y="217711"/>
                  </a:moveTo>
                  <a:lnTo>
                    <a:pt x="70986" y="407384"/>
                  </a:lnTo>
                  <a:lnTo>
                    <a:pt x="125070" y="407384"/>
                  </a:lnTo>
                  <a:lnTo>
                    <a:pt x="173514" y="352380"/>
                  </a:lnTo>
                  <a:lnTo>
                    <a:pt x="375204" y="352380"/>
                  </a:lnTo>
                </a:path>
                <a:path w="599440" h="590550">
                  <a:moveTo>
                    <a:pt x="375204" y="379314"/>
                  </a:moveTo>
                  <a:lnTo>
                    <a:pt x="375204" y="407384"/>
                  </a:lnTo>
                  <a:lnTo>
                    <a:pt x="397744" y="429818"/>
                  </a:lnTo>
                  <a:lnTo>
                    <a:pt x="535205" y="429818"/>
                  </a:lnTo>
                </a:path>
                <a:path w="599440" h="590550">
                  <a:moveTo>
                    <a:pt x="516056" y="460123"/>
                  </a:moveTo>
                  <a:lnTo>
                    <a:pt x="375204" y="460123"/>
                  </a:lnTo>
                  <a:lnTo>
                    <a:pt x="324511" y="417473"/>
                  </a:lnTo>
                  <a:lnTo>
                    <a:pt x="255781" y="417473"/>
                  </a:lnTo>
                </a:path>
                <a:path w="599440" h="590550">
                  <a:moveTo>
                    <a:pt x="0" y="438801"/>
                  </a:moveTo>
                  <a:lnTo>
                    <a:pt x="139718" y="438801"/>
                  </a:lnTo>
                  <a:lnTo>
                    <a:pt x="194929" y="484811"/>
                  </a:lnTo>
                  <a:lnTo>
                    <a:pt x="264785" y="484811"/>
                  </a:lnTo>
                </a:path>
                <a:path w="599440" h="590550">
                  <a:moveTo>
                    <a:pt x="70986" y="507257"/>
                  </a:moveTo>
                  <a:lnTo>
                    <a:pt x="139718" y="507257"/>
                  </a:lnTo>
                  <a:lnTo>
                    <a:pt x="193803" y="554391"/>
                  </a:lnTo>
                  <a:lnTo>
                    <a:pt x="329013" y="554391"/>
                  </a:lnTo>
                </a:path>
                <a:path w="599440" h="590550">
                  <a:moveTo>
                    <a:pt x="199431" y="590303"/>
                  </a:moveTo>
                  <a:lnTo>
                    <a:pt x="338032" y="590303"/>
                  </a:lnTo>
                  <a:lnTo>
                    <a:pt x="388725" y="547657"/>
                  </a:lnTo>
                  <a:lnTo>
                    <a:pt x="460847" y="547657"/>
                  </a:lnTo>
                </a:path>
              </a:pathLst>
            </a:custGeom>
            <a:ln w="14618">
              <a:solidFill>
                <a:srgbClr val="44AAE2"/>
              </a:solidFill>
            </a:ln>
          </p:spPr>
          <p:txBody>
            <a:bodyPr wrap="square" lIns="0" tIns="0" rIns="0" bIns="0" rtlCol="0"/>
            <a:lstStyle/>
            <a:p>
              <a:endParaRPr sz="1454"/>
            </a:p>
          </p:txBody>
        </p:sp>
        <p:pic>
          <p:nvPicPr>
            <p:cNvPr id="102" name="object 102"/>
            <p:cNvPicPr/>
            <p:nvPr/>
          </p:nvPicPr>
          <p:blipFill>
            <a:blip r:embed="rId22" cstate="print"/>
            <a:stretch>
              <a:fillRect/>
            </a:stretch>
          </p:blipFill>
          <p:spPr>
            <a:xfrm>
              <a:off x="1383967" y="6921914"/>
              <a:ext cx="153205" cy="133578"/>
            </a:xfrm>
            <a:prstGeom prst="rect">
              <a:avLst/>
            </a:prstGeom>
          </p:spPr>
        </p:pic>
        <p:pic>
          <p:nvPicPr>
            <p:cNvPr id="103" name="object 103"/>
            <p:cNvPicPr/>
            <p:nvPr/>
          </p:nvPicPr>
          <p:blipFill>
            <a:blip r:embed="rId23" cstate="print"/>
            <a:stretch>
              <a:fillRect/>
            </a:stretch>
          </p:blipFill>
          <p:spPr>
            <a:xfrm>
              <a:off x="1468469" y="7305727"/>
              <a:ext cx="68703" cy="69610"/>
            </a:xfrm>
            <a:prstGeom prst="rect">
              <a:avLst/>
            </a:prstGeom>
          </p:spPr>
        </p:pic>
        <p:pic>
          <p:nvPicPr>
            <p:cNvPr id="104" name="object 104"/>
            <p:cNvPicPr/>
            <p:nvPr/>
          </p:nvPicPr>
          <p:blipFill>
            <a:blip r:embed="rId24" cstate="print"/>
            <a:stretch>
              <a:fillRect/>
            </a:stretch>
          </p:blipFill>
          <p:spPr>
            <a:xfrm>
              <a:off x="1395237" y="7425810"/>
              <a:ext cx="68702" cy="68486"/>
            </a:xfrm>
            <a:prstGeom prst="rect">
              <a:avLst/>
            </a:prstGeom>
          </p:spPr>
        </p:pic>
        <p:pic>
          <p:nvPicPr>
            <p:cNvPr id="105" name="object 105"/>
            <p:cNvPicPr/>
            <p:nvPr/>
          </p:nvPicPr>
          <p:blipFill>
            <a:blip r:embed="rId25" cstate="print"/>
            <a:stretch>
              <a:fillRect/>
            </a:stretch>
          </p:blipFill>
          <p:spPr>
            <a:xfrm>
              <a:off x="1130445" y="7294503"/>
              <a:ext cx="135181" cy="140314"/>
            </a:xfrm>
            <a:prstGeom prst="rect">
              <a:avLst/>
            </a:prstGeom>
          </p:spPr>
        </p:pic>
        <p:pic>
          <p:nvPicPr>
            <p:cNvPr id="106" name="object 106"/>
            <p:cNvPicPr/>
            <p:nvPr/>
          </p:nvPicPr>
          <p:blipFill>
            <a:blip r:embed="rId26" cstate="print"/>
            <a:stretch>
              <a:fillRect/>
            </a:stretch>
          </p:blipFill>
          <p:spPr>
            <a:xfrm>
              <a:off x="946787" y="7384287"/>
              <a:ext cx="68702" cy="68486"/>
            </a:xfrm>
            <a:prstGeom prst="rect">
              <a:avLst/>
            </a:prstGeom>
          </p:spPr>
        </p:pic>
        <p:pic>
          <p:nvPicPr>
            <p:cNvPr id="107" name="object 107"/>
            <p:cNvPicPr/>
            <p:nvPr/>
          </p:nvPicPr>
          <p:blipFill>
            <a:blip r:embed="rId27" cstate="print"/>
            <a:stretch>
              <a:fillRect/>
            </a:stretch>
          </p:blipFill>
          <p:spPr>
            <a:xfrm>
              <a:off x="1139463" y="7066687"/>
              <a:ext cx="128413" cy="126852"/>
            </a:xfrm>
            <a:prstGeom prst="rect">
              <a:avLst/>
            </a:prstGeom>
          </p:spPr>
        </p:pic>
      </p:grpSp>
    </p:spTree>
  </p:cSld>
  <p:clrMapOvr>
    <a:masterClrMapping/>
  </p:clrMapOvr>
  <p:extLst>
    <p:ext uri="{6950BFC3-D8DA-4A85-94F7-54DA5524770B}">
      <p188:commentRel xmlns:p188="http://schemas.microsoft.com/office/powerpoint/2018/8/main" r:id="rId2"/>
    </p:ext>
  </p:extLs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object 5"/>
          <p:cNvSpPr/>
          <p:nvPr/>
        </p:nvSpPr>
        <p:spPr>
          <a:xfrm>
            <a:off x="818556" y="1503516"/>
            <a:ext cx="3222481" cy="4373707"/>
          </a:xfrm>
          <a:custGeom>
            <a:avLst/>
            <a:gdLst/>
            <a:ahLst/>
            <a:cxnLst/>
            <a:rect l="l" t="t" r="r" b="b"/>
            <a:pathLst>
              <a:path w="4726305" h="6414770">
                <a:moveTo>
                  <a:pt x="4725924" y="0"/>
                </a:moveTo>
                <a:lnTo>
                  <a:pt x="0" y="0"/>
                </a:lnTo>
                <a:lnTo>
                  <a:pt x="0" y="6414516"/>
                </a:lnTo>
                <a:lnTo>
                  <a:pt x="4725924" y="6414516"/>
                </a:lnTo>
                <a:lnTo>
                  <a:pt x="4725924" y="0"/>
                </a:lnTo>
                <a:close/>
              </a:path>
            </a:pathLst>
          </a:custGeom>
          <a:solidFill>
            <a:srgbClr val="C6EDFF"/>
          </a:solidFill>
        </p:spPr>
        <p:txBody>
          <a:bodyPr wrap="square" lIns="0" tIns="0" rIns="0" bIns="0" rtlCol="0"/>
          <a:lstStyle/>
          <a:p>
            <a:endParaRPr sz="1454"/>
          </a:p>
        </p:txBody>
      </p:sp>
      <p:sp>
        <p:nvSpPr>
          <p:cNvPr id="6" name="object 6"/>
          <p:cNvSpPr/>
          <p:nvPr/>
        </p:nvSpPr>
        <p:spPr>
          <a:xfrm>
            <a:off x="4176897" y="1520141"/>
            <a:ext cx="3222481" cy="4373707"/>
          </a:xfrm>
          <a:custGeom>
            <a:avLst/>
            <a:gdLst/>
            <a:ahLst/>
            <a:cxnLst/>
            <a:rect l="l" t="t" r="r" b="b"/>
            <a:pathLst>
              <a:path w="4726305" h="6414770">
                <a:moveTo>
                  <a:pt x="4725924" y="0"/>
                </a:moveTo>
                <a:lnTo>
                  <a:pt x="0" y="0"/>
                </a:lnTo>
                <a:lnTo>
                  <a:pt x="0" y="6414515"/>
                </a:lnTo>
                <a:lnTo>
                  <a:pt x="4725924" y="6414515"/>
                </a:lnTo>
                <a:lnTo>
                  <a:pt x="4725924" y="0"/>
                </a:lnTo>
                <a:close/>
              </a:path>
            </a:pathLst>
          </a:custGeom>
          <a:solidFill>
            <a:srgbClr val="D4EFD2"/>
          </a:solidFill>
        </p:spPr>
        <p:txBody>
          <a:bodyPr wrap="square" lIns="0" tIns="0" rIns="0" bIns="0" rtlCol="0"/>
          <a:lstStyle/>
          <a:p>
            <a:endParaRPr sz="1454"/>
          </a:p>
        </p:txBody>
      </p:sp>
      <p:sp>
        <p:nvSpPr>
          <p:cNvPr id="7" name="object 7"/>
          <p:cNvSpPr/>
          <p:nvPr/>
        </p:nvSpPr>
        <p:spPr>
          <a:xfrm>
            <a:off x="7549787" y="1503516"/>
            <a:ext cx="3279631" cy="4390159"/>
          </a:xfrm>
          <a:custGeom>
            <a:avLst/>
            <a:gdLst/>
            <a:ahLst/>
            <a:cxnLst/>
            <a:rect l="l" t="t" r="r" b="b"/>
            <a:pathLst>
              <a:path w="4810125" h="6438900">
                <a:moveTo>
                  <a:pt x="4809743" y="0"/>
                </a:moveTo>
                <a:lnTo>
                  <a:pt x="0" y="0"/>
                </a:lnTo>
                <a:lnTo>
                  <a:pt x="0" y="6438900"/>
                </a:lnTo>
                <a:lnTo>
                  <a:pt x="4809743" y="6438900"/>
                </a:lnTo>
                <a:lnTo>
                  <a:pt x="4809743" y="0"/>
                </a:lnTo>
                <a:close/>
              </a:path>
            </a:pathLst>
          </a:custGeom>
          <a:solidFill>
            <a:srgbClr val="878A8D">
              <a:alpha val="19999"/>
            </a:srgbClr>
          </a:solidFill>
        </p:spPr>
        <p:txBody>
          <a:bodyPr wrap="square" lIns="0" tIns="0" rIns="0" bIns="0" rtlCol="0"/>
          <a:lstStyle/>
          <a:p>
            <a:endParaRPr sz="1454"/>
          </a:p>
        </p:txBody>
      </p:sp>
      <p:sp>
        <p:nvSpPr>
          <p:cNvPr id="8" name="object 8"/>
          <p:cNvSpPr txBox="1"/>
          <p:nvPr/>
        </p:nvSpPr>
        <p:spPr>
          <a:xfrm>
            <a:off x="935558" y="1848563"/>
            <a:ext cx="3005138" cy="3672824"/>
          </a:xfrm>
          <a:prstGeom prst="rect">
            <a:avLst/>
          </a:prstGeom>
        </p:spPr>
        <p:txBody>
          <a:bodyPr vert="horz" wrap="square" lIns="0" tIns="8659" rIns="0" bIns="0" rtlCol="0">
            <a:spAutoFit/>
          </a:bodyPr>
          <a:lstStyle/>
          <a:p>
            <a:pPr marL="233356" marR="1293201" indent="-233789">
              <a:lnSpc>
                <a:spcPct val="107100"/>
              </a:lnSpc>
              <a:spcBef>
                <a:spcPts val="68"/>
              </a:spcBef>
              <a:buChar char="•"/>
              <a:tabLst>
                <a:tab pos="233356" algn="l"/>
              </a:tabLst>
            </a:pPr>
            <a:r>
              <a:rPr sz="955">
                <a:solidFill>
                  <a:srgbClr val="626666"/>
                </a:solidFill>
                <a:latin typeface="Arial"/>
                <a:cs typeface="Arial"/>
              </a:rPr>
              <a:t>Strategic</a:t>
            </a:r>
            <a:r>
              <a:rPr sz="955" spc="-41">
                <a:solidFill>
                  <a:srgbClr val="626666"/>
                </a:solidFill>
                <a:latin typeface="Arial"/>
                <a:cs typeface="Arial"/>
              </a:rPr>
              <a:t> </a:t>
            </a:r>
            <a:r>
              <a:rPr sz="955">
                <a:solidFill>
                  <a:srgbClr val="626666"/>
                </a:solidFill>
                <a:latin typeface="Arial"/>
                <a:cs typeface="Arial"/>
              </a:rPr>
              <a:t>cost</a:t>
            </a:r>
            <a:r>
              <a:rPr sz="955" spc="-31">
                <a:solidFill>
                  <a:srgbClr val="626666"/>
                </a:solidFill>
                <a:latin typeface="Arial"/>
                <a:cs typeface="Arial"/>
              </a:rPr>
              <a:t> </a:t>
            </a:r>
            <a:r>
              <a:rPr sz="955">
                <a:solidFill>
                  <a:srgbClr val="626666"/>
                </a:solidFill>
                <a:latin typeface="Arial"/>
                <a:cs typeface="Arial"/>
              </a:rPr>
              <a:t>structure</a:t>
            </a:r>
            <a:r>
              <a:rPr sz="955" spc="-24">
                <a:solidFill>
                  <a:srgbClr val="626666"/>
                </a:solidFill>
                <a:latin typeface="Arial"/>
                <a:cs typeface="Arial"/>
              </a:rPr>
              <a:t> </a:t>
            </a:r>
            <a:r>
              <a:rPr sz="955" spc="-17">
                <a:solidFill>
                  <a:srgbClr val="626666"/>
                </a:solidFill>
                <a:latin typeface="Arial"/>
                <a:cs typeface="Arial"/>
              </a:rPr>
              <a:t>and </a:t>
            </a:r>
            <a:r>
              <a:rPr sz="955">
                <a:solidFill>
                  <a:srgbClr val="626666"/>
                </a:solidFill>
                <a:latin typeface="Arial"/>
                <a:cs typeface="Arial"/>
              </a:rPr>
              <a:t>organizational</a:t>
            </a:r>
            <a:r>
              <a:rPr sz="955" spc="-58">
                <a:solidFill>
                  <a:srgbClr val="626666"/>
                </a:solidFill>
                <a:latin typeface="Arial"/>
                <a:cs typeface="Arial"/>
              </a:rPr>
              <a:t> </a:t>
            </a:r>
            <a:r>
              <a:rPr sz="955" spc="-7">
                <a:solidFill>
                  <a:srgbClr val="626666"/>
                </a:solidFill>
                <a:latin typeface="Arial"/>
                <a:cs typeface="Arial"/>
              </a:rPr>
              <a:t>design</a:t>
            </a:r>
            <a:endParaRPr sz="955">
              <a:latin typeface="Arial"/>
              <a:cs typeface="Arial"/>
            </a:endParaRPr>
          </a:p>
          <a:p>
            <a:pPr marL="233356" marR="1031270" indent="-233789">
              <a:lnSpc>
                <a:spcPct val="106400"/>
              </a:lnSpc>
              <a:spcBef>
                <a:spcPts val="556"/>
              </a:spcBef>
              <a:buChar char="•"/>
              <a:tabLst>
                <a:tab pos="233356" algn="l"/>
              </a:tabLst>
            </a:pPr>
            <a:r>
              <a:rPr sz="955">
                <a:solidFill>
                  <a:srgbClr val="626666"/>
                </a:solidFill>
                <a:latin typeface="Arial"/>
                <a:cs typeface="Arial"/>
              </a:rPr>
              <a:t>Federal</a:t>
            </a:r>
            <a:r>
              <a:rPr sz="955" spc="-34">
                <a:solidFill>
                  <a:srgbClr val="626666"/>
                </a:solidFill>
                <a:latin typeface="Arial"/>
                <a:cs typeface="Arial"/>
              </a:rPr>
              <a:t> </a:t>
            </a:r>
            <a:r>
              <a:rPr sz="955">
                <a:solidFill>
                  <a:srgbClr val="626666"/>
                </a:solidFill>
                <a:latin typeface="Arial"/>
                <a:cs typeface="Arial"/>
              </a:rPr>
              <a:t>entity</a:t>
            </a:r>
            <a:r>
              <a:rPr sz="955" spc="-34">
                <a:solidFill>
                  <a:srgbClr val="626666"/>
                </a:solidFill>
                <a:latin typeface="Arial"/>
                <a:cs typeface="Arial"/>
              </a:rPr>
              <a:t> </a:t>
            </a:r>
            <a:r>
              <a:rPr sz="955">
                <a:solidFill>
                  <a:srgbClr val="626666"/>
                </a:solidFill>
                <a:latin typeface="Arial"/>
                <a:cs typeface="Arial"/>
              </a:rPr>
              <a:t>design</a:t>
            </a:r>
            <a:r>
              <a:rPr sz="955" spc="-27">
                <a:solidFill>
                  <a:srgbClr val="626666"/>
                </a:solidFill>
                <a:latin typeface="Arial"/>
                <a:cs typeface="Arial"/>
              </a:rPr>
              <a:t> </a:t>
            </a:r>
            <a:r>
              <a:rPr sz="955">
                <a:solidFill>
                  <a:srgbClr val="626666"/>
                </a:solidFill>
                <a:latin typeface="Arial"/>
                <a:cs typeface="Arial"/>
              </a:rPr>
              <a:t>for</a:t>
            </a:r>
            <a:r>
              <a:rPr sz="955" spc="-20">
                <a:solidFill>
                  <a:srgbClr val="626666"/>
                </a:solidFill>
                <a:latin typeface="Arial"/>
                <a:cs typeface="Arial"/>
              </a:rPr>
              <a:t> </a:t>
            </a:r>
            <a:r>
              <a:rPr sz="955" spc="-17">
                <a:solidFill>
                  <a:srgbClr val="626666"/>
                </a:solidFill>
                <a:latin typeface="Arial"/>
                <a:cs typeface="Arial"/>
              </a:rPr>
              <a:t>new </a:t>
            </a:r>
            <a:r>
              <a:rPr sz="955">
                <a:solidFill>
                  <a:srgbClr val="626666"/>
                </a:solidFill>
                <a:latin typeface="Arial"/>
                <a:cs typeface="Arial"/>
              </a:rPr>
              <a:t>government</a:t>
            </a:r>
            <a:r>
              <a:rPr sz="955" spc="-44">
                <a:solidFill>
                  <a:srgbClr val="626666"/>
                </a:solidFill>
                <a:latin typeface="Arial"/>
                <a:cs typeface="Arial"/>
              </a:rPr>
              <a:t> </a:t>
            </a:r>
            <a:r>
              <a:rPr sz="955">
                <a:solidFill>
                  <a:srgbClr val="626666"/>
                </a:solidFill>
                <a:latin typeface="Arial"/>
                <a:cs typeface="Arial"/>
              </a:rPr>
              <a:t>contracting</a:t>
            </a:r>
            <a:r>
              <a:rPr sz="955" spc="-48">
                <a:solidFill>
                  <a:srgbClr val="626666"/>
                </a:solidFill>
                <a:latin typeface="Arial"/>
                <a:cs typeface="Arial"/>
              </a:rPr>
              <a:t> </a:t>
            </a:r>
            <a:r>
              <a:rPr sz="955" spc="-7">
                <a:solidFill>
                  <a:srgbClr val="626666"/>
                </a:solidFill>
                <a:latin typeface="Arial"/>
                <a:cs typeface="Arial"/>
              </a:rPr>
              <a:t>entrants</a:t>
            </a:r>
            <a:endParaRPr sz="955">
              <a:latin typeface="Arial"/>
              <a:cs typeface="Arial"/>
            </a:endParaRPr>
          </a:p>
          <a:p>
            <a:pPr marL="233356" indent="-233356">
              <a:spcBef>
                <a:spcPts val="631"/>
              </a:spcBef>
              <a:buChar char="•"/>
              <a:tabLst>
                <a:tab pos="233356" algn="l"/>
              </a:tabLst>
            </a:pPr>
            <a:r>
              <a:rPr sz="955">
                <a:solidFill>
                  <a:srgbClr val="626666"/>
                </a:solidFill>
                <a:latin typeface="Arial"/>
                <a:cs typeface="Arial"/>
              </a:rPr>
              <a:t>M&amp;A</a:t>
            </a:r>
            <a:r>
              <a:rPr sz="955" spc="-68">
                <a:solidFill>
                  <a:srgbClr val="626666"/>
                </a:solidFill>
                <a:latin typeface="Arial"/>
                <a:cs typeface="Arial"/>
              </a:rPr>
              <a:t> </a:t>
            </a:r>
            <a:r>
              <a:rPr sz="955">
                <a:solidFill>
                  <a:srgbClr val="626666"/>
                </a:solidFill>
                <a:latin typeface="Arial"/>
                <a:cs typeface="Arial"/>
              </a:rPr>
              <a:t>due</a:t>
            </a:r>
            <a:r>
              <a:rPr sz="955" spc="-17">
                <a:solidFill>
                  <a:srgbClr val="626666"/>
                </a:solidFill>
                <a:latin typeface="Arial"/>
                <a:cs typeface="Arial"/>
              </a:rPr>
              <a:t> </a:t>
            </a:r>
            <a:r>
              <a:rPr sz="955">
                <a:solidFill>
                  <a:srgbClr val="626666"/>
                </a:solidFill>
                <a:latin typeface="Arial"/>
                <a:cs typeface="Arial"/>
              </a:rPr>
              <a:t>diligence</a:t>
            </a:r>
            <a:r>
              <a:rPr sz="955" spc="-24">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33356" indent="-233356">
              <a:spcBef>
                <a:spcPts val="624"/>
              </a:spcBef>
              <a:buChar char="•"/>
              <a:tabLst>
                <a:tab pos="233356" algn="l"/>
              </a:tabLst>
            </a:pPr>
            <a:r>
              <a:rPr sz="955">
                <a:solidFill>
                  <a:srgbClr val="626666"/>
                </a:solidFill>
                <a:latin typeface="Arial"/>
                <a:cs typeface="Arial"/>
              </a:rPr>
              <a:t>Commercial</a:t>
            </a:r>
            <a:r>
              <a:rPr sz="955" spc="-34">
                <a:solidFill>
                  <a:srgbClr val="626666"/>
                </a:solidFill>
                <a:latin typeface="Arial"/>
                <a:cs typeface="Arial"/>
              </a:rPr>
              <a:t> </a:t>
            </a:r>
            <a:r>
              <a:rPr sz="955">
                <a:solidFill>
                  <a:srgbClr val="626666"/>
                </a:solidFill>
                <a:latin typeface="Arial"/>
                <a:cs typeface="Arial"/>
              </a:rPr>
              <a:t>item</a:t>
            </a:r>
            <a:r>
              <a:rPr sz="955" spc="-31">
                <a:solidFill>
                  <a:srgbClr val="626666"/>
                </a:solidFill>
                <a:latin typeface="Arial"/>
                <a:cs typeface="Arial"/>
              </a:rPr>
              <a:t> </a:t>
            </a:r>
            <a:r>
              <a:rPr sz="955" spc="-7">
                <a:solidFill>
                  <a:srgbClr val="626666"/>
                </a:solidFill>
                <a:latin typeface="Arial"/>
                <a:cs typeface="Arial"/>
              </a:rPr>
              <a:t>determinations</a:t>
            </a:r>
            <a:endParaRPr sz="955">
              <a:latin typeface="Arial"/>
              <a:cs typeface="Arial"/>
            </a:endParaRPr>
          </a:p>
          <a:p>
            <a:pPr marL="233356" marR="187897" indent="-233789">
              <a:lnSpc>
                <a:spcPct val="106800"/>
              </a:lnSpc>
              <a:spcBef>
                <a:spcPts val="552"/>
              </a:spcBef>
              <a:buChar char="•"/>
              <a:tabLst>
                <a:tab pos="233356" algn="l"/>
              </a:tabLst>
            </a:pPr>
            <a:r>
              <a:rPr sz="955">
                <a:solidFill>
                  <a:srgbClr val="626666"/>
                </a:solidFill>
                <a:latin typeface="Arial"/>
                <a:cs typeface="Arial"/>
              </a:rPr>
              <a:t>Government</a:t>
            </a:r>
            <a:r>
              <a:rPr sz="955" spc="-27">
                <a:solidFill>
                  <a:srgbClr val="626666"/>
                </a:solidFill>
                <a:latin typeface="Arial"/>
                <a:cs typeface="Arial"/>
              </a:rPr>
              <a:t> </a:t>
            </a:r>
            <a:r>
              <a:rPr sz="955">
                <a:solidFill>
                  <a:srgbClr val="626666"/>
                </a:solidFill>
                <a:latin typeface="Arial"/>
                <a:cs typeface="Arial"/>
              </a:rPr>
              <a:t>audit</a:t>
            </a:r>
            <a:r>
              <a:rPr sz="955" spc="-27">
                <a:solidFill>
                  <a:srgbClr val="626666"/>
                </a:solidFill>
                <a:latin typeface="Arial"/>
                <a:cs typeface="Arial"/>
              </a:rPr>
              <a:t> </a:t>
            </a:r>
            <a:r>
              <a:rPr sz="955">
                <a:solidFill>
                  <a:srgbClr val="626666"/>
                </a:solidFill>
                <a:latin typeface="Arial"/>
                <a:cs typeface="Arial"/>
              </a:rPr>
              <a:t>life</a:t>
            </a:r>
            <a:r>
              <a:rPr sz="955" spc="-14">
                <a:solidFill>
                  <a:srgbClr val="626666"/>
                </a:solidFill>
                <a:latin typeface="Arial"/>
                <a:cs typeface="Arial"/>
              </a:rPr>
              <a:t> </a:t>
            </a:r>
            <a:r>
              <a:rPr sz="955">
                <a:solidFill>
                  <a:srgbClr val="626666"/>
                </a:solidFill>
                <a:latin typeface="Arial"/>
                <a:cs typeface="Arial"/>
              </a:rPr>
              <a:t>cycle</a:t>
            </a:r>
            <a:r>
              <a:rPr sz="955" spc="-20">
                <a:solidFill>
                  <a:srgbClr val="626666"/>
                </a:solidFill>
                <a:latin typeface="Arial"/>
                <a:cs typeface="Arial"/>
              </a:rPr>
              <a:t> </a:t>
            </a:r>
            <a:r>
              <a:rPr sz="955">
                <a:solidFill>
                  <a:srgbClr val="626666"/>
                </a:solidFill>
                <a:latin typeface="Arial"/>
                <a:cs typeface="Arial"/>
              </a:rPr>
              <a:t>support</a:t>
            </a:r>
            <a:r>
              <a:rPr sz="955" spc="-34">
                <a:solidFill>
                  <a:srgbClr val="626666"/>
                </a:solidFill>
                <a:latin typeface="Arial"/>
                <a:cs typeface="Arial"/>
              </a:rPr>
              <a:t> </a:t>
            </a:r>
            <a:r>
              <a:rPr sz="955">
                <a:solidFill>
                  <a:srgbClr val="626666"/>
                </a:solidFill>
                <a:latin typeface="Arial"/>
                <a:cs typeface="Arial"/>
              </a:rPr>
              <a:t>from</a:t>
            </a:r>
            <a:r>
              <a:rPr sz="955" spc="-20">
                <a:solidFill>
                  <a:srgbClr val="626666"/>
                </a:solidFill>
                <a:latin typeface="Arial"/>
                <a:cs typeface="Arial"/>
              </a:rPr>
              <a:t> </a:t>
            </a:r>
            <a:r>
              <a:rPr sz="955" spc="-7">
                <a:solidFill>
                  <a:srgbClr val="626666"/>
                </a:solidFill>
                <a:latin typeface="Arial"/>
                <a:cs typeface="Arial"/>
              </a:rPr>
              <a:t>audit </a:t>
            </a:r>
            <a:r>
              <a:rPr sz="955">
                <a:solidFill>
                  <a:srgbClr val="626666"/>
                </a:solidFill>
                <a:latin typeface="Arial"/>
                <a:cs typeface="Arial"/>
              </a:rPr>
              <a:t>preparation</a:t>
            </a:r>
            <a:r>
              <a:rPr sz="955" spc="-51">
                <a:solidFill>
                  <a:srgbClr val="626666"/>
                </a:solidFill>
                <a:latin typeface="Arial"/>
                <a:cs typeface="Arial"/>
              </a:rPr>
              <a:t> </a:t>
            </a:r>
            <a:r>
              <a:rPr sz="955">
                <a:solidFill>
                  <a:srgbClr val="626666"/>
                </a:solidFill>
                <a:latin typeface="Arial"/>
                <a:cs typeface="Arial"/>
              </a:rPr>
              <a:t>through</a:t>
            </a:r>
            <a:r>
              <a:rPr sz="955" spc="-41">
                <a:solidFill>
                  <a:srgbClr val="626666"/>
                </a:solidFill>
                <a:latin typeface="Arial"/>
                <a:cs typeface="Arial"/>
              </a:rPr>
              <a:t> </a:t>
            </a:r>
            <a:r>
              <a:rPr sz="955">
                <a:solidFill>
                  <a:srgbClr val="626666"/>
                </a:solidFill>
                <a:latin typeface="Arial"/>
                <a:cs typeface="Arial"/>
              </a:rPr>
              <a:t>audit</a:t>
            </a:r>
            <a:r>
              <a:rPr sz="955" spc="-31">
                <a:solidFill>
                  <a:srgbClr val="626666"/>
                </a:solidFill>
                <a:latin typeface="Arial"/>
                <a:cs typeface="Arial"/>
              </a:rPr>
              <a:t> </a:t>
            </a:r>
            <a:r>
              <a:rPr sz="955">
                <a:solidFill>
                  <a:srgbClr val="626666"/>
                </a:solidFill>
                <a:latin typeface="Arial"/>
                <a:cs typeface="Arial"/>
              </a:rPr>
              <a:t>response</a:t>
            </a:r>
            <a:r>
              <a:rPr sz="955" spc="-37">
                <a:solidFill>
                  <a:srgbClr val="626666"/>
                </a:solidFill>
                <a:latin typeface="Arial"/>
                <a:cs typeface="Arial"/>
              </a:rPr>
              <a:t> </a:t>
            </a:r>
            <a:r>
              <a:rPr sz="955">
                <a:solidFill>
                  <a:srgbClr val="626666"/>
                </a:solidFill>
                <a:latin typeface="Arial"/>
                <a:cs typeface="Arial"/>
              </a:rPr>
              <a:t>strategy</a:t>
            </a:r>
            <a:r>
              <a:rPr sz="955" spc="-44">
                <a:solidFill>
                  <a:srgbClr val="626666"/>
                </a:solidFill>
                <a:latin typeface="Arial"/>
                <a:cs typeface="Arial"/>
              </a:rPr>
              <a:t> </a:t>
            </a:r>
            <a:r>
              <a:rPr sz="955" spc="-17">
                <a:solidFill>
                  <a:srgbClr val="626666"/>
                </a:solidFill>
                <a:latin typeface="Arial"/>
                <a:cs typeface="Arial"/>
              </a:rPr>
              <a:t>and </a:t>
            </a:r>
            <a:r>
              <a:rPr sz="955">
                <a:solidFill>
                  <a:srgbClr val="626666"/>
                </a:solidFill>
                <a:latin typeface="Arial"/>
                <a:cs typeface="Arial"/>
              </a:rPr>
              <a:t>corrective</a:t>
            </a:r>
            <a:r>
              <a:rPr sz="955" spc="-34">
                <a:solidFill>
                  <a:srgbClr val="626666"/>
                </a:solidFill>
                <a:latin typeface="Arial"/>
                <a:cs typeface="Arial"/>
              </a:rPr>
              <a:t> </a:t>
            </a:r>
            <a:r>
              <a:rPr sz="955">
                <a:solidFill>
                  <a:srgbClr val="626666"/>
                </a:solidFill>
                <a:latin typeface="Arial"/>
                <a:cs typeface="Arial"/>
              </a:rPr>
              <a:t>action</a:t>
            </a:r>
            <a:r>
              <a:rPr sz="955" spc="-34">
                <a:solidFill>
                  <a:srgbClr val="626666"/>
                </a:solidFill>
                <a:latin typeface="Arial"/>
                <a:cs typeface="Arial"/>
              </a:rPr>
              <a:t> </a:t>
            </a:r>
            <a:r>
              <a:rPr sz="955" spc="-7">
                <a:solidFill>
                  <a:srgbClr val="626666"/>
                </a:solidFill>
                <a:latin typeface="Arial"/>
                <a:cs typeface="Arial"/>
              </a:rPr>
              <a:t>development</a:t>
            </a:r>
            <a:endParaRPr sz="955">
              <a:latin typeface="Arial"/>
              <a:cs typeface="Arial"/>
            </a:endParaRPr>
          </a:p>
          <a:p>
            <a:pPr marL="233356" indent="-233356">
              <a:spcBef>
                <a:spcPts val="627"/>
              </a:spcBef>
              <a:buChar char="•"/>
              <a:tabLst>
                <a:tab pos="233356" algn="l"/>
              </a:tabLst>
            </a:pPr>
            <a:r>
              <a:rPr sz="955">
                <a:solidFill>
                  <a:srgbClr val="626666"/>
                </a:solidFill>
                <a:latin typeface="Arial"/>
                <a:cs typeface="Arial"/>
              </a:rPr>
              <a:t>Contract</a:t>
            </a:r>
            <a:r>
              <a:rPr sz="955" spc="-34">
                <a:solidFill>
                  <a:srgbClr val="626666"/>
                </a:solidFill>
                <a:latin typeface="Arial"/>
                <a:cs typeface="Arial"/>
              </a:rPr>
              <a:t> </a:t>
            </a:r>
            <a:r>
              <a:rPr sz="955">
                <a:solidFill>
                  <a:srgbClr val="626666"/>
                </a:solidFill>
                <a:latin typeface="Arial"/>
                <a:cs typeface="Arial"/>
              </a:rPr>
              <a:t>claims,</a:t>
            </a:r>
            <a:r>
              <a:rPr sz="955" spc="-27">
                <a:solidFill>
                  <a:srgbClr val="626666"/>
                </a:solidFill>
                <a:latin typeface="Arial"/>
                <a:cs typeface="Arial"/>
              </a:rPr>
              <a:t> </a:t>
            </a:r>
            <a:r>
              <a:rPr sz="955">
                <a:solidFill>
                  <a:srgbClr val="626666"/>
                </a:solidFill>
                <a:latin typeface="Arial"/>
                <a:cs typeface="Arial"/>
              </a:rPr>
              <a:t>disputes</a:t>
            </a:r>
            <a:r>
              <a:rPr sz="955" spc="-37">
                <a:solidFill>
                  <a:srgbClr val="626666"/>
                </a:solidFill>
                <a:latin typeface="Arial"/>
                <a:cs typeface="Arial"/>
              </a:rPr>
              <a:t> </a:t>
            </a:r>
            <a:r>
              <a:rPr sz="955">
                <a:solidFill>
                  <a:srgbClr val="626666"/>
                </a:solidFill>
                <a:latin typeface="Arial"/>
                <a:cs typeface="Arial"/>
              </a:rPr>
              <a:t>and</a:t>
            </a:r>
            <a:r>
              <a:rPr sz="955" spc="-20">
                <a:solidFill>
                  <a:srgbClr val="626666"/>
                </a:solidFill>
                <a:latin typeface="Arial"/>
                <a:cs typeface="Arial"/>
              </a:rPr>
              <a:t> </a:t>
            </a:r>
            <a:r>
              <a:rPr sz="955">
                <a:solidFill>
                  <a:srgbClr val="626666"/>
                </a:solidFill>
                <a:latin typeface="Arial"/>
                <a:cs typeface="Arial"/>
              </a:rPr>
              <a:t>litigation</a:t>
            </a:r>
            <a:r>
              <a:rPr sz="955" spc="-24">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33356" marR="118626" indent="-233789">
              <a:lnSpc>
                <a:spcPct val="107200"/>
              </a:lnSpc>
              <a:spcBef>
                <a:spcPts val="542"/>
              </a:spcBef>
              <a:buChar char="•"/>
              <a:tabLst>
                <a:tab pos="233356" algn="l"/>
              </a:tabLst>
            </a:pPr>
            <a:r>
              <a:rPr sz="955">
                <a:solidFill>
                  <a:srgbClr val="626666"/>
                </a:solidFill>
                <a:latin typeface="Arial"/>
                <a:cs typeface="Arial"/>
              </a:rPr>
              <a:t>Request</a:t>
            </a:r>
            <a:r>
              <a:rPr sz="955" spc="-27">
                <a:solidFill>
                  <a:srgbClr val="626666"/>
                </a:solidFill>
                <a:latin typeface="Arial"/>
                <a:cs typeface="Arial"/>
              </a:rPr>
              <a:t> </a:t>
            </a:r>
            <a:r>
              <a:rPr sz="955">
                <a:solidFill>
                  <a:srgbClr val="626666"/>
                </a:solidFill>
                <a:latin typeface="Arial"/>
                <a:cs typeface="Arial"/>
              </a:rPr>
              <a:t>for</a:t>
            </a:r>
            <a:r>
              <a:rPr sz="955" spc="-27">
                <a:solidFill>
                  <a:srgbClr val="626666"/>
                </a:solidFill>
                <a:latin typeface="Arial"/>
                <a:cs typeface="Arial"/>
              </a:rPr>
              <a:t> </a:t>
            </a:r>
            <a:r>
              <a:rPr sz="955">
                <a:solidFill>
                  <a:srgbClr val="626666"/>
                </a:solidFill>
                <a:latin typeface="Arial"/>
                <a:cs typeface="Arial"/>
              </a:rPr>
              <a:t>equitable</a:t>
            </a:r>
            <a:r>
              <a:rPr sz="955" spc="-34">
                <a:solidFill>
                  <a:srgbClr val="626666"/>
                </a:solidFill>
                <a:latin typeface="Arial"/>
                <a:cs typeface="Arial"/>
              </a:rPr>
              <a:t> </a:t>
            </a:r>
            <a:r>
              <a:rPr sz="955">
                <a:solidFill>
                  <a:srgbClr val="626666"/>
                </a:solidFill>
                <a:latin typeface="Arial"/>
                <a:cs typeface="Arial"/>
              </a:rPr>
              <a:t>adjustment</a:t>
            </a:r>
            <a:r>
              <a:rPr sz="955" spc="-34">
                <a:solidFill>
                  <a:srgbClr val="626666"/>
                </a:solidFill>
                <a:latin typeface="Arial"/>
                <a:cs typeface="Arial"/>
              </a:rPr>
              <a:t> </a:t>
            </a:r>
            <a:r>
              <a:rPr sz="955">
                <a:solidFill>
                  <a:srgbClr val="626666"/>
                </a:solidFill>
                <a:latin typeface="Arial"/>
                <a:cs typeface="Arial"/>
              </a:rPr>
              <a:t>(REA)</a:t>
            </a:r>
            <a:r>
              <a:rPr sz="955" spc="-14">
                <a:solidFill>
                  <a:srgbClr val="626666"/>
                </a:solidFill>
                <a:latin typeface="Arial"/>
                <a:cs typeface="Arial"/>
              </a:rPr>
              <a:t> </a:t>
            </a:r>
            <a:r>
              <a:rPr sz="955" spc="-17">
                <a:solidFill>
                  <a:srgbClr val="626666"/>
                </a:solidFill>
                <a:latin typeface="Arial"/>
                <a:cs typeface="Arial"/>
              </a:rPr>
              <a:t>and </a:t>
            </a:r>
            <a:r>
              <a:rPr sz="955">
                <a:solidFill>
                  <a:srgbClr val="626666"/>
                </a:solidFill>
                <a:latin typeface="Arial"/>
                <a:cs typeface="Arial"/>
              </a:rPr>
              <a:t>termination</a:t>
            </a:r>
            <a:r>
              <a:rPr sz="955" spc="-61">
                <a:solidFill>
                  <a:srgbClr val="626666"/>
                </a:solidFill>
                <a:latin typeface="Arial"/>
                <a:cs typeface="Arial"/>
              </a:rPr>
              <a:t> </a:t>
            </a:r>
            <a:r>
              <a:rPr sz="955">
                <a:solidFill>
                  <a:srgbClr val="626666"/>
                </a:solidFill>
                <a:latin typeface="Arial"/>
                <a:cs typeface="Arial"/>
              </a:rPr>
              <a:t>settlement</a:t>
            </a:r>
            <a:r>
              <a:rPr sz="955" spc="-58">
                <a:solidFill>
                  <a:srgbClr val="626666"/>
                </a:solidFill>
                <a:latin typeface="Arial"/>
                <a:cs typeface="Arial"/>
              </a:rPr>
              <a:t> </a:t>
            </a:r>
            <a:r>
              <a:rPr sz="955">
                <a:solidFill>
                  <a:srgbClr val="626666"/>
                </a:solidFill>
                <a:latin typeface="Arial"/>
                <a:cs typeface="Arial"/>
              </a:rPr>
              <a:t>proposal</a:t>
            </a:r>
            <a:r>
              <a:rPr sz="955" spc="-58">
                <a:solidFill>
                  <a:srgbClr val="626666"/>
                </a:solidFill>
                <a:latin typeface="Arial"/>
                <a:cs typeface="Arial"/>
              </a:rPr>
              <a:t> </a:t>
            </a:r>
            <a:r>
              <a:rPr sz="955">
                <a:solidFill>
                  <a:srgbClr val="626666"/>
                </a:solidFill>
                <a:latin typeface="Arial"/>
                <a:cs typeface="Arial"/>
              </a:rPr>
              <a:t>development</a:t>
            </a:r>
            <a:r>
              <a:rPr sz="955" spc="-51">
                <a:solidFill>
                  <a:srgbClr val="626666"/>
                </a:solidFill>
                <a:latin typeface="Arial"/>
                <a:cs typeface="Arial"/>
              </a:rPr>
              <a:t> </a:t>
            </a:r>
            <a:r>
              <a:rPr sz="955" spc="-17">
                <a:solidFill>
                  <a:srgbClr val="626666"/>
                </a:solidFill>
                <a:latin typeface="Arial"/>
                <a:cs typeface="Arial"/>
              </a:rPr>
              <a:t>and </a:t>
            </a:r>
            <a:r>
              <a:rPr sz="955">
                <a:solidFill>
                  <a:srgbClr val="626666"/>
                </a:solidFill>
                <a:latin typeface="Arial"/>
                <a:cs typeface="Arial"/>
              </a:rPr>
              <a:t>negotiation</a:t>
            </a:r>
            <a:r>
              <a:rPr sz="955" spc="-48">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33356" indent="-233356">
              <a:spcBef>
                <a:spcPts val="620"/>
              </a:spcBef>
              <a:buChar char="•"/>
              <a:tabLst>
                <a:tab pos="233356" algn="l"/>
              </a:tabLst>
            </a:pPr>
            <a:r>
              <a:rPr sz="955">
                <a:solidFill>
                  <a:srgbClr val="626666"/>
                </a:solidFill>
                <a:latin typeface="Arial"/>
                <a:cs typeface="Arial"/>
              </a:rPr>
              <a:t>SCA</a:t>
            </a:r>
            <a:r>
              <a:rPr sz="955" spc="-61">
                <a:solidFill>
                  <a:srgbClr val="626666"/>
                </a:solidFill>
                <a:latin typeface="Arial"/>
                <a:cs typeface="Arial"/>
              </a:rPr>
              <a:t> </a:t>
            </a:r>
            <a:r>
              <a:rPr sz="955">
                <a:solidFill>
                  <a:srgbClr val="626666"/>
                </a:solidFill>
                <a:latin typeface="Arial"/>
                <a:cs typeface="Arial"/>
              </a:rPr>
              <a:t>and</a:t>
            </a:r>
            <a:r>
              <a:rPr sz="955" spc="-14">
                <a:solidFill>
                  <a:srgbClr val="626666"/>
                </a:solidFill>
                <a:latin typeface="Arial"/>
                <a:cs typeface="Arial"/>
              </a:rPr>
              <a:t> </a:t>
            </a:r>
            <a:r>
              <a:rPr sz="955">
                <a:solidFill>
                  <a:srgbClr val="626666"/>
                </a:solidFill>
                <a:latin typeface="Arial"/>
                <a:cs typeface="Arial"/>
              </a:rPr>
              <a:t>labor</a:t>
            </a:r>
            <a:r>
              <a:rPr sz="955" spc="-24">
                <a:solidFill>
                  <a:srgbClr val="626666"/>
                </a:solidFill>
                <a:latin typeface="Arial"/>
                <a:cs typeface="Arial"/>
              </a:rPr>
              <a:t> </a:t>
            </a:r>
            <a:r>
              <a:rPr sz="955">
                <a:solidFill>
                  <a:srgbClr val="626666"/>
                </a:solidFill>
                <a:latin typeface="Arial"/>
                <a:cs typeface="Arial"/>
              </a:rPr>
              <a:t>law</a:t>
            </a:r>
            <a:r>
              <a:rPr sz="955" spc="-17">
                <a:solidFill>
                  <a:srgbClr val="626666"/>
                </a:solidFill>
                <a:latin typeface="Arial"/>
                <a:cs typeface="Arial"/>
              </a:rPr>
              <a:t> </a:t>
            </a:r>
            <a:r>
              <a:rPr sz="955">
                <a:solidFill>
                  <a:srgbClr val="626666"/>
                </a:solidFill>
                <a:latin typeface="Arial"/>
                <a:cs typeface="Arial"/>
              </a:rPr>
              <a:t>compliance</a:t>
            </a:r>
            <a:r>
              <a:rPr sz="955" spc="-31">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33356" marR="3464" indent="-233789">
              <a:lnSpc>
                <a:spcPct val="107100"/>
              </a:lnSpc>
              <a:spcBef>
                <a:spcPts val="549"/>
              </a:spcBef>
              <a:buChar char="•"/>
              <a:tabLst>
                <a:tab pos="233356" algn="l"/>
              </a:tabLst>
            </a:pPr>
            <a:r>
              <a:rPr sz="955">
                <a:solidFill>
                  <a:srgbClr val="626666"/>
                </a:solidFill>
                <a:latin typeface="Arial"/>
                <a:cs typeface="Arial"/>
              </a:rPr>
              <a:t>Government</a:t>
            </a:r>
            <a:r>
              <a:rPr sz="955" spc="-44">
                <a:solidFill>
                  <a:srgbClr val="626666"/>
                </a:solidFill>
                <a:latin typeface="Arial"/>
                <a:cs typeface="Arial"/>
              </a:rPr>
              <a:t> </a:t>
            </a:r>
            <a:r>
              <a:rPr sz="955">
                <a:solidFill>
                  <a:srgbClr val="626666"/>
                </a:solidFill>
                <a:latin typeface="Arial"/>
                <a:cs typeface="Arial"/>
              </a:rPr>
              <a:t>contract/grant</a:t>
            </a:r>
            <a:r>
              <a:rPr sz="955" spc="-41">
                <a:solidFill>
                  <a:srgbClr val="626666"/>
                </a:solidFill>
                <a:latin typeface="Arial"/>
                <a:cs typeface="Arial"/>
              </a:rPr>
              <a:t> </a:t>
            </a:r>
            <a:r>
              <a:rPr sz="955">
                <a:solidFill>
                  <a:srgbClr val="626666"/>
                </a:solidFill>
                <a:latin typeface="Arial"/>
                <a:cs typeface="Arial"/>
              </a:rPr>
              <a:t>risk</a:t>
            </a:r>
            <a:r>
              <a:rPr sz="955" spc="-37">
                <a:solidFill>
                  <a:srgbClr val="626666"/>
                </a:solidFill>
                <a:latin typeface="Arial"/>
                <a:cs typeface="Arial"/>
              </a:rPr>
              <a:t> </a:t>
            </a:r>
            <a:r>
              <a:rPr sz="955">
                <a:solidFill>
                  <a:srgbClr val="626666"/>
                </a:solidFill>
                <a:latin typeface="Arial"/>
                <a:cs typeface="Arial"/>
              </a:rPr>
              <a:t>profile</a:t>
            </a:r>
            <a:r>
              <a:rPr sz="955" spc="-34">
                <a:solidFill>
                  <a:srgbClr val="626666"/>
                </a:solidFill>
                <a:latin typeface="Arial"/>
                <a:cs typeface="Arial"/>
              </a:rPr>
              <a:t> </a:t>
            </a:r>
            <a:r>
              <a:rPr sz="955" spc="-7">
                <a:solidFill>
                  <a:srgbClr val="626666"/>
                </a:solidFill>
                <a:latin typeface="Arial"/>
                <a:cs typeface="Arial"/>
              </a:rPr>
              <a:t>assessments </a:t>
            </a:r>
            <a:r>
              <a:rPr sz="955">
                <a:solidFill>
                  <a:srgbClr val="626666"/>
                </a:solidFill>
                <a:latin typeface="Arial"/>
                <a:cs typeface="Arial"/>
              </a:rPr>
              <a:t>and</a:t>
            </a:r>
            <a:r>
              <a:rPr sz="955" spc="-31">
                <a:solidFill>
                  <a:srgbClr val="626666"/>
                </a:solidFill>
                <a:latin typeface="Arial"/>
                <a:cs typeface="Arial"/>
              </a:rPr>
              <a:t> </a:t>
            </a:r>
            <a:r>
              <a:rPr sz="955">
                <a:solidFill>
                  <a:srgbClr val="626666"/>
                </a:solidFill>
                <a:latin typeface="Arial"/>
                <a:cs typeface="Arial"/>
              </a:rPr>
              <a:t>strategic</a:t>
            </a:r>
            <a:r>
              <a:rPr sz="955" spc="-37">
                <a:solidFill>
                  <a:srgbClr val="626666"/>
                </a:solidFill>
                <a:latin typeface="Arial"/>
                <a:cs typeface="Arial"/>
              </a:rPr>
              <a:t> </a:t>
            </a:r>
            <a:r>
              <a:rPr sz="955">
                <a:solidFill>
                  <a:srgbClr val="626666"/>
                </a:solidFill>
                <a:latin typeface="Arial"/>
                <a:cs typeface="Arial"/>
              </a:rPr>
              <a:t>compliance</a:t>
            </a:r>
            <a:r>
              <a:rPr sz="955" spc="-41">
                <a:solidFill>
                  <a:srgbClr val="626666"/>
                </a:solidFill>
                <a:latin typeface="Arial"/>
                <a:cs typeface="Arial"/>
              </a:rPr>
              <a:t> </a:t>
            </a:r>
            <a:r>
              <a:rPr sz="955">
                <a:solidFill>
                  <a:srgbClr val="626666"/>
                </a:solidFill>
                <a:latin typeface="Arial"/>
                <a:cs typeface="Arial"/>
              </a:rPr>
              <a:t>road</a:t>
            </a:r>
            <a:r>
              <a:rPr sz="955" spc="-34">
                <a:solidFill>
                  <a:srgbClr val="626666"/>
                </a:solidFill>
                <a:latin typeface="Arial"/>
                <a:cs typeface="Arial"/>
              </a:rPr>
              <a:t> </a:t>
            </a:r>
            <a:r>
              <a:rPr sz="955">
                <a:solidFill>
                  <a:srgbClr val="626666"/>
                </a:solidFill>
                <a:latin typeface="Arial"/>
                <a:cs typeface="Arial"/>
              </a:rPr>
              <a:t>map</a:t>
            </a:r>
            <a:r>
              <a:rPr sz="955" spc="-14">
                <a:solidFill>
                  <a:srgbClr val="626666"/>
                </a:solidFill>
                <a:latin typeface="Arial"/>
                <a:cs typeface="Arial"/>
              </a:rPr>
              <a:t> </a:t>
            </a:r>
            <a:r>
              <a:rPr sz="955" spc="-7">
                <a:solidFill>
                  <a:srgbClr val="626666"/>
                </a:solidFill>
                <a:latin typeface="Arial"/>
                <a:cs typeface="Arial"/>
              </a:rPr>
              <a:t>development</a:t>
            </a:r>
            <a:endParaRPr sz="955">
              <a:latin typeface="Arial"/>
              <a:cs typeface="Arial"/>
            </a:endParaRPr>
          </a:p>
          <a:p>
            <a:pPr marL="233356" marR="82692" indent="-233789">
              <a:lnSpc>
                <a:spcPct val="107100"/>
              </a:lnSpc>
              <a:spcBef>
                <a:spcPts val="539"/>
              </a:spcBef>
              <a:buChar char="•"/>
              <a:tabLst>
                <a:tab pos="233356" algn="l"/>
              </a:tabLst>
            </a:pPr>
            <a:r>
              <a:rPr sz="955">
                <a:solidFill>
                  <a:srgbClr val="626666"/>
                </a:solidFill>
                <a:latin typeface="Arial"/>
                <a:cs typeface="Arial"/>
              </a:rPr>
              <a:t>USG</a:t>
            </a:r>
            <a:r>
              <a:rPr sz="955" spc="-7">
                <a:solidFill>
                  <a:srgbClr val="626666"/>
                </a:solidFill>
                <a:latin typeface="Arial"/>
                <a:cs typeface="Arial"/>
              </a:rPr>
              <a:t> </a:t>
            </a:r>
            <a:r>
              <a:rPr sz="955">
                <a:solidFill>
                  <a:srgbClr val="626666"/>
                </a:solidFill>
                <a:latin typeface="Arial"/>
                <a:cs typeface="Arial"/>
              </a:rPr>
              <a:t>contract</a:t>
            </a:r>
            <a:r>
              <a:rPr sz="955" spc="-31">
                <a:solidFill>
                  <a:srgbClr val="626666"/>
                </a:solidFill>
                <a:latin typeface="Arial"/>
                <a:cs typeface="Arial"/>
              </a:rPr>
              <a:t> </a:t>
            </a:r>
            <a:r>
              <a:rPr sz="955">
                <a:solidFill>
                  <a:srgbClr val="626666"/>
                </a:solidFill>
                <a:latin typeface="Arial"/>
                <a:cs typeface="Arial"/>
              </a:rPr>
              <a:t>and</a:t>
            </a:r>
            <a:r>
              <a:rPr sz="955" spc="-14">
                <a:solidFill>
                  <a:srgbClr val="626666"/>
                </a:solidFill>
                <a:latin typeface="Arial"/>
                <a:cs typeface="Arial"/>
              </a:rPr>
              <a:t> </a:t>
            </a:r>
            <a:r>
              <a:rPr sz="955">
                <a:solidFill>
                  <a:srgbClr val="626666"/>
                </a:solidFill>
                <a:latin typeface="Arial"/>
                <a:cs typeface="Arial"/>
              </a:rPr>
              <a:t>subcontract</a:t>
            </a:r>
            <a:r>
              <a:rPr sz="955" spc="-20">
                <a:solidFill>
                  <a:srgbClr val="626666"/>
                </a:solidFill>
                <a:latin typeface="Arial"/>
                <a:cs typeface="Arial"/>
              </a:rPr>
              <a:t> </a:t>
            </a:r>
            <a:r>
              <a:rPr sz="955" spc="-7">
                <a:solidFill>
                  <a:srgbClr val="626666"/>
                </a:solidFill>
                <a:latin typeface="Arial"/>
                <a:cs typeface="Arial"/>
              </a:rPr>
              <a:t>negotiation</a:t>
            </a:r>
            <a:r>
              <a:rPr sz="955" spc="-31">
                <a:solidFill>
                  <a:srgbClr val="626666"/>
                </a:solidFill>
                <a:latin typeface="Arial"/>
                <a:cs typeface="Arial"/>
              </a:rPr>
              <a:t> </a:t>
            </a:r>
            <a:r>
              <a:rPr sz="955" spc="-7">
                <a:solidFill>
                  <a:srgbClr val="626666"/>
                </a:solidFill>
                <a:latin typeface="Arial"/>
                <a:cs typeface="Arial"/>
              </a:rPr>
              <a:t>support </a:t>
            </a:r>
            <a:r>
              <a:rPr sz="955">
                <a:solidFill>
                  <a:srgbClr val="626666"/>
                </a:solidFill>
                <a:latin typeface="Arial"/>
                <a:cs typeface="Arial"/>
              </a:rPr>
              <a:t>and</a:t>
            </a:r>
            <a:r>
              <a:rPr sz="955" spc="-31">
                <a:solidFill>
                  <a:srgbClr val="626666"/>
                </a:solidFill>
                <a:latin typeface="Arial"/>
                <a:cs typeface="Arial"/>
              </a:rPr>
              <a:t> </a:t>
            </a:r>
            <a:r>
              <a:rPr sz="955">
                <a:solidFill>
                  <a:srgbClr val="626666"/>
                </a:solidFill>
                <a:latin typeface="Arial"/>
                <a:cs typeface="Arial"/>
              </a:rPr>
              <a:t>subrecipient</a:t>
            </a:r>
            <a:r>
              <a:rPr sz="955" spc="-44">
                <a:solidFill>
                  <a:srgbClr val="626666"/>
                </a:solidFill>
                <a:latin typeface="Arial"/>
                <a:cs typeface="Arial"/>
              </a:rPr>
              <a:t> </a:t>
            </a:r>
            <a:r>
              <a:rPr sz="955" spc="-7">
                <a:solidFill>
                  <a:srgbClr val="626666"/>
                </a:solidFill>
                <a:latin typeface="Arial"/>
                <a:cs typeface="Arial"/>
              </a:rPr>
              <a:t>monitoring</a:t>
            </a:r>
            <a:endParaRPr sz="955">
              <a:latin typeface="Arial"/>
              <a:cs typeface="Arial"/>
            </a:endParaRPr>
          </a:p>
          <a:p>
            <a:pPr marL="233356" indent="-233356">
              <a:spcBef>
                <a:spcPts val="624"/>
              </a:spcBef>
              <a:buChar char="•"/>
              <a:tabLst>
                <a:tab pos="233356" algn="l"/>
              </a:tabLst>
            </a:pPr>
            <a:r>
              <a:rPr sz="955">
                <a:solidFill>
                  <a:srgbClr val="626666"/>
                </a:solidFill>
                <a:latin typeface="Arial"/>
                <a:cs typeface="Arial"/>
              </a:rPr>
              <a:t>Contract</a:t>
            </a:r>
            <a:r>
              <a:rPr sz="955" spc="-34">
                <a:solidFill>
                  <a:srgbClr val="626666"/>
                </a:solidFill>
                <a:latin typeface="Arial"/>
                <a:cs typeface="Arial"/>
              </a:rPr>
              <a:t> </a:t>
            </a:r>
            <a:r>
              <a:rPr sz="955">
                <a:solidFill>
                  <a:srgbClr val="626666"/>
                </a:solidFill>
                <a:latin typeface="Arial"/>
                <a:cs typeface="Arial"/>
              </a:rPr>
              <a:t>closeout</a:t>
            </a:r>
            <a:r>
              <a:rPr sz="955" spc="-41">
                <a:solidFill>
                  <a:srgbClr val="626666"/>
                </a:solidFill>
                <a:latin typeface="Arial"/>
                <a:cs typeface="Arial"/>
              </a:rPr>
              <a:t> </a:t>
            </a:r>
            <a:r>
              <a:rPr sz="955">
                <a:solidFill>
                  <a:srgbClr val="626666"/>
                </a:solidFill>
                <a:latin typeface="Arial"/>
                <a:cs typeface="Arial"/>
              </a:rPr>
              <a:t>support</a:t>
            </a:r>
            <a:r>
              <a:rPr sz="955" spc="-34">
                <a:solidFill>
                  <a:srgbClr val="626666"/>
                </a:solidFill>
                <a:latin typeface="Arial"/>
                <a:cs typeface="Arial"/>
              </a:rPr>
              <a:t> </a:t>
            </a:r>
            <a:r>
              <a:rPr sz="955">
                <a:solidFill>
                  <a:srgbClr val="626666"/>
                </a:solidFill>
                <a:latin typeface="Arial"/>
                <a:cs typeface="Arial"/>
              </a:rPr>
              <a:t>and</a:t>
            </a:r>
            <a:r>
              <a:rPr sz="955" spc="-24">
                <a:solidFill>
                  <a:srgbClr val="626666"/>
                </a:solidFill>
                <a:latin typeface="Arial"/>
                <a:cs typeface="Arial"/>
              </a:rPr>
              <a:t> </a:t>
            </a:r>
            <a:r>
              <a:rPr sz="955" spc="-7">
                <a:solidFill>
                  <a:srgbClr val="626666"/>
                </a:solidFill>
                <a:latin typeface="Arial"/>
                <a:cs typeface="Arial"/>
              </a:rPr>
              <a:t>negotiations</a:t>
            </a:r>
            <a:endParaRPr sz="955">
              <a:latin typeface="Arial"/>
              <a:cs typeface="Arial"/>
            </a:endParaRPr>
          </a:p>
        </p:txBody>
      </p:sp>
      <p:sp>
        <p:nvSpPr>
          <p:cNvPr id="9" name="object 9"/>
          <p:cNvSpPr txBox="1"/>
          <p:nvPr/>
        </p:nvSpPr>
        <p:spPr>
          <a:xfrm>
            <a:off x="930570" y="1598766"/>
            <a:ext cx="1299297" cy="197578"/>
          </a:xfrm>
          <a:prstGeom prst="rect">
            <a:avLst/>
          </a:prstGeom>
        </p:spPr>
        <p:txBody>
          <a:bodyPr vert="horz" wrap="square" lIns="0" tIns="8659" rIns="0" bIns="0" rtlCol="0">
            <a:spAutoFit/>
          </a:bodyPr>
          <a:lstStyle/>
          <a:p>
            <a:pPr>
              <a:spcBef>
                <a:spcPts val="68"/>
              </a:spcBef>
            </a:pPr>
            <a:r>
              <a:rPr sz="1227" b="1">
                <a:solidFill>
                  <a:srgbClr val="626666"/>
                </a:solidFill>
                <a:latin typeface="Arial"/>
                <a:cs typeface="Arial"/>
              </a:rPr>
              <a:t>Strategic</a:t>
            </a:r>
            <a:r>
              <a:rPr sz="1227" b="1" spc="-31">
                <a:solidFill>
                  <a:srgbClr val="626666"/>
                </a:solidFill>
                <a:latin typeface="Arial"/>
                <a:cs typeface="Arial"/>
              </a:rPr>
              <a:t> </a:t>
            </a:r>
            <a:r>
              <a:rPr sz="1227" b="1" spc="-7">
                <a:solidFill>
                  <a:srgbClr val="626666"/>
                </a:solidFill>
                <a:latin typeface="Arial"/>
                <a:cs typeface="Arial"/>
              </a:rPr>
              <a:t>support</a:t>
            </a:r>
            <a:endParaRPr sz="1227">
              <a:latin typeface="Arial"/>
              <a:cs typeface="Arial"/>
            </a:endParaRPr>
          </a:p>
        </p:txBody>
      </p:sp>
      <p:sp>
        <p:nvSpPr>
          <p:cNvPr id="10" name="object 10"/>
          <p:cNvSpPr txBox="1"/>
          <p:nvPr/>
        </p:nvSpPr>
        <p:spPr>
          <a:xfrm>
            <a:off x="4305138" y="1599805"/>
            <a:ext cx="1887682" cy="378309"/>
          </a:xfrm>
          <a:prstGeom prst="rect">
            <a:avLst/>
          </a:prstGeom>
        </p:spPr>
        <p:txBody>
          <a:bodyPr vert="horz" wrap="square" lIns="0" tIns="19050" rIns="0" bIns="0" rtlCol="0">
            <a:spAutoFit/>
          </a:bodyPr>
          <a:lstStyle/>
          <a:p>
            <a:pPr marR="3464">
              <a:lnSpc>
                <a:spcPts val="1432"/>
              </a:lnSpc>
              <a:spcBef>
                <a:spcPts val="150"/>
              </a:spcBef>
            </a:pPr>
            <a:r>
              <a:rPr sz="1227" b="1">
                <a:solidFill>
                  <a:srgbClr val="626666"/>
                </a:solidFill>
                <a:latin typeface="Arial"/>
                <a:cs typeface="Arial"/>
              </a:rPr>
              <a:t>Contract</a:t>
            </a:r>
            <a:r>
              <a:rPr sz="1227" b="1" spc="-51">
                <a:solidFill>
                  <a:srgbClr val="626666"/>
                </a:solidFill>
                <a:latin typeface="Arial"/>
                <a:cs typeface="Arial"/>
              </a:rPr>
              <a:t> </a:t>
            </a:r>
            <a:r>
              <a:rPr sz="1227" b="1">
                <a:solidFill>
                  <a:srgbClr val="626666"/>
                </a:solidFill>
                <a:latin typeface="Arial"/>
                <a:cs typeface="Arial"/>
              </a:rPr>
              <a:t>cost</a:t>
            </a:r>
            <a:r>
              <a:rPr sz="1227" b="1" spc="-51">
                <a:solidFill>
                  <a:srgbClr val="626666"/>
                </a:solidFill>
                <a:latin typeface="Arial"/>
                <a:cs typeface="Arial"/>
              </a:rPr>
              <a:t> </a:t>
            </a:r>
            <a:r>
              <a:rPr sz="1227" b="1" spc="-7">
                <a:solidFill>
                  <a:srgbClr val="626666"/>
                </a:solidFill>
                <a:latin typeface="Arial"/>
                <a:cs typeface="Arial"/>
              </a:rPr>
              <a:t>accounting </a:t>
            </a:r>
            <a:r>
              <a:rPr sz="1227" b="1">
                <a:solidFill>
                  <a:srgbClr val="626666"/>
                </a:solidFill>
                <a:latin typeface="Arial"/>
                <a:cs typeface="Arial"/>
              </a:rPr>
              <a:t>and</a:t>
            </a:r>
            <a:r>
              <a:rPr sz="1227" b="1" spc="-27">
                <a:solidFill>
                  <a:srgbClr val="626666"/>
                </a:solidFill>
                <a:latin typeface="Arial"/>
                <a:cs typeface="Arial"/>
              </a:rPr>
              <a:t> </a:t>
            </a:r>
            <a:r>
              <a:rPr sz="1227" b="1" spc="-7">
                <a:solidFill>
                  <a:srgbClr val="626666"/>
                </a:solidFill>
                <a:latin typeface="Arial"/>
                <a:cs typeface="Arial"/>
              </a:rPr>
              <a:t>pricing</a:t>
            </a:r>
            <a:endParaRPr sz="1227">
              <a:latin typeface="Arial"/>
              <a:cs typeface="Arial"/>
            </a:endParaRPr>
          </a:p>
        </p:txBody>
      </p:sp>
      <p:sp>
        <p:nvSpPr>
          <p:cNvPr id="11" name="object 11"/>
          <p:cNvSpPr txBox="1"/>
          <p:nvPr/>
        </p:nvSpPr>
        <p:spPr>
          <a:xfrm>
            <a:off x="7646941" y="1600670"/>
            <a:ext cx="1697182" cy="378309"/>
          </a:xfrm>
          <a:prstGeom prst="rect">
            <a:avLst/>
          </a:prstGeom>
        </p:spPr>
        <p:txBody>
          <a:bodyPr vert="horz" wrap="square" lIns="0" tIns="19050" rIns="0" bIns="0" rtlCol="0">
            <a:spAutoFit/>
          </a:bodyPr>
          <a:lstStyle/>
          <a:p>
            <a:pPr marL="8659" marR="3464">
              <a:lnSpc>
                <a:spcPts val="1432"/>
              </a:lnSpc>
              <a:spcBef>
                <a:spcPts val="150"/>
              </a:spcBef>
            </a:pPr>
            <a:r>
              <a:rPr sz="1227" b="1" spc="-7">
                <a:solidFill>
                  <a:srgbClr val="626666"/>
                </a:solidFill>
                <a:latin typeface="Arial"/>
                <a:cs typeface="Arial"/>
              </a:rPr>
              <a:t>Business</a:t>
            </a:r>
            <a:r>
              <a:rPr sz="1227" b="1" spc="-61">
                <a:solidFill>
                  <a:srgbClr val="626666"/>
                </a:solidFill>
                <a:latin typeface="Arial"/>
                <a:cs typeface="Arial"/>
              </a:rPr>
              <a:t> </a:t>
            </a:r>
            <a:r>
              <a:rPr sz="1227" b="1">
                <a:solidFill>
                  <a:srgbClr val="626666"/>
                </a:solidFill>
                <a:latin typeface="Arial"/>
                <a:cs typeface="Arial"/>
              </a:rPr>
              <a:t>systems</a:t>
            </a:r>
            <a:r>
              <a:rPr sz="1227" b="1" spc="-44">
                <a:solidFill>
                  <a:srgbClr val="626666"/>
                </a:solidFill>
                <a:latin typeface="Arial"/>
                <a:cs typeface="Arial"/>
              </a:rPr>
              <a:t> </a:t>
            </a:r>
            <a:r>
              <a:rPr sz="1227" b="1" spc="-17">
                <a:solidFill>
                  <a:srgbClr val="626666"/>
                </a:solidFill>
                <a:latin typeface="Arial"/>
                <a:cs typeface="Arial"/>
              </a:rPr>
              <a:t>and </a:t>
            </a:r>
            <a:r>
              <a:rPr sz="1227" b="1">
                <a:solidFill>
                  <a:srgbClr val="626666"/>
                </a:solidFill>
                <a:latin typeface="Arial"/>
                <a:cs typeface="Arial"/>
              </a:rPr>
              <a:t>internal</a:t>
            </a:r>
            <a:r>
              <a:rPr sz="1227" b="1" spc="-68">
                <a:solidFill>
                  <a:srgbClr val="626666"/>
                </a:solidFill>
                <a:latin typeface="Arial"/>
                <a:cs typeface="Arial"/>
              </a:rPr>
              <a:t> </a:t>
            </a:r>
            <a:r>
              <a:rPr sz="1227" b="1" spc="-7">
                <a:solidFill>
                  <a:srgbClr val="626666"/>
                </a:solidFill>
                <a:latin typeface="Arial"/>
                <a:cs typeface="Arial"/>
              </a:rPr>
              <a:t>controls</a:t>
            </a:r>
            <a:endParaRPr sz="1227">
              <a:latin typeface="Arial"/>
              <a:cs typeface="Arial"/>
            </a:endParaRPr>
          </a:p>
        </p:txBody>
      </p:sp>
      <p:sp>
        <p:nvSpPr>
          <p:cNvPr id="12" name="object 12"/>
          <p:cNvSpPr txBox="1"/>
          <p:nvPr/>
        </p:nvSpPr>
        <p:spPr>
          <a:xfrm>
            <a:off x="4305138" y="2094844"/>
            <a:ext cx="2152650" cy="155707"/>
          </a:xfrm>
          <a:prstGeom prst="rect">
            <a:avLst/>
          </a:prstGeom>
        </p:spPr>
        <p:txBody>
          <a:bodyPr vert="horz" wrap="square" lIns="0" tIns="8659" rIns="0" bIns="0" rtlCol="0">
            <a:spAutoFit/>
          </a:bodyPr>
          <a:lstStyle/>
          <a:p>
            <a:pPr marL="233356" indent="-233356">
              <a:spcBef>
                <a:spcPts val="68"/>
              </a:spcBef>
              <a:buChar char="•"/>
              <a:tabLst>
                <a:tab pos="233356" algn="l"/>
              </a:tabLst>
            </a:pPr>
            <a:r>
              <a:rPr sz="955">
                <a:solidFill>
                  <a:srgbClr val="626666"/>
                </a:solidFill>
                <a:latin typeface="Arial"/>
                <a:cs typeface="Arial"/>
              </a:rPr>
              <a:t>Indirect</a:t>
            </a:r>
            <a:r>
              <a:rPr sz="955" spc="-27">
                <a:solidFill>
                  <a:srgbClr val="626666"/>
                </a:solidFill>
                <a:latin typeface="Arial"/>
                <a:cs typeface="Arial"/>
              </a:rPr>
              <a:t> </a:t>
            </a:r>
            <a:r>
              <a:rPr sz="955">
                <a:solidFill>
                  <a:srgbClr val="626666"/>
                </a:solidFill>
                <a:latin typeface="Arial"/>
                <a:cs typeface="Arial"/>
              </a:rPr>
              <a:t>cost</a:t>
            </a:r>
            <a:r>
              <a:rPr sz="955" spc="-27">
                <a:solidFill>
                  <a:srgbClr val="626666"/>
                </a:solidFill>
                <a:latin typeface="Arial"/>
                <a:cs typeface="Arial"/>
              </a:rPr>
              <a:t> </a:t>
            </a:r>
            <a:r>
              <a:rPr sz="955">
                <a:solidFill>
                  <a:srgbClr val="626666"/>
                </a:solidFill>
                <a:latin typeface="Arial"/>
                <a:cs typeface="Arial"/>
              </a:rPr>
              <a:t>rate</a:t>
            </a:r>
            <a:r>
              <a:rPr sz="955" spc="-17">
                <a:solidFill>
                  <a:srgbClr val="626666"/>
                </a:solidFill>
                <a:latin typeface="Arial"/>
                <a:cs typeface="Arial"/>
              </a:rPr>
              <a:t> </a:t>
            </a:r>
            <a:r>
              <a:rPr sz="955">
                <a:solidFill>
                  <a:srgbClr val="626666"/>
                </a:solidFill>
                <a:latin typeface="Arial"/>
                <a:cs typeface="Arial"/>
              </a:rPr>
              <a:t>support,</a:t>
            </a:r>
            <a:r>
              <a:rPr sz="955" spc="-27">
                <a:solidFill>
                  <a:srgbClr val="626666"/>
                </a:solidFill>
                <a:latin typeface="Arial"/>
                <a:cs typeface="Arial"/>
              </a:rPr>
              <a:t> </a:t>
            </a:r>
            <a:r>
              <a:rPr sz="955" spc="-7">
                <a:solidFill>
                  <a:srgbClr val="626666"/>
                </a:solidFill>
                <a:latin typeface="Arial"/>
                <a:cs typeface="Arial"/>
              </a:rPr>
              <a:t>including:</a:t>
            </a:r>
            <a:endParaRPr sz="955">
              <a:latin typeface="Arial"/>
              <a:cs typeface="Arial"/>
            </a:endParaRPr>
          </a:p>
        </p:txBody>
      </p:sp>
      <p:sp>
        <p:nvSpPr>
          <p:cNvPr id="13" name="object 13"/>
          <p:cNvSpPr txBox="1"/>
          <p:nvPr/>
        </p:nvSpPr>
        <p:spPr>
          <a:xfrm>
            <a:off x="4570107" y="2321367"/>
            <a:ext cx="2449224" cy="743997"/>
          </a:xfrm>
          <a:prstGeom prst="rect">
            <a:avLst/>
          </a:prstGeom>
        </p:spPr>
        <p:txBody>
          <a:bodyPr vert="horz" wrap="square" lIns="0" tIns="9092" rIns="0" bIns="0" rtlCol="0">
            <a:spAutoFit/>
          </a:bodyPr>
          <a:lstStyle/>
          <a:p>
            <a:pPr marL="233356" indent="-233356">
              <a:spcBef>
                <a:spcPts val="72"/>
              </a:spcBef>
              <a:buChar char="•"/>
              <a:tabLst>
                <a:tab pos="233356" algn="l"/>
              </a:tabLst>
            </a:pPr>
            <a:r>
              <a:rPr sz="955">
                <a:solidFill>
                  <a:srgbClr val="626666"/>
                </a:solidFill>
                <a:latin typeface="Arial"/>
                <a:cs typeface="Arial"/>
              </a:rPr>
              <a:t>Incurred</a:t>
            </a:r>
            <a:r>
              <a:rPr sz="955" spc="-44">
                <a:solidFill>
                  <a:srgbClr val="626666"/>
                </a:solidFill>
                <a:latin typeface="Arial"/>
                <a:cs typeface="Arial"/>
              </a:rPr>
              <a:t> </a:t>
            </a:r>
            <a:r>
              <a:rPr sz="955">
                <a:solidFill>
                  <a:srgbClr val="626666"/>
                </a:solidFill>
                <a:latin typeface="Arial"/>
                <a:cs typeface="Arial"/>
              </a:rPr>
              <a:t>cost</a:t>
            </a:r>
            <a:r>
              <a:rPr sz="955" spc="-31">
                <a:solidFill>
                  <a:srgbClr val="626666"/>
                </a:solidFill>
                <a:latin typeface="Arial"/>
                <a:cs typeface="Arial"/>
              </a:rPr>
              <a:t> </a:t>
            </a:r>
            <a:r>
              <a:rPr sz="955">
                <a:solidFill>
                  <a:srgbClr val="626666"/>
                </a:solidFill>
                <a:latin typeface="Arial"/>
                <a:cs typeface="Arial"/>
              </a:rPr>
              <a:t>submission</a:t>
            </a:r>
            <a:r>
              <a:rPr sz="955" spc="-41">
                <a:solidFill>
                  <a:srgbClr val="626666"/>
                </a:solidFill>
                <a:latin typeface="Arial"/>
                <a:cs typeface="Arial"/>
              </a:rPr>
              <a:t> </a:t>
            </a:r>
            <a:r>
              <a:rPr sz="955" spc="-14">
                <a:solidFill>
                  <a:srgbClr val="626666"/>
                </a:solidFill>
                <a:latin typeface="Arial"/>
                <a:cs typeface="Arial"/>
              </a:rPr>
              <a:t>(ICS)</a:t>
            </a:r>
            <a:endParaRPr sz="955">
              <a:latin typeface="Arial"/>
              <a:cs typeface="Arial"/>
            </a:endParaRPr>
          </a:p>
          <a:p>
            <a:pPr marL="233356" indent="-233356">
              <a:buChar char="•"/>
              <a:tabLst>
                <a:tab pos="233356" algn="l"/>
              </a:tabLst>
            </a:pPr>
            <a:r>
              <a:rPr sz="955">
                <a:solidFill>
                  <a:srgbClr val="626666"/>
                </a:solidFill>
                <a:latin typeface="Arial"/>
                <a:cs typeface="Arial"/>
              </a:rPr>
              <a:t>Provisional</a:t>
            </a:r>
            <a:r>
              <a:rPr sz="955" spc="-44">
                <a:solidFill>
                  <a:srgbClr val="626666"/>
                </a:solidFill>
                <a:latin typeface="Arial"/>
                <a:cs typeface="Arial"/>
              </a:rPr>
              <a:t> </a:t>
            </a:r>
            <a:r>
              <a:rPr sz="955">
                <a:solidFill>
                  <a:srgbClr val="626666"/>
                </a:solidFill>
                <a:latin typeface="Arial"/>
                <a:cs typeface="Arial"/>
              </a:rPr>
              <a:t>billing</a:t>
            </a:r>
            <a:r>
              <a:rPr sz="955" spc="-37">
                <a:solidFill>
                  <a:srgbClr val="626666"/>
                </a:solidFill>
                <a:latin typeface="Arial"/>
                <a:cs typeface="Arial"/>
              </a:rPr>
              <a:t> </a:t>
            </a:r>
            <a:r>
              <a:rPr sz="955" spc="-7">
                <a:solidFill>
                  <a:srgbClr val="626666"/>
                </a:solidFill>
                <a:latin typeface="Arial"/>
                <a:cs typeface="Arial"/>
              </a:rPr>
              <a:t>rates</a:t>
            </a:r>
            <a:endParaRPr sz="955">
              <a:latin typeface="Arial"/>
              <a:cs typeface="Arial"/>
            </a:endParaRPr>
          </a:p>
          <a:p>
            <a:pPr marL="233356" indent="-233356">
              <a:buChar char="•"/>
              <a:tabLst>
                <a:tab pos="233356" algn="l"/>
              </a:tabLst>
            </a:pPr>
            <a:r>
              <a:rPr sz="955">
                <a:solidFill>
                  <a:srgbClr val="626666"/>
                </a:solidFill>
                <a:latin typeface="Arial"/>
                <a:cs typeface="Arial"/>
              </a:rPr>
              <a:t>Forward</a:t>
            </a:r>
            <a:r>
              <a:rPr sz="955" spc="-31">
                <a:solidFill>
                  <a:srgbClr val="626666"/>
                </a:solidFill>
                <a:latin typeface="Arial"/>
                <a:cs typeface="Arial"/>
              </a:rPr>
              <a:t> </a:t>
            </a:r>
            <a:r>
              <a:rPr sz="955">
                <a:solidFill>
                  <a:srgbClr val="626666"/>
                </a:solidFill>
                <a:latin typeface="Arial"/>
                <a:cs typeface="Arial"/>
              </a:rPr>
              <a:t>pricing</a:t>
            </a:r>
            <a:r>
              <a:rPr sz="955" spc="-37">
                <a:solidFill>
                  <a:srgbClr val="626666"/>
                </a:solidFill>
                <a:latin typeface="Arial"/>
                <a:cs typeface="Arial"/>
              </a:rPr>
              <a:t> </a:t>
            </a:r>
            <a:r>
              <a:rPr sz="955">
                <a:solidFill>
                  <a:srgbClr val="626666"/>
                </a:solidFill>
                <a:latin typeface="Arial"/>
                <a:cs typeface="Arial"/>
              </a:rPr>
              <a:t>rates</a:t>
            </a:r>
            <a:r>
              <a:rPr sz="955" spc="-37">
                <a:solidFill>
                  <a:srgbClr val="626666"/>
                </a:solidFill>
                <a:latin typeface="Arial"/>
                <a:cs typeface="Arial"/>
              </a:rPr>
              <a:t> </a:t>
            </a:r>
            <a:r>
              <a:rPr sz="955">
                <a:solidFill>
                  <a:srgbClr val="626666"/>
                </a:solidFill>
                <a:latin typeface="Arial"/>
                <a:cs typeface="Arial"/>
              </a:rPr>
              <a:t>proposal</a:t>
            </a:r>
            <a:r>
              <a:rPr sz="955" spc="-41">
                <a:solidFill>
                  <a:srgbClr val="626666"/>
                </a:solidFill>
                <a:latin typeface="Arial"/>
                <a:cs typeface="Arial"/>
              </a:rPr>
              <a:t> </a:t>
            </a:r>
            <a:r>
              <a:rPr sz="955" spc="-7">
                <a:solidFill>
                  <a:srgbClr val="626666"/>
                </a:solidFill>
                <a:latin typeface="Arial"/>
                <a:cs typeface="Arial"/>
              </a:rPr>
              <a:t>(FPRP)</a:t>
            </a:r>
            <a:endParaRPr sz="955">
              <a:latin typeface="Arial"/>
              <a:cs typeface="Arial"/>
            </a:endParaRPr>
          </a:p>
          <a:p>
            <a:pPr marL="233789" marR="3464" indent="-233789">
              <a:buChar char="•"/>
              <a:tabLst>
                <a:tab pos="233789" algn="l"/>
              </a:tabLst>
            </a:pPr>
            <a:r>
              <a:rPr sz="955">
                <a:solidFill>
                  <a:srgbClr val="626666"/>
                </a:solidFill>
                <a:latin typeface="Arial"/>
                <a:cs typeface="Arial"/>
              </a:rPr>
              <a:t>Negotiated</a:t>
            </a:r>
            <a:r>
              <a:rPr sz="955" spc="-31">
                <a:solidFill>
                  <a:srgbClr val="626666"/>
                </a:solidFill>
                <a:latin typeface="Arial"/>
                <a:cs typeface="Arial"/>
              </a:rPr>
              <a:t> </a:t>
            </a:r>
            <a:r>
              <a:rPr sz="955">
                <a:solidFill>
                  <a:srgbClr val="626666"/>
                </a:solidFill>
                <a:latin typeface="Arial"/>
                <a:cs typeface="Arial"/>
              </a:rPr>
              <a:t>Indirect</a:t>
            </a:r>
            <a:r>
              <a:rPr sz="955" spc="-31">
                <a:solidFill>
                  <a:srgbClr val="626666"/>
                </a:solidFill>
                <a:latin typeface="Arial"/>
                <a:cs typeface="Arial"/>
              </a:rPr>
              <a:t> </a:t>
            </a:r>
            <a:r>
              <a:rPr sz="955">
                <a:solidFill>
                  <a:srgbClr val="626666"/>
                </a:solidFill>
                <a:latin typeface="Arial"/>
                <a:cs typeface="Arial"/>
              </a:rPr>
              <a:t>Cost</a:t>
            </a:r>
            <a:r>
              <a:rPr sz="955" spc="-10">
                <a:solidFill>
                  <a:srgbClr val="626666"/>
                </a:solidFill>
                <a:latin typeface="Arial"/>
                <a:cs typeface="Arial"/>
              </a:rPr>
              <a:t> </a:t>
            </a:r>
            <a:r>
              <a:rPr sz="955" spc="-7">
                <a:solidFill>
                  <a:srgbClr val="626666"/>
                </a:solidFill>
                <a:latin typeface="Arial"/>
                <a:cs typeface="Arial"/>
              </a:rPr>
              <a:t>Rate</a:t>
            </a:r>
            <a:r>
              <a:rPr sz="955" spc="-61">
                <a:solidFill>
                  <a:srgbClr val="626666"/>
                </a:solidFill>
                <a:latin typeface="Arial"/>
                <a:cs typeface="Arial"/>
              </a:rPr>
              <a:t> </a:t>
            </a:r>
            <a:r>
              <a:rPr sz="955" spc="-7">
                <a:solidFill>
                  <a:srgbClr val="626666"/>
                </a:solidFill>
                <a:latin typeface="Arial"/>
                <a:cs typeface="Arial"/>
              </a:rPr>
              <a:t>Agreement (NICRA)</a:t>
            </a:r>
            <a:endParaRPr sz="955">
              <a:latin typeface="Arial"/>
              <a:cs typeface="Arial"/>
            </a:endParaRPr>
          </a:p>
        </p:txBody>
      </p:sp>
      <p:sp>
        <p:nvSpPr>
          <p:cNvPr id="14" name="object 14"/>
          <p:cNvSpPr txBox="1"/>
          <p:nvPr/>
        </p:nvSpPr>
        <p:spPr>
          <a:xfrm>
            <a:off x="4305139" y="3183362"/>
            <a:ext cx="2870056" cy="848000"/>
          </a:xfrm>
          <a:prstGeom prst="rect">
            <a:avLst/>
          </a:prstGeom>
        </p:spPr>
        <p:txBody>
          <a:bodyPr vert="horz" wrap="square" lIns="0" tIns="9092" rIns="0" bIns="0" rtlCol="0">
            <a:spAutoFit/>
          </a:bodyPr>
          <a:lstStyle/>
          <a:p>
            <a:pPr marL="233789" marR="3464" indent="-233789">
              <a:lnSpc>
                <a:spcPct val="106800"/>
              </a:lnSpc>
              <a:spcBef>
                <a:spcPts val="72"/>
              </a:spcBef>
              <a:buChar char="•"/>
              <a:tabLst>
                <a:tab pos="233789" algn="l"/>
              </a:tabLst>
            </a:pPr>
            <a:r>
              <a:rPr sz="955">
                <a:solidFill>
                  <a:srgbClr val="626666"/>
                </a:solidFill>
                <a:latin typeface="Arial"/>
                <a:cs typeface="Arial"/>
              </a:rPr>
              <a:t>Indirect</a:t>
            </a:r>
            <a:r>
              <a:rPr sz="955" spc="-31">
                <a:solidFill>
                  <a:srgbClr val="626666"/>
                </a:solidFill>
                <a:latin typeface="Arial"/>
                <a:cs typeface="Arial"/>
              </a:rPr>
              <a:t> </a:t>
            </a:r>
            <a:r>
              <a:rPr sz="955">
                <a:solidFill>
                  <a:srgbClr val="626666"/>
                </a:solidFill>
                <a:latin typeface="Arial"/>
                <a:cs typeface="Arial"/>
              </a:rPr>
              <a:t>cost</a:t>
            </a:r>
            <a:r>
              <a:rPr sz="955" spc="-31">
                <a:solidFill>
                  <a:srgbClr val="626666"/>
                </a:solidFill>
                <a:latin typeface="Arial"/>
                <a:cs typeface="Arial"/>
              </a:rPr>
              <a:t> </a:t>
            </a:r>
            <a:r>
              <a:rPr sz="955">
                <a:solidFill>
                  <a:srgbClr val="626666"/>
                </a:solidFill>
                <a:latin typeface="Arial"/>
                <a:cs typeface="Arial"/>
              </a:rPr>
              <a:t>rate</a:t>
            </a:r>
            <a:r>
              <a:rPr sz="955" spc="-17">
                <a:solidFill>
                  <a:srgbClr val="626666"/>
                </a:solidFill>
                <a:latin typeface="Arial"/>
                <a:cs typeface="Arial"/>
              </a:rPr>
              <a:t> </a:t>
            </a:r>
            <a:r>
              <a:rPr sz="955">
                <a:solidFill>
                  <a:srgbClr val="626666"/>
                </a:solidFill>
                <a:latin typeface="Arial"/>
                <a:cs typeface="Arial"/>
              </a:rPr>
              <a:t>structure</a:t>
            </a:r>
            <a:r>
              <a:rPr sz="955" spc="-34">
                <a:solidFill>
                  <a:srgbClr val="626666"/>
                </a:solidFill>
                <a:latin typeface="Arial"/>
                <a:cs typeface="Arial"/>
              </a:rPr>
              <a:t> </a:t>
            </a:r>
            <a:r>
              <a:rPr sz="955" spc="-7">
                <a:solidFill>
                  <a:srgbClr val="626666"/>
                </a:solidFill>
                <a:latin typeface="Arial"/>
                <a:cs typeface="Arial"/>
              </a:rPr>
              <a:t>development, </a:t>
            </a:r>
            <a:r>
              <a:rPr sz="955">
                <a:solidFill>
                  <a:srgbClr val="626666"/>
                </a:solidFill>
                <a:latin typeface="Arial"/>
                <a:cs typeface="Arial"/>
              </a:rPr>
              <a:t>restructuring</a:t>
            </a:r>
            <a:r>
              <a:rPr sz="955" spc="-44">
                <a:solidFill>
                  <a:srgbClr val="626666"/>
                </a:solidFill>
                <a:latin typeface="Arial"/>
                <a:cs typeface="Arial"/>
              </a:rPr>
              <a:t> </a:t>
            </a:r>
            <a:r>
              <a:rPr sz="955">
                <a:solidFill>
                  <a:srgbClr val="626666"/>
                </a:solidFill>
                <a:latin typeface="Arial"/>
                <a:cs typeface="Arial"/>
              </a:rPr>
              <a:t>and</a:t>
            </a:r>
            <a:r>
              <a:rPr sz="955" spc="-24">
                <a:solidFill>
                  <a:srgbClr val="626666"/>
                </a:solidFill>
                <a:latin typeface="Arial"/>
                <a:cs typeface="Arial"/>
              </a:rPr>
              <a:t> </a:t>
            </a:r>
            <a:r>
              <a:rPr sz="955">
                <a:solidFill>
                  <a:srgbClr val="626666"/>
                </a:solidFill>
                <a:latin typeface="Arial"/>
                <a:cs typeface="Arial"/>
              </a:rPr>
              <a:t>strategic</a:t>
            </a:r>
            <a:r>
              <a:rPr sz="955" spc="-41">
                <a:solidFill>
                  <a:srgbClr val="626666"/>
                </a:solidFill>
                <a:latin typeface="Arial"/>
                <a:cs typeface="Arial"/>
              </a:rPr>
              <a:t> </a:t>
            </a:r>
            <a:r>
              <a:rPr sz="955">
                <a:solidFill>
                  <a:srgbClr val="626666"/>
                </a:solidFill>
                <a:latin typeface="Arial"/>
                <a:cs typeface="Arial"/>
              </a:rPr>
              <a:t>advice</a:t>
            </a:r>
            <a:r>
              <a:rPr sz="955" spc="-17">
                <a:solidFill>
                  <a:srgbClr val="626666"/>
                </a:solidFill>
                <a:latin typeface="Arial"/>
                <a:cs typeface="Arial"/>
              </a:rPr>
              <a:t> </a:t>
            </a:r>
            <a:r>
              <a:rPr sz="955">
                <a:solidFill>
                  <a:srgbClr val="626666"/>
                </a:solidFill>
                <a:latin typeface="Arial"/>
                <a:cs typeface="Arial"/>
              </a:rPr>
              <a:t>on</a:t>
            </a:r>
            <a:r>
              <a:rPr sz="955" spc="-27">
                <a:solidFill>
                  <a:srgbClr val="626666"/>
                </a:solidFill>
                <a:latin typeface="Arial"/>
                <a:cs typeface="Arial"/>
              </a:rPr>
              <a:t> </a:t>
            </a:r>
            <a:r>
              <a:rPr sz="955">
                <a:solidFill>
                  <a:srgbClr val="626666"/>
                </a:solidFill>
                <a:latin typeface="Arial"/>
                <a:cs typeface="Arial"/>
              </a:rPr>
              <a:t>indirect</a:t>
            </a:r>
            <a:r>
              <a:rPr sz="955" spc="-31">
                <a:solidFill>
                  <a:srgbClr val="626666"/>
                </a:solidFill>
                <a:latin typeface="Arial"/>
                <a:cs typeface="Arial"/>
              </a:rPr>
              <a:t> </a:t>
            </a:r>
            <a:r>
              <a:rPr sz="955" spc="-14">
                <a:solidFill>
                  <a:srgbClr val="626666"/>
                </a:solidFill>
                <a:latin typeface="Arial"/>
                <a:cs typeface="Arial"/>
              </a:rPr>
              <a:t>cost </a:t>
            </a:r>
            <a:r>
              <a:rPr sz="955">
                <a:solidFill>
                  <a:srgbClr val="626666"/>
                </a:solidFill>
                <a:latin typeface="Arial"/>
                <a:cs typeface="Arial"/>
              </a:rPr>
              <a:t>rate</a:t>
            </a:r>
            <a:r>
              <a:rPr sz="955" spc="-27">
                <a:solidFill>
                  <a:srgbClr val="626666"/>
                </a:solidFill>
                <a:latin typeface="Arial"/>
                <a:cs typeface="Arial"/>
              </a:rPr>
              <a:t> </a:t>
            </a:r>
            <a:r>
              <a:rPr sz="955" spc="-7">
                <a:solidFill>
                  <a:srgbClr val="626666"/>
                </a:solidFill>
                <a:latin typeface="Arial"/>
                <a:cs typeface="Arial"/>
              </a:rPr>
              <a:t>optimization</a:t>
            </a:r>
            <a:endParaRPr sz="955">
              <a:latin typeface="Arial"/>
              <a:cs typeface="Arial"/>
            </a:endParaRPr>
          </a:p>
          <a:p>
            <a:pPr marL="233789" marR="808305" indent="-233789">
              <a:lnSpc>
                <a:spcPct val="107100"/>
              </a:lnSpc>
              <a:spcBef>
                <a:spcPts val="549"/>
              </a:spcBef>
              <a:buChar char="•"/>
              <a:tabLst>
                <a:tab pos="233789" algn="l"/>
              </a:tabLst>
            </a:pPr>
            <a:r>
              <a:rPr sz="955" spc="-7">
                <a:solidFill>
                  <a:srgbClr val="626666"/>
                </a:solidFill>
                <a:latin typeface="Arial"/>
                <a:cs typeface="Arial"/>
              </a:rPr>
              <a:t>Cost</a:t>
            </a:r>
            <a:r>
              <a:rPr sz="955" spc="-68">
                <a:solidFill>
                  <a:srgbClr val="626666"/>
                </a:solidFill>
                <a:latin typeface="Arial"/>
                <a:cs typeface="Arial"/>
              </a:rPr>
              <a:t> </a:t>
            </a:r>
            <a:r>
              <a:rPr sz="955">
                <a:solidFill>
                  <a:srgbClr val="626666"/>
                </a:solidFill>
                <a:latin typeface="Arial"/>
                <a:cs typeface="Arial"/>
              </a:rPr>
              <a:t>Accounting</a:t>
            </a:r>
            <a:r>
              <a:rPr sz="955" spc="-27">
                <a:solidFill>
                  <a:srgbClr val="626666"/>
                </a:solidFill>
                <a:latin typeface="Arial"/>
                <a:cs typeface="Arial"/>
              </a:rPr>
              <a:t> </a:t>
            </a:r>
            <a:r>
              <a:rPr sz="955">
                <a:solidFill>
                  <a:srgbClr val="626666"/>
                </a:solidFill>
                <a:latin typeface="Arial"/>
                <a:cs typeface="Arial"/>
              </a:rPr>
              <a:t>Standards</a:t>
            </a:r>
            <a:r>
              <a:rPr sz="955" spc="-34">
                <a:solidFill>
                  <a:srgbClr val="626666"/>
                </a:solidFill>
                <a:latin typeface="Arial"/>
                <a:cs typeface="Arial"/>
              </a:rPr>
              <a:t> </a:t>
            </a:r>
            <a:r>
              <a:rPr sz="955" spc="-7">
                <a:solidFill>
                  <a:srgbClr val="626666"/>
                </a:solidFill>
                <a:latin typeface="Arial"/>
                <a:cs typeface="Arial"/>
              </a:rPr>
              <a:t>(CAS) </a:t>
            </a:r>
            <a:r>
              <a:rPr sz="955">
                <a:solidFill>
                  <a:srgbClr val="626666"/>
                </a:solidFill>
                <a:latin typeface="Arial"/>
                <a:cs typeface="Arial"/>
              </a:rPr>
              <a:t>support</a:t>
            </a:r>
            <a:r>
              <a:rPr sz="955" spc="-34">
                <a:solidFill>
                  <a:srgbClr val="626666"/>
                </a:solidFill>
                <a:latin typeface="Arial"/>
                <a:cs typeface="Arial"/>
              </a:rPr>
              <a:t> </a:t>
            </a:r>
            <a:r>
              <a:rPr sz="955" spc="-7">
                <a:solidFill>
                  <a:srgbClr val="626666"/>
                </a:solidFill>
                <a:latin typeface="Arial"/>
                <a:cs typeface="Arial"/>
              </a:rPr>
              <a:t>including</a:t>
            </a:r>
            <a:endParaRPr sz="955">
              <a:latin typeface="Arial"/>
              <a:cs typeface="Arial"/>
            </a:endParaRPr>
          </a:p>
        </p:txBody>
      </p:sp>
      <p:sp>
        <p:nvSpPr>
          <p:cNvPr id="15" name="object 15"/>
          <p:cNvSpPr txBox="1"/>
          <p:nvPr/>
        </p:nvSpPr>
        <p:spPr>
          <a:xfrm>
            <a:off x="4723893" y="4110854"/>
            <a:ext cx="2113251" cy="597034"/>
          </a:xfrm>
          <a:prstGeom prst="rect">
            <a:avLst/>
          </a:prstGeom>
        </p:spPr>
        <p:txBody>
          <a:bodyPr vert="horz" wrap="square" lIns="0" tIns="9092" rIns="0" bIns="0" rtlCol="0">
            <a:spAutoFit/>
          </a:bodyPr>
          <a:lstStyle/>
          <a:p>
            <a:pPr marL="233356" indent="-233356">
              <a:spcBef>
                <a:spcPts val="72"/>
              </a:spcBef>
              <a:buChar char="•"/>
              <a:tabLst>
                <a:tab pos="233356" algn="l"/>
              </a:tabLst>
            </a:pPr>
            <a:r>
              <a:rPr sz="955">
                <a:solidFill>
                  <a:srgbClr val="626666"/>
                </a:solidFill>
                <a:latin typeface="Arial"/>
                <a:cs typeface="Arial"/>
              </a:rPr>
              <a:t>Disclosure</a:t>
            </a:r>
            <a:r>
              <a:rPr sz="955" spc="-48">
                <a:solidFill>
                  <a:srgbClr val="626666"/>
                </a:solidFill>
                <a:latin typeface="Arial"/>
                <a:cs typeface="Arial"/>
              </a:rPr>
              <a:t> </a:t>
            </a:r>
            <a:r>
              <a:rPr sz="955">
                <a:solidFill>
                  <a:srgbClr val="626666"/>
                </a:solidFill>
                <a:latin typeface="Arial"/>
                <a:cs typeface="Arial"/>
              </a:rPr>
              <a:t>statement</a:t>
            </a:r>
            <a:r>
              <a:rPr sz="955" spc="-41">
                <a:solidFill>
                  <a:srgbClr val="626666"/>
                </a:solidFill>
                <a:latin typeface="Arial"/>
                <a:cs typeface="Arial"/>
              </a:rPr>
              <a:t> </a:t>
            </a:r>
            <a:r>
              <a:rPr sz="955" spc="-7">
                <a:solidFill>
                  <a:srgbClr val="626666"/>
                </a:solidFill>
                <a:latin typeface="Arial"/>
                <a:cs typeface="Arial"/>
              </a:rPr>
              <a:t>preparation</a:t>
            </a:r>
            <a:endParaRPr sz="955">
              <a:latin typeface="Arial"/>
              <a:cs typeface="Arial"/>
            </a:endParaRPr>
          </a:p>
          <a:p>
            <a:pPr marL="233356" indent="-233356">
              <a:buChar char="•"/>
              <a:tabLst>
                <a:tab pos="233356" algn="l"/>
              </a:tabLst>
            </a:pPr>
            <a:r>
              <a:rPr sz="955">
                <a:solidFill>
                  <a:srgbClr val="626666"/>
                </a:solidFill>
                <a:latin typeface="Arial"/>
                <a:cs typeface="Arial"/>
              </a:rPr>
              <a:t>Cost</a:t>
            </a:r>
            <a:r>
              <a:rPr sz="955" spc="-24">
                <a:solidFill>
                  <a:srgbClr val="626666"/>
                </a:solidFill>
                <a:latin typeface="Arial"/>
                <a:cs typeface="Arial"/>
              </a:rPr>
              <a:t> </a:t>
            </a:r>
            <a:r>
              <a:rPr sz="955">
                <a:solidFill>
                  <a:srgbClr val="626666"/>
                </a:solidFill>
                <a:latin typeface="Arial"/>
                <a:cs typeface="Arial"/>
              </a:rPr>
              <a:t>impact</a:t>
            </a:r>
            <a:r>
              <a:rPr sz="955" spc="-34">
                <a:solidFill>
                  <a:srgbClr val="626666"/>
                </a:solidFill>
                <a:latin typeface="Arial"/>
                <a:cs typeface="Arial"/>
              </a:rPr>
              <a:t> </a:t>
            </a:r>
            <a:r>
              <a:rPr sz="955">
                <a:solidFill>
                  <a:srgbClr val="626666"/>
                </a:solidFill>
                <a:latin typeface="Arial"/>
                <a:cs typeface="Arial"/>
              </a:rPr>
              <a:t>proposal</a:t>
            </a:r>
            <a:r>
              <a:rPr sz="955" spc="-37">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33356" indent="-233356">
              <a:buChar char="•"/>
              <a:tabLst>
                <a:tab pos="233356" algn="l"/>
              </a:tabLst>
            </a:pPr>
            <a:r>
              <a:rPr sz="955">
                <a:solidFill>
                  <a:srgbClr val="626666"/>
                </a:solidFill>
                <a:latin typeface="Arial"/>
                <a:cs typeface="Arial"/>
              </a:rPr>
              <a:t>CAS</a:t>
            </a:r>
            <a:r>
              <a:rPr sz="955" spc="-24">
                <a:solidFill>
                  <a:srgbClr val="626666"/>
                </a:solidFill>
                <a:latin typeface="Arial"/>
                <a:cs typeface="Arial"/>
              </a:rPr>
              <a:t> </a:t>
            </a:r>
            <a:r>
              <a:rPr sz="955">
                <a:solidFill>
                  <a:srgbClr val="626666"/>
                </a:solidFill>
                <a:latin typeface="Arial"/>
                <a:cs typeface="Arial"/>
              </a:rPr>
              <a:t>compliance</a:t>
            </a:r>
            <a:r>
              <a:rPr sz="955" spc="-48">
                <a:solidFill>
                  <a:srgbClr val="626666"/>
                </a:solidFill>
                <a:latin typeface="Arial"/>
                <a:cs typeface="Arial"/>
              </a:rPr>
              <a:t> </a:t>
            </a:r>
            <a:r>
              <a:rPr sz="955">
                <a:solidFill>
                  <a:srgbClr val="626666"/>
                </a:solidFill>
                <a:latin typeface="Arial"/>
                <a:cs typeface="Arial"/>
              </a:rPr>
              <a:t>assessments</a:t>
            </a:r>
            <a:r>
              <a:rPr sz="955" spc="-51">
                <a:solidFill>
                  <a:srgbClr val="626666"/>
                </a:solidFill>
                <a:latin typeface="Arial"/>
                <a:cs typeface="Arial"/>
              </a:rPr>
              <a:t> </a:t>
            </a:r>
            <a:r>
              <a:rPr sz="955" spc="-17">
                <a:solidFill>
                  <a:srgbClr val="626666"/>
                </a:solidFill>
                <a:latin typeface="Arial"/>
                <a:cs typeface="Arial"/>
              </a:rPr>
              <a:t>and</a:t>
            </a:r>
            <a:endParaRPr sz="955">
              <a:latin typeface="Arial"/>
              <a:cs typeface="Arial"/>
            </a:endParaRPr>
          </a:p>
          <a:p>
            <a:pPr marL="233789"/>
            <a:r>
              <a:rPr sz="955">
                <a:solidFill>
                  <a:srgbClr val="626666"/>
                </a:solidFill>
                <a:latin typeface="Arial"/>
                <a:cs typeface="Arial"/>
              </a:rPr>
              <a:t>audit</a:t>
            </a:r>
            <a:r>
              <a:rPr sz="955" spc="-20">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p:txBody>
      </p:sp>
      <p:sp>
        <p:nvSpPr>
          <p:cNvPr id="16" name="object 16"/>
          <p:cNvSpPr txBox="1"/>
          <p:nvPr/>
        </p:nvSpPr>
        <p:spPr>
          <a:xfrm>
            <a:off x="4305138" y="4757845"/>
            <a:ext cx="2912918" cy="613687"/>
          </a:xfrm>
          <a:prstGeom prst="rect">
            <a:avLst/>
          </a:prstGeom>
        </p:spPr>
        <p:txBody>
          <a:bodyPr vert="horz" wrap="square" lIns="0" tIns="88322" rIns="0" bIns="0" rtlCol="0">
            <a:spAutoFit/>
          </a:bodyPr>
          <a:lstStyle/>
          <a:p>
            <a:pPr marL="233356" indent="-233356">
              <a:spcBef>
                <a:spcPts val="695"/>
              </a:spcBef>
              <a:buChar char="•"/>
              <a:tabLst>
                <a:tab pos="233356" algn="l"/>
              </a:tabLst>
            </a:pPr>
            <a:r>
              <a:rPr sz="955">
                <a:solidFill>
                  <a:srgbClr val="626666"/>
                </a:solidFill>
                <a:latin typeface="Arial"/>
                <a:cs typeface="Arial"/>
              </a:rPr>
              <a:t>Pricing,</a:t>
            </a:r>
            <a:r>
              <a:rPr sz="955" spc="-31">
                <a:solidFill>
                  <a:srgbClr val="626666"/>
                </a:solidFill>
                <a:latin typeface="Arial"/>
                <a:cs typeface="Arial"/>
              </a:rPr>
              <a:t> </a:t>
            </a:r>
            <a:r>
              <a:rPr sz="955">
                <a:solidFill>
                  <a:srgbClr val="626666"/>
                </a:solidFill>
                <a:latin typeface="Arial"/>
                <a:cs typeface="Arial"/>
              </a:rPr>
              <a:t>cost</a:t>
            </a:r>
            <a:r>
              <a:rPr sz="955" spc="-31">
                <a:solidFill>
                  <a:srgbClr val="626666"/>
                </a:solidFill>
                <a:latin typeface="Arial"/>
                <a:cs typeface="Arial"/>
              </a:rPr>
              <a:t> </a:t>
            </a:r>
            <a:r>
              <a:rPr sz="955">
                <a:solidFill>
                  <a:srgbClr val="626666"/>
                </a:solidFill>
                <a:latin typeface="Arial"/>
                <a:cs typeface="Arial"/>
              </a:rPr>
              <a:t>volume</a:t>
            </a:r>
            <a:r>
              <a:rPr sz="955" spc="-17">
                <a:solidFill>
                  <a:srgbClr val="626666"/>
                </a:solidFill>
                <a:latin typeface="Arial"/>
                <a:cs typeface="Arial"/>
              </a:rPr>
              <a:t> </a:t>
            </a:r>
            <a:r>
              <a:rPr sz="955">
                <a:solidFill>
                  <a:srgbClr val="626666"/>
                </a:solidFill>
                <a:latin typeface="Arial"/>
                <a:cs typeface="Arial"/>
              </a:rPr>
              <a:t>and</a:t>
            </a:r>
            <a:r>
              <a:rPr sz="955" spc="-24">
                <a:solidFill>
                  <a:srgbClr val="626666"/>
                </a:solidFill>
                <a:latin typeface="Arial"/>
                <a:cs typeface="Arial"/>
              </a:rPr>
              <a:t> </a:t>
            </a:r>
            <a:r>
              <a:rPr sz="955">
                <a:solidFill>
                  <a:srgbClr val="626666"/>
                </a:solidFill>
                <a:latin typeface="Arial"/>
                <a:cs typeface="Arial"/>
              </a:rPr>
              <a:t>USG</a:t>
            </a:r>
            <a:r>
              <a:rPr sz="955" spc="-17">
                <a:solidFill>
                  <a:srgbClr val="626666"/>
                </a:solidFill>
                <a:latin typeface="Arial"/>
                <a:cs typeface="Arial"/>
              </a:rPr>
              <a:t> </a:t>
            </a:r>
            <a:r>
              <a:rPr sz="955">
                <a:solidFill>
                  <a:srgbClr val="626666"/>
                </a:solidFill>
                <a:latin typeface="Arial"/>
                <a:cs typeface="Arial"/>
              </a:rPr>
              <a:t>proposal</a:t>
            </a:r>
            <a:r>
              <a:rPr sz="955" spc="-27">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33789" marR="3464" indent="-233789">
              <a:lnSpc>
                <a:spcPct val="106400"/>
              </a:lnSpc>
              <a:spcBef>
                <a:spcPts val="559"/>
              </a:spcBef>
              <a:buChar char="•"/>
              <a:tabLst>
                <a:tab pos="233789" algn="l"/>
              </a:tabLst>
            </a:pPr>
            <a:r>
              <a:rPr sz="955">
                <a:solidFill>
                  <a:srgbClr val="626666"/>
                </a:solidFill>
                <a:latin typeface="Arial"/>
                <a:cs typeface="Arial"/>
              </a:rPr>
              <a:t>Cost</a:t>
            </a:r>
            <a:r>
              <a:rPr sz="955" spc="-27">
                <a:solidFill>
                  <a:srgbClr val="626666"/>
                </a:solidFill>
                <a:latin typeface="Arial"/>
                <a:cs typeface="Arial"/>
              </a:rPr>
              <a:t> </a:t>
            </a:r>
            <a:r>
              <a:rPr sz="955">
                <a:solidFill>
                  <a:srgbClr val="626666"/>
                </a:solidFill>
                <a:latin typeface="Arial"/>
                <a:cs typeface="Arial"/>
              </a:rPr>
              <a:t>allowability</a:t>
            </a:r>
            <a:r>
              <a:rPr sz="955" spc="-27">
                <a:solidFill>
                  <a:srgbClr val="626666"/>
                </a:solidFill>
                <a:latin typeface="Arial"/>
                <a:cs typeface="Arial"/>
              </a:rPr>
              <a:t> </a:t>
            </a:r>
            <a:r>
              <a:rPr sz="955">
                <a:solidFill>
                  <a:srgbClr val="626666"/>
                </a:solidFill>
                <a:latin typeface="Arial"/>
                <a:cs typeface="Arial"/>
              </a:rPr>
              <a:t>and</a:t>
            </a:r>
            <a:r>
              <a:rPr sz="955" spc="-27">
                <a:solidFill>
                  <a:srgbClr val="626666"/>
                </a:solidFill>
                <a:latin typeface="Arial"/>
                <a:cs typeface="Arial"/>
              </a:rPr>
              <a:t> </a:t>
            </a:r>
            <a:r>
              <a:rPr sz="955">
                <a:solidFill>
                  <a:srgbClr val="626666"/>
                </a:solidFill>
                <a:latin typeface="Arial"/>
                <a:cs typeface="Arial"/>
              </a:rPr>
              <a:t>allocability</a:t>
            </a:r>
            <a:r>
              <a:rPr sz="955" spc="-41">
                <a:solidFill>
                  <a:srgbClr val="626666"/>
                </a:solidFill>
                <a:latin typeface="Arial"/>
                <a:cs typeface="Arial"/>
              </a:rPr>
              <a:t> </a:t>
            </a:r>
            <a:r>
              <a:rPr sz="955">
                <a:solidFill>
                  <a:srgbClr val="626666"/>
                </a:solidFill>
                <a:latin typeface="Arial"/>
                <a:cs typeface="Arial"/>
              </a:rPr>
              <a:t>assessments</a:t>
            </a:r>
            <a:r>
              <a:rPr sz="955" spc="-41">
                <a:solidFill>
                  <a:srgbClr val="626666"/>
                </a:solidFill>
                <a:latin typeface="Arial"/>
                <a:cs typeface="Arial"/>
              </a:rPr>
              <a:t> </a:t>
            </a:r>
            <a:r>
              <a:rPr sz="955" spc="-17">
                <a:solidFill>
                  <a:srgbClr val="626666"/>
                </a:solidFill>
                <a:latin typeface="Arial"/>
                <a:cs typeface="Arial"/>
              </a:rPr>
              <a:t>and </a:t>
            </a:r>
            <a:r>
              <a:rPr sz="955">
                <a:solidFill>
                  <a:srgbClr val="626666"/>
                </a:solidFill>
                <a:latin typeface="Arial"/>
                <a:cs typeface="Arial"/>
              </a:rPr>
              <a:t>advice</a:t>
            </a:r>
            <a:r>
              <a:rPr sz="955" spc="-20">
                <a:solidFill>
                  <a:srgbClr val="626666"/>
                </a:solidFill>
                <a:latin typeface="Arial"/>
                <a:cs typeface="Arial"/>
              </a:rPr>
              <a:t> </a:t>
            </a:r>
            <a:r>
              <a:rPr sz="955">
                <a:solidFill>
                  <a:srgbClr val="626666"/>
                </a:solidFill>
                <a:latin typeface="Arial"/>
                <a:cs typeface="Arial"/>
              </a:rPr>
              <a:t>relative</a:t>
            </a:r>
            <a:r>
              <a:rPr sz="955" spc="-27">
                <a:solidFill>
                  <a:srgbClr val="626666"/>
                </a:solidFill>
                <a:latin typeface="Arial"/>
                <a:cs typeface="Arial"/>
              </a:rPr>
              <a:t> </a:t>
            </a:r>
            <a:r>
              <a:rPr sz="955">
                <a:solidFill>
                  <a:srgbClr val="626666"/>
                </a:solidFill>
                <a:latin typeface="Arial"/>
                <a:cs typeface="Arial"/>
              </a:rPr>
              <a:t>to</a:t>
            </a:r>
            <a:r>
              <a:rPr sz="955" spc="-24">
                <a:solidFill>
                  <a:srgbClr val="626666"/>
                </a:solidFill>
                <a:latin typeface="Arial"/>
                <a:cs typeface="Arial"/>
              </a:rPr>
              <a:t> </a:t>
            </a:r>
            <a:r>
              <a:rPr sz="955">
                <a:solidFill>
                  <a:srgbClr val="626666"/>
                </a:solidFill>
                <a:latin typeface="Arial"/>
                <a:cs typeface="Arial"/>
              </a:rPr>
              <a:t>FAR</a:t>
            </a:r>
            <a:r>
              <a:rPr sz="955" spc="-20">
                <a:solidFill>
                  <a:srgbClr val="626666"/>
                </a:solidFill>
                <a:latin typeface="Arial"/>
                <a:cs typeface="Arial"/>
              </a:rPr>
              <a:t> </a:t>
            </a:r>
            <a:r>
              <a:rPr sz="955">
                <a:solidFill>
                  <a:srgbClr val="626666"/>
                </a:solidFill>
                <a:latin typeface="Arial"/>
                <a:cs typeface="Arial"/>
              </a:rPr>
              <a:t>31,</a:t>
            </a:r>
            <a:r>
              <a:rPr sz="955" spc="-20">
                <a:solidFill>
                  <a:srgbClr val="626666"/>
                </a:solidFill>
                <a:latin typeface="Arial"/>
                <a:cs typeface="Arial"/>
              </a:rPr>
              <a:t> </a:t>
            </a:r>
            <a:r>
              <a:rPr sz="955">
                <a:solidFill>
                  <a:srgbClr val="626666"/>
                </a:solidFill>
                <a:latin typeface="Arial"/>
                <a:cs typeface="Arial"/>
              </a:rPr>
              <a:t>CAS</a:t>
            </a:r>
            <a:r>
              <a:rPr sz="955" spc="-14">
                <a:solidFill>
                  <a:srgbClr val="626666"/>
                </a:solidFill>
                <a:latin typeface="Arial"/>
                <a:cs typeface="Arial"/>
              </a:rPr>
              <a:t> </a:t>
            </a:r>
            <a:r>
              <a:rPr sz="955">
                <a:solidFill>
                  <a:srgbClr val="626666"/>
                </a:solidFill>
                <a:latin typeface="Arial"/>
                <a:cs typeface="Arial"/>
              </a:rPr>
              <a:t>and</a:t>
            </a:r>
            <a:r>
              <a:rPr sz="955" spc="-24">
                <a:solidFill>
                  <a:srgbClr val="626666"/>
                </a:solidFill>
                <a:latin typeface="Arial"/>
                <a:cs typeface="Arial"/>
              </a:rPr>
              <a:t> </a:t>
            </a:r>
            <a:r>
              <a:rPr sz="955">
                <a:solidFill>
                  <a:srgbClr val="626666"/>
                </a:solidFill>
                <a:latin typeface="Arial"/>
                <a:cs typeface="Arial"/>
              </a:rPr>
              <a:t>2</a:t>
            </a:r>
            <a:r>
              <a:rPr sz="955" spc="-20">
                <a:solidFill>
                  <a:srgbClr val="626666"/>
                </a:solidFill>
                <a:latin typeface="Arial"/>
                <a:cs typeface="Arial"/>
              </a:rPr>
              <a:t> </a:t>
            </a:r>
            <a:r>
              <a:rPr sz="955">
                <a:solidFill>
                  <a:srgbClr val="626666"/>
                </a:solidFill>
                <a:latin typeface="Arial"/>
                <a:cs typeface="Arial"/>
              </a:rPr>
              <a:t>CFR</a:t>
            </a:r>
            <a:r>
              <a:rPr sz="955" spc="-14">
                <a:solidFill>
                  <a:srgbClr val="626666"/>
                </a:solidFill>
                <a:latin typeface="Arial"/>
                <a:cs typeface="Arial"/>
              </a:rPr>
              <a:t> </a:t>
            </a:r>
            <a:r>
              <a:rPr sz="955" spc="-17">
                <a:solidFill>
                  <a:srgbClr val="626666"/>
                </a:solidFill>
                <a:latin typeface="Arial"/>
                <a:cs typeface="Arial"/>
              </a:rPr>
              <a:t>200</a:t>
            </a:r>
            <a:endParaRPr sz="955">
              <a:latin typeface="Arial"/>
              <a:cs typeface="Arial"/>
            </a:endParaRPr>
          </a:p>
        </p:txBody>
      </p:sp>
      <p:sp>
        <p:nvSpPr>
          <p:cNvPr id="17" name="object 17"/>
          <p:cNvSpPr txBox="1"/>
          <p:nvPr/>
        </p:nvSpPr>
        <p:spPr>
          <a:xfrm>
            <a:off x="7658719" y="1953962"/>
            <a:ext cx="2022331" cy="155707"/>
          </a:xfrm>
          <a:prstGeom prst="rect">
            <a:avLst/>
          </a:prstGeom>
        </p:spPr>
        <p:txBody>
          <a:bodyPr vert="horz" wrap="square" lIns="0" tIns="8659" rIns="0" bIns="0" rtlCol="0">
            <a:spAutoFit/>
          </a:bodyPr>
          <a:lstStyle/>
          <a:p>
            <a:pPr marL="242015" indent="-233356">
              <a:spcBef>
                <a:spcPts val="68"/>
              </a:spcBef>
              <a:buChar char="•"/>
              <a:tabLst>
                <a:tab pos="242015" algn="l"/>
              </a:tabLst>
            </a:pPr>
            <a:r>
              <a:rPr sz="955">
                <a:solidFill>
                  <a:srgbClr val="626666"/>
                </a:solidFill>
                <a:latin typeface="Arial"/>
                <a:cs typeface="Arial"/>
              </a:rPr>
              <a:t>DFARS</a:t>
            </a:r>
            <a:r>
              <a:rPr sz="955" spc="-27">
                <a:solidFill>
                  <a:srgbClr val="626666"/>
                </a:solidFill>
                <a:latin typeface="Arial"/>
                <a:cs typeface="Arial"/>
              </a:rPr>
              <a:t> </a:t>
            </a:r>
            <a:r>
              <a:rPr sz="955">
                <a:solidFill>
                  <a:srgbClr val="626666"/>
                </a:solidFill>
                <a:latin typeface="Arial"/>
                <a:cs typeface="Arial"/>
              </a:rPr>
              <a:t>business</a:t>
            </a:r>
            <a:r>
              <a:rPr sz="955" spc="-61">
                <a:solidFill>
                  <a:srgbClr val="626666"/>
                </a:solidFill>
                <a:latin typeface="Arial"/>
                <a:cs typeface="Arial"/>
              </a:rPr>
              <a:t> </a:t>
            </a:r>
            <a:r>
              <a:rPr sz="955">
                <a:solidFill>
                  <a:srgbClr val="626666"/>
                </a:solidFill>
                <a:latin typeface="Arial"/>
                <a:cs typeface="Arial"/>
              </a:rPr>
              <a:t>system</a:t>
            </a:r>
            <a:r>
              <a:rPr sz="955" spc="-41">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p:txBody>
      </p:sp>
      <p:sp>
        <p:nvSpPr>
          <p:cNvPr id="18" name="object 18"/>
          <p:cNvSpPr txBox="1"/>
          <p:nvPr/>
        </p:nvSpPr>
        <p:spPr>
          <a:xfrm>
            <a:off x="7923687" y="2180657"/>
            <a:ext cx="2750127" cy="890523"/>
          </a:xfrm>
          <a:prstGeom prst="rect">
            <a:avLst/>
          </a:prstGeom>
        </p:spPr>
        <p:txBody>
          <a:bodyPr vert="horz" wrap="square" lIns="0" tIns="8659" rIns="0" bIns="0" rtlCol="0">
            <a:spAutoFit/>
          </a:bodyPr>
          <a:lstStyle/>
          <a:p>
            <a:pPr marL="242015" indent="-233356">
              <a:spcBef>
                <a:spcPts val="68"/>
              </a:spcBef>
              <a:buChar char="•"/>
              <a:tabLst>
                <a:tab pos="242015" algn="l"/>
              </a:tabLst>
            </a:pPr>
            <a:r>
              <a:rPr sz="955" spc="-7">
                <a:solidFill>
                  <a:srgbClr val="626666"/>
                </a:solidFill>
                <a:latin typeface="Arial"/>
                <a:cs typeface="Arial"/>
              </a:rPr>
              <a:t>Accounting</a:t>
            </a:r>
            <a:endParaRPr sz="955">
              <a:latin typeface="Arial"/>
              <a:cs typeface="Arial"/>
            </a:endParaRPr>
          </a:p>
          <a:p>
            <a:pPr marL="242015" indent="-233356">
              <a:buChar char="•"/>
              <a:tabLst>
                <a:tab pos="242015" algn="l"/>
              </a:tabLst>
            </a:pPr>
            <a:r>
              <a:rPr sz="955">
                <a:solidFill>
                  <a:srgbClr val="626666"/>
                </a:solidFill>
                <a:latin typeface="Arial"/>
                <a:cs typeface="Arial"/>
              </a:rPr>
              <a:t>Cost</a:t>
            </a:r>
            <a:r>
              <a:rPr sz="955" spc="-17">
                <a:solidFill>
                  <a:srgbClr val="626666"/>
                </a:solidFill>
                <a:latin typeface="Arial"/>
                <a:cs typeface="Arial"/>
              </a:rPr>
              <a:t> </a:t>
            </a:r>
            <a:r>
              <a:rPr sz="955" spc="-7">
                <a:solidFill>
                  <a:srgbClr val="626666"/>
                </a:solidFill>
                <a:latin typeface="Arial"/>
                <a:cs typeface="Arial"/>
              </a:rPr>
              <a:t>estimating</a:t>
            </a:r>
            <a:endParaRPr sz="955">
              <a:latin typeface="Arial"/>
              <a:cs typeface="Arial"/>
            </a:endParaRPr>
          </a:p>
          <a:p>
            <a:pPr marL="242015" indent="-233356">
              <a:buChar char="•"/>
              <a:tabLst>
                <a:tab pos="242015" algn="l"/>
              </a:tabLst>
            </a:pPr>
            <a:r>
              <a:rPr sz="955">
                <a:solidFill>
                  <a:srgbClr val="626666"/>
                </a:solidFill>
                <a:latin typeface="Arial"/>
                <a:cs typeface="Arial"/>
              </a:rPr>
              <a:t>Contractor</a:t>
            </a:r>
            <a:r>
              <a:rPr sz="955" spc="-48">
                <a:solidFill>
                  <a:srgbClr val="626666"/>
                </a:solidFill>
                <a:latin typeface="Arial"/>
                <a:cs typeface="Arial"/>
              </a:rPr>
              <a:t> </a:t>
            </a:r>
            <a:r>
              <a:rPr sz="955">
                <a:solidFill>
                  <a:srgbClr val="626666"/>
                </a:solidFill>
                <a:latin typeface="Arial"/>
                <a:cs typeface="Arial"/>
              </a:rPr>
              <a:t>purchasing</a:t>
            </a:r>
            <a:r>
              <a:rPr sz="955" spc="-44">
                <a:solidFill>
                  <a:srgbClr val="626666"/>
                </a:solidFill>
                <a:latin typeface="Arial"/>
                <a:cs typeface="Arial"/>
              </a:rPr>
              <a:t> </a:t>
            </a:r>
            <a:r>
              <a:rPr sz="955" spc="-7">
                <a:solidFill>
                  <a:srgbClr val="626666"/>
                </a:solidFill>
                <a:latin typeface="Arial"/>
                <a:cs typeface="Arial"/>
              </a:rPr>
              <a:t>(CPSR)</a:t>
            </a:r>
            <a:endParaRPr sz="955">
              <a:latin typeface="Arial"/>
              <a:cs typeface="Arial"/>
            </a:endParaRPr>
          </a:p>
          <a:p>
            <a:pPr marL="242015" indent="-233356">
              <a:buChar char="•"/>
              <a:tabLst>
                <a:tab pos="242015" algn="l"/>
              </a:tabLst>
            </a:pPr>
            <a:r>
              <a:rPr sz="955">
                <a:solidFill>
                  <a:srgbClr val="626666"/>
                </a:solidFill>
                <a:latin typeface="Arial"/>
                <a:cs typeface="Arial"/>
              </a:rPr>
              <a:t>Government</a:t>
            </a:r>
            <a:r>
              <a:rPr sz="955" spc="-48">
                <a:solidFill>
                  <a:srgbClr val="626666"/>
                </a:solidFill>
                <a:latin typeface="Arial"/>
                <a:cs typeface="Arial"/>
              </a:rPr>
              <a:t> </a:t>
            </a:r>
            <a:r>
              <a:rPr sz="955" spc="-7">
                <a:solidFill>
                  <a:srgbClr val="626666"/>
                </a:solidFill>
                <a:latin typeface="Arial"/>
                <a:cs typeface="Arial"/>
              </a:rPr>
              <a:t>property</a:t>
            </a:r>
            <a:endParaRPr sz="955">
              <a:latin typeface="Arial"/>
              <a:cs typeface="Arial"/>
            </a:endParaRPr>
          </a:p>
          <a:p>
            <a:pPr marL="242015" indent="-233356">
              <a:buChar char="•"/>
              <a:tabLst>
                <a:tab pos="242015" algn="l"/>
              </a:tabLst>
            </a:pPr>
            <a:r>
              <a:rPr sz="955">
                <a:solidFill>
                  <a:srgbClr val="626666"/>
                </a:solidFill>
                <a:latin typeface="Arial"/>
                <a:cs typeface="Arial"/>
              </a:rPr>
              <a:t>Earned</a:t>
            </a:r>
            <a:r>
              <a:rPr sz="955" spc="-48">
                <a:solidFill>
                  <a:srgbClr val="626666"/>
                </a:solidFill>
                <a:latin typeface="Arial"/>
                <a:cs typeface="Arial"/>
              </a:rPr>
              <a:t> </a:t>
            </a:r>
            <a:r>
              <a:rPr sz="955">
                <a:solidFill>
                  <a:srgbClr val="626666"/>
                </a:solidFill>
                <a:latin typeface="Arial"/>
                <a:cs typeface="Arial"/>
              </a:rPr>
              <a:t>value</a:t>
            </a:r>
            <a:r>
              <a:rPr sz="955" spc="-24">
                <a:solidFill>
                  <a:srgbClr val="626666"/>
                </a:solidFill>
                <a:latin typeface="Arial"/>
                <a:cs typeface="Arial"/>
              </a:rPr>
              <a:t> </a:t>
            </a:r>
            <a:r>
              <a:rPr sz="955">
                <a:solidFill>
                  <a:srgbClr val="626666"/>
                </a:solidFill>
                <a:latin typeface="Arial"/>
                <a:cs typeface="Arial"/>
              </a:rPr>
              <a:t>management</a:t>
            </a:r>
            <a:r>
              <a:rPr sz="955" spc="-55">
                <a:solidFill>
                  <a:srgbClr val="626666"/>
                </a:solidFill>
                <a:latin typeface="Arial"/>
                <a:cs typeface="Arial"/>
              </a:rPr>
              <a:t> </a:t>
            </a:r>
            <a:r>
              <a:rPr sz="955" spc="-7">
                <a:solidFill>
                  <a:srgbClr val="626666"/>
                </a:solidFill>
                <a:latin typeface="Arial"/>
                <a:cs typeface="Arial"/>
              </a:rPr>
              <a:t>(EVMS)</a:t>
            </a:r>
            <a:endParaRPr sz="955">
              <a:latin typeface="Arial"/>
              <a:cs typeface="Arial"/>
            </a:endParaRPr>
          </a:p>
          <a:p>
            <a:pPr marL="242015" indent="-233356">
              <a:buChar char="•"/>
              <a:tabLst>
                <a:tab pos="242015" algn="l"/>
              </a:tabLst>
            </a:pPr>
            <a:r>
              <a:rPr sz="955">
                <a:solidFill>
                  <a:srgbClr val="626666"/>
                </a:solidFill>
                <a:latin typeface="Arial"/>
                <a:cs typeface="Arial"/>
              </a:rPr>
              <a:t>Material</a:t>
            </a:r>
            <a:r>
              <a:rPr sz="955" spc="-37">
                <a:solidFill>
                  <a:srgbClr val="626666"/>
                </a:solidFill>
                <a:latin typeface="Arial"/>
                <a:cs typeface="Arial"/>
              </a:rPr>
              <a:t> </a:t>
            </a:r>
            <a:r>
              <a:rPr sz="955">
                <a:solidFill>
                  <a:srgbClr val="626666"/>
                </a:solidFill>
                <a:latin typeface="Arial"/>
                <a:cs typeface="Arial"/>
              </a:rPr>
              <a:t>management</a:t>
            </a:r>
            <a:r>
              <a:rPr sz="955" spc="-51">
                <a:solidFill>
                  <a:srgbClr val="626666"/>
                </a:solidFill>
                <a:latin typeface="Arial"/>
                <a:cs typeface="Arial"/>
              </a:rPr>
              <a:t> </a:t>
            </a:r>
            <a:r>
              <a:rPr sz="955">
                <a:solidFill>
                  <a:srgbClr val="626666"/>
                </a:solidFill>
                <a:latin typeface="Arial"/>
                <a:cs typeface="Arial"/>
              </a:rPr>
              <a:t>and</a:t>
            </a:r>
            <a:r>
              <a:rPr sz="955" spc="-31">
                <a:solidFill>
                  <a:srgbClr val="626666"/>
                </a:solidFill>
                <a:latin typeface="Arial"/>
                <a:cs typeface="Arial"/>
              </a:rPr>
              <a:t> </a:t>
            </a:r>
            <a:r>
              <a:rPr sz="955">
                <a:solidFill>
                  <a:srgbClr val="626666"/>
                </a:solidFill>
                <a:latin typeface="Arial"/>
                <a:cs typeface="Arial"/>
              </a:rPr>
              <a:t>accounting</a:t>
            </a:r>
            <a:r>
              <a:rPr sz="955" spc="-44">
                <a:solidFill>
                  <a:srgbClr val="626666"/>
                </a:solidFill>
                <a:latin typeface="Arial"/>
                <a:cs typeface="Arial"/>
              </a:rPr>
              <a:t> </a:t>
            </a:r>
            <a:r>
              <a:rPr sz="955" spc="-7">
                <a:solidFill>
                  <a:srgbClr val="626666"/>
                </a:solidFill>
                <a:latin typeface="Arial"/>
                <a:cs typeface="Arial"/>
              </a:rPr>
              <a:t>(MMAS)</a:t>
            </a:r>
            <a:endParaRPr sz="955">
              <a:latin typeface="Arial"/>
              <a:cs typeface="Arial"/>
            </a:endParaRPr>
          </a:p>
        </p:txBody>
      </p:sp>
      <p:sp>
        <p:nvSpPr>
          <p:cNvPr id="19" name="object 19"/>
          <p:cNvSpPr txBox="1"/>
          <p:nvPr/>
        </p:nvSpPr>
        <p:spPr>
          <a:xfrm>
            <a:off x="7658718" y="3119713"/>
            <a:ext cx="3141518" cy="1361684"/>
          </a:xfrm>
          <a:prstGeom prst="rect">
            <a:avLst/>
          </a:prstGeom>
        </p:spPr>
        <p:txBody>
          <a:bodyPr vert="horz" wrap="square" lIns="0" tIns="87024" rIns="0" bIns="0" rtlCol="0">
            <a:spAutoFit/>
          </a:bodyPr>
          <a:lstStyle/>
          <a:p>
            <a:pPr marL="242015" indent="-233356">
              <a:spcBef>
                <a:spcPts val="685"/>
              </a:spcBef>
              <a:buChar char="•"/>
              <a:tabLst>
                <a:tab pos="242015" algn="l"/>
              </a:tabLst>
            </a:pPr>
            <a:r>
              <a:rPr sz="955" spc="-7">
                <a:solidFill>
                  <a:srgbClr val="626666"/>
                </a:solidFill>
                <a:latin typeface="Arial"/>
                <a:cs typeface="Arial"/>
              </a:rPr>
              <a:t>Pre-</a:t>
            </a:r>
            <a:r>
              <a:rPr sz="955">
                <a:solidFill>
                  <a:srgbClr val="626666"/>
                </a:solidFill>
                <a:latin typeface="Arial"/>
                <a:cs typeface="Arial"/>
              </a:rPr>
              <a:t>award</a:t>
            </a:r>
            <a:r>
              <a:rPr sz="955" spc="-20">
                <a:solidFill>
                  <a:srgbClr val="626666"/>
                </a:solidFill>
                <a:latin typeface="Arial"/>
                <a:cs typeface="Arial"/>
              </a:rPr>
              <a:t> </a:t>
            </a:r>
            <a:r>
              <a:rPr sz="955">
                <a:solidFill>
                  <a:srgbClr val="626666"/>
                </a:solidFill>
                <a:latin typeface="Arial"/>
                <a:cs typeface="Arial"/>
              </a:rPr>
              <a:t>accounting</a:t>
            </a:r>
            <a:r>
              <a:rPr sz="955" spc="-37">
                <a:solidFill>
                  <a:srgbClr val="626666"/>
                </a:solidFill>
                <a:latin typeface="Arial"/>
                <a:cs typeface="Arial"/>
              </a:rPr>
              <a:t> </a:t>
            </a:r>
            <a:r>
              <a:rPr sz="955">
                <a:solidFill>
                  <a:srgbClr val="626666"/>
                </a:solidFill>
                <a:latin typeface="Arial"/>
                <a:cs typeface="Arial"/>
              </a:rPr>
              <a:t>system</a:t>
            </a:r>
            <a:r>
              <a:rPr sz="955" spc="-24">
                <a:solidFill>
                  <a:srgbClr val="626666"/>
                </a:solidFill>
                <a:latin typeface="Arial"/>
                <a:cs typeface="Arial"/>
              </a:rPr>
              <a:t> </a:t>
            </a:r>
            <a:r>
              <a:rPr sz="955">
                <a:solidFill>
                  <a:srgbClr val="626666"/>
                </a:solidFill>
                <a:latin typeface="Arial"/>
                <a:cs typeface="Arial"/>
              </a:rPr>
              <a:t>support</a:t>
            </a:r>
            <a:r>
              <a:rPr sz="955" spc="-41">
                <a:solidFill>
                  <a:srgbClr val="626666"/>
                </a:solidFill>
                <a:latin typeface="Arial"/>
                <a:cs typeface="Arial"/>
              </a:rPr>
              <a:t> </a:t>
            </a:r>
            <a:r>
              <a:rPr sz="955">
                <a:solidFill>
                  <a:srgbClr val="626666"/>
                </a:solidFill>
                <a:latin typeface="Arial"/>
                <a:cs typeface="Arial"/>
              </a:rPr>
              <a:t>(SF</a:t>
            </a:r>
            <a:r>
              <a:rPr sz="955" spc="-10">
                <a:solidFill>
                  <a:srgbClr val="626666"/>
                </a:solidFill>
                <a:latin typeface="Arial"/>
                <a:cs typeface="Arial"/>
              </a:rPr>
              <a:t> </a:t>
            </a:r>
            <a:r>
              <a:rPr sz="955" spc="-7">
                <a:solidFill>
                  <a:srgbClr val="626666"/>
                </a:solidFill>
                <a:latin typeface="Arial"/>
                <a:cs typeface="Arial"/>
              </a:rPr>
              <a:t>1408)</a:t>
            </a:r>
            <a:endParaRPr sz="955">
              <a:latin typeface="Arial"/>
              <a:cs typeface="Arial"/>
            </a:endParaRPr>
          </a:p>
          <a:p>
            <a:pPr marL="242015" indent="-233356">
              <a:spcBef>
                <a:spcPts val="624"/>
              </a:spcBef>
              <a:buChar char="•"/>
              <a:tabLst>
                <a:tab pos="242015" algn="l"/>
              </a:tabLst>
            </a:pPr>
            <a:r>
              <a:rPr sz="955" spc="-7">
                <a:solidFill>
                  <a:srgbClr val="626666"/>
                </a:solidFill>
                <a:latin typeface="Arial"/>
                <a:cs typeface="Arial"/>
              </a:rPr>
              <a:t>Third-</a:t>
            </a:r>
            <a:r>
              <a:rPr sz="955">
                <a:solidFill>
                  <a:srgbClr val="626666"/>
                </a:solidFill>
                <a:latin typeface="Arial"/>
                <a:cs typeface="Arial"/>
              </a:rPr>
              <a:t>party</a:t>
            </a:r>
            <a:r>
              <a:rPr sz="955" spc="-31">
                <a:solidFill>
                  <a:srgbClr val="626666"/>
                </a:solidFill>
                <a:latin typeface="Arial"/>
                <a:cs typeface="Arial"/>
              </a:rPr>
              <a:t> </a:t>
            </a:r>
            <a:r>
              <a:rPr sz="955">
                <a:solidFill>
                  <a:srgbClr val="626666"/>
                </a:solidFill>
                <a:latin typeface="Arial"/>
                <a:cs typeface="Arial"/>
              </a:rPr>
              <a:t>business</a:t>
            </a:r>
            <a:r>
              <a:rPr sz="955" spc="-37">
                <a:solidFill>
                  <a:srgbClr val="626666"/>
                </a:solidFill>
                <a:latin typeface="Arial"/>
                <a:cs typeface="Arial"/>
              </a:rPr>
              <a:t> </a:t>
            </a:r>
            <a:r>
              <a:rPr sz="955">
                <a:solidFill>
                  <a:srgbClr val="626666"/>
                </a:solidFill>
                <a:latin typeface="Arial"/>
                <a:cs typeface="Arial"/>
              </a:rPr>
              <a:t>system</a:t>
            </a:r>
            <a:r>
              <a:rPr sz="955" spc="-20">
                <a:solidFill>
                  <a:srgbClr val="626666"/>
                </a:solidFill>
                <a:latin typeface="Arial"/>
                <a:cs typeface="Arial"/>
              </a:rPr>
              <a:t> </a:t>
            </a:r>
            <a:r>
              <a:rPr sz="955" spc="-7">
                <a:solidFill>
                  <a:srgbClr val="626666"/>
                </a:solidFill>
                <a:latin typeface="Arial"/>
                <a:cs typeface="Arial"/>
              </a:rPr>
              <a:t>assessments</a:t>
            </a:r>
            <a:endParaRPr sz="955">
              <a:latin typeface="Arial"/>
              <a:cs typeface="Arial"/>
            </a:endParaRPr>
          </a:p>
          <a:p>
            <a:pPr marL="242448" marR="277949" indent="-233789">
              <a:lnSpc>
                <a:spcPct val="107100"/>
              </a:lnSpc>
              <a:spcBef>
                <a:spcPts val="549"/>
              </a:spcBef>
              <a:buChar char="•"/>
              <a:tabLst>
                <a:tab pos="242448" algn="l"/>
              </a:tabLst>
            </a:pPr>
            <a:r>
              <a:rPr sz="955">
                <a:solidFill>
                  <a:srgbClr val="626666"/>
                </a:solidFill>
                <a:latin typeface="Arial"/>
                <a:cs typeface="Arial"/>
              </a:rPr>
              <a:t>USG</a:t>
            </a:r>
            <a:r>
              <a:rPr sz="955" spc="-14">
                <a:solidFill>
                  <a:srgbClr val="626666"/>
                </a:solidFill>
                <a:latin typeface="Arial"/>
                <a:cs typeface="Arial"/>
              </a:rPr>
              <a:t> </a:t>
            </a:r>
            <a:r>
              <a:rPr sz="955">
                <a:solidFill>
                  <a:srgbClr val="626666"/>
                </a:solidFill>
                <a:latin typeface="Arial"/>
                <a:cs typeface="Arial"/>
              </a:rPr>
              <a:t>audit</a:t>
            </a:r>
            <a:r>
              <a:rPr sz="955" spc="-14">
                <a:solidFill>
                  <a:srgbClr val="626666"/>
                </a:solidFill>
                <a:latin typeface="Arial"/>
                <a:cs typeface="Arial"/>
              </a:rPr>
              <a:t> </a:t>
            </a:r>
            <a:r>
              <a:rPr sz="955">
                <a:solidFill>
                  <a:srgbClr val="626666"/>
                </a:solidFill>
                <a:latin typeface="Arial"/>
                <a:cs typeface="Arial"/>
              </a:rPr>
              <a:t>support</a:t>
            </a:r>
            <a:r>
              <a:rPr sz="955" spc="-34">
                <a:solidFill>
                  <a:srgbClr val="626666"/>
                </a:solidFill>
                <a:latin typeface="Arial"/>
                <a:cs typeface="Arial"/>
              </a:rPr>
              <a:t> </a:t>
            </a:r>
            <a:r>
              <a:rPr sz="955">
                <a:solidFill>
                  <a:srgbClr val="626666"/>
                </a:solidFill>
                <a:latin typeface="Arial"/>
                <a:cs typeface="Arial"/>
              </a:rPr>
              <a:t>and</a:t>
            </a:r>
            <a:r>
              <a:rPr sz="955" spc="-17">
                <a:solidFill>
                  <a:srgbClr val="626666"/>
                </a:solidFill>
                <a:latin typeface="Arial"/>
                <a:cs typeface="Arial"/>
              </a:rPr>
              <a:t> </a:t>
            </a:r>
            <a:r>
              <a:rPr sz="955">
                <a:solidFill>
                  <a:srgbClr val="626666"/>
                </a:solidFill>
                <a:latin typeface="Arial"/>
                <a:cs typeface="Arial"/>
              </a:rPr>
              <a:t>audit</a:t>
            </a:r>
            <a:r>
              <a:rPr sz="955" spc="-24">
                <a:solidFill>
                  <a:srgbClr val="626666"/>
                </a:solidFill>
                <a:latin typeface="Arial"/>
                <a:cs typeface="Arial"/>
              </a:rPr>
              <a:t> </a:t>
            </a:r>
            <a:r>
              <a:rPr sz="955">
                <a:solidFill>
                  <a:srgbClr val="626666"/>
                </a:solidFill>
                <a:latin typeface="Arial"/>
                <a:cs typeface="Arial"/>
              </a:rPr>
              <a:t>preparation</a:t>
            </a:r>
            <a:r>
              <a:rPr sz="955" spc="-34">
                <a:solidFill>
                  <a:srgbClr val="626666"/>
                </a:solidFill>
                <a:latin typeface="Arial"/>
                <a:cs typeface="Arial"/>
              </a:rPr>
              <a:t> </a:t>
            </a:r>
            <a:r>
              <a:rPr sz="955" spc="-7">
                <a:solidFill>
                  <a:srgbClr val="626666"/>
                </a:solidFill>
                <a:latin typeface="Arial"/>
                <a:cs typeface="Arial"/>
              </a:rPr>
              <a:t>(“mock” audits)</a:t>
            </a:r>
            <a:endParaRPr sz="955">
              <a:latin typeface="Arial"/>
              <a:cs typeface="Arial"/>
            </a:endParaRPr>
          </a:p>
          <a:p>
            <a:pPr marL="242448" marR="3464" indent="-233789">
              <a:lnSpc>
                <a:spcPct val="107100"/>
              </a:lnSpc>
              <a:spcBef>
                <a:spcPts val="539"/>
              </a:spcBef>
              <a:buChar char="•"/>
              <a:tabLst>
                <a:tab pos="242448" algn="l"/>
              </a:tabLst>
            </a:pPr>
            <a:r>
              <a:rPr sz="955" spc="-17">
                <a:solidFill>
                  <a:srgbClr val="585858"/>
                </a:solidFill>
                <a:latin typeface="Arial"/>
                <a:cs typeface="Arial"/>
              </a:rPr>
              <a:t>Corrective</a:t>
            </a:r>
            <a:r>
              <a:rPr sz="955" spc="-24">
                <a:solidFill>
                  <a:srgbClr val="585858"/>
                </a:solidFill>
                <a:latin typeface="Arial"/>
                <a:cs typeface="Arial"/>
              </a:rPr>
              <a:t> </a:t>
            </a:r>
            <a:r>
              <a:rPr sz="955" spc="-14">
                <a:solidFill>
                  <a:srgbClr val="585858"/>
                </a:solidFill>
                <a:latin typeface="Arial"/>
                <a:cs typeface="Arial"/>
              </a:rPr>
              <a:t>action</a:t>
            </a:r>
            <a:r>
              <a:rPr sz="955" spc="-41">
                <a:solidFill>
                  <a:srgbClr val="585858"/>
                </a:solidFill>
                <a:latin typeface="Arial"/>
                <a:cs typeface="Arial"/>
              </a:rPr>
              <a:t> </a:t>
            </a:r>
            <a:r>
              <a:rPr sz="955" spc="-14">
                <a:solidFill>
                  <a:srgbClr val="585858"/>
                </a:solidFill>
                <a:latin typeface="Arial"/>
                <a:cs typeface="Arial"/>
              </a:rPr>
              <a:t>plan</a:t>
            </a:r>
            <a:r>
              <a:rPr sz="955" spc="-34">
                <a:solidFill>
                  <a:srgbClr val="585858"/>
                </a:solidFill>
                <a:latin typeface="Arial"/>
                <a:cs typeface="Arial"/>
              </a:rPr>
              <a:t> </a:t>
            </a:r>
            <a:r>
              <a:rPr sz="955" spc="-20">
                <a:solidFill>
                  <a:srgbClr val="585858"/>
                </a:solidFill>
                <a:latin typeface="Arial"/>
                <a:cs typeface="Arial"/>
              </a:rPr>
              <a:t>development </a:t>
            </a:r>
            <a:r>
              <a:rPr sz="955" spc="-7">
                <a:solidFill>
                  <a:srgbClr val="585858"/>
                </a:solidFill>
                <a:latin typeface="Arial"/>
                <a:cs typeface="Arial"/>
              </a:rPr>
              <a:t>and</a:t>
            </a:r>
            <a:r>
              <a:rPr sz="955" spc="-37">
                <a:solidFill>
                  <a:srgbClr val="585858"/>
                </a:solidFill>
                <a:latin typeface="Arial"/>
                <a:cs typeface="Arial"/>
              </a:rPr>
              <a:t> </a:t>
            </a:r>
            <a:r>
              <a:rPr sz="955" spc="-14">
                <a:solidFill>
                  <a:srgbClr val="585858"/>
                </a:solidFill>
                <a:latin typeface="Arial"/>
                <a:cs typeface="Arial"/>
              </a:rPr>
              <a:t>implementation </a:t>
            </a:r>
            <a:r>
              <a:rPr sz="955" spc="-17">
                <a:solidFill>
                  <a:srgbClr val="585858"/>
                </a:solidFill>
                <a:latin typeface="Arial"/>
                <a:cs typeface="Arial"/>
              </a:rPr>
              <a:t>support</a:t>
            </a:r>
            <a:r>
              <a:rPr sz="955" spc="-51">
                <a:solidFill>
                  <a:srgbClr val="585858"/>
                </a:solidFill>
                <a:latin typeface="Arial"/>
                <a:cs typeface="Arial"/>
              </a:rPr>
              <a:t> </a:t>
            </a:r>
            <a:r>
              <a:rPr sz="955">
                <a:solidFill>
                  <a:srgbClr val="585858"/>
                </a:solidFill>
                <a:latin typeface="Arial"/>
                <a:cs typeface="Arial"/>
              </a:rPr>
              <a:t>in</a:t>
            </a:r>
            <a:r>
              <a:rPr sz="955" spc="-31">
                <a:solidFill>
                  <a:srgbClr val="585858"/>
                </a:solidFill>
                <a:latin typeface="Arial"/>
                <a:cs typeface="Arial"/>
              </a:rPr>
              <a:t> </a:t>
            </a:r>
            <a:r>
              <a:rPr sz="955" spc="-17">
                <a:solidFill>
                  <a:srgbClr val="585858"/>
                </a:solidFill>
                <a:latin typeface="Arial"/>
                <a:cs typeface="Arial"/>
              </a:rPr>
              <a:t>response</a:t>
            </a:r>
            <a:r>
              <a:rPr sz="955" spc="-41">
                <a:solidFill>
                  <a:srgbClr val="585858"/>
                </a:solidFill>
                <a:latin typeface="Arial"/>
                <a:cs typeface="Arial"/>
              </a:rPr>
              <a:t> </a:t>
            </a:r>
            <a:r>
              <a:rPr sz="955">
                <a:solidFill>
                  <a:srgbClr val="585858"/>
                </a:solidFill>
                <a:latin typeface="Arial"/>
                <a:cs typeface="Arial"/>
              </a:rPr>
              <a:t>to</a:t>
            </a:r>
            <a:r>
              <a:rPr sz="955" spc="-37">
                <a:solidFill>
                  <a:srgbClr val="585858"/>
                </a:solidFill>
                <a:latin typeface="Arial"/>
                <a:cs typeface="Arial"/>
              </a:rPr>
              <a:t> </a:t>
            </a:r>
            <a:r>
              <a:rPr sz="955" spc="-20">
                <a:solidFill>
                  <a:srgbClr val="585858"/>
                </a:solidFill>
                <a:latin typeface="Arial"/>
                <a:cs typeface="Arial"/>
              </a:rPr>
              <a:t>government</a:t>
            </a:r>
            <a:r>
              <a:rPr sz="955" spc="-27">
                <a:solidFill>
                  <a:srgbClr val="585858"/>
                </a:solidFill>
                <a:latin typeface="Arial"/>
                <a:cs typeface="Arial"/>
              </a:rPr>
              <a:t> </a:t>
            </a:r>
            <a:r>
              <a:rPr sz="955" spc="-14">
                <a:solidFill>
                  <a:srgbClr val="585858"/>
                </a:solidFill>
                <a:latin typeface="Arial"/>
                <a:cs typeface="Arial"/>
              </a:rPr>
              <a:t>audit</a:t>
            </a:r>
            <a:r>
              <a:rPr sz="955" spc="-24">
                <a:solidFill>
                  <a:srgbClr val="585858"/>
                </a:solidFill>
                <a:latin typeface="Arial"/>
                <a:cs typeface="Arial"/>
              </a:rPr>
              <a:t> </a:t>
            </a:r>
            <a:r>
              <a:rPr sz="955" spc="-7">
                <a:solidFill>
                  <a:srgbClr val="585858"/>
                </a:solidFill>
                <a:latin typeface="Arial"/>
                <a:cs typeface="Arial"/>
              </a:rPr>
              <a:t>deficiency findings</a:t>
            </a:r>
            <a:endParaRPr sz="955">
              <a:latin typeface="Arial"/>
              <a:cs typeface="Arial"/>
            </a:endParaRPr>
          </a:p>
        </p:txBody>
      </p:sp>
      <p:sp>
        <p:nvSpPr>
          <p:cNvPr id="20" name="object 20"/>
          <p:cNvSpPr txBox="1"/>
          <p:nvPr/>
        </p:nvSpPr>
        <p:spPr>
          <a:xfrm>
            <a:off x="7658718" y="4564504"/>
            <a:ext cx="3211657" cy="155707"/>
          </a:xfrm>
          <a:prstGeom prst="rect">
            <a:avLst/>
          </a:prstGeom>
        </p:spPr>
        <p:txBody>
          <a:bodyPr vert="horz" wrap="square" lIns="0" tIns="8659" rIns="0" bIns="0" rtlCol="0">
            <a:spAutoFit/>
          </a:bodyPr>
          <a:lstStyle/>
          <a:p>
            <a:pPr marL="242015" indent="-233356">
              <a:spcBef>
                <a:spcPts val="68"/>
              </a:spcBef>
              <a:buChar char="•"/>
              <a:tabLst>
                <a:tab pos="242015" algn="l"/>
              </a:tabLst>
            </a:pPr>
            <a:r>
              <a:rPr sz="955" spc="-7">
                <a:solidFill>
                  <a:srgbClr val="626666"/>
                </a:solidFill>
                <a:latin typeface="Arial"/>
                <a:cs typeface="Arial"/>
              </a:rPr>
              <a:t>Policy,</a:t>
            </a:r>
            <a:r>
              <a:rPr sz="955" spc="-24">
                <a:solidFill>
                  <a:srgbClr val="626666"/>
                </a:solidFill>
                <a:latin typeface="Arial"/>
                <a:cs typeface="Arial"/>
              </a:rPr>
              <a:t> </a:t>
            </a:r>
            <a:r>
              <a:rPr sz="955">
                <a:solidFill>
                  <a:srgbClr val="626666"/>
                </a:solidFill>
                <a:latin typeface="Arial"/>
                <a:cs typeface="Arial"/>
              </a:rPr>
              <a:t>procedure</a:t>
            </a:r>
            <a:r>
              <a:rPr sz="955" spc="-48">
                <a:solidFill>
                  <a:srgbClr val="626666"/>
                </a:solidFill>
                <a:latin typeface="Arial"/>
                <a:cs typeface="Arial"/>
              </a:rPr>
              <a:t> </a:t>
            </a:r>
            <a:r>
              <a:rPr sz="955">
                <a:solidFill>
                  <a:srgbClr val="626666"/>
                </a:solidFill>
                <a:latin typeface="Arial"/>
                <a:cs typeface="Arial"/>
              </a:rPr>
              <a:t>and</a:t>
            </a:r>
            <a:r>
              <a:rPr sz="955" spc="-31">
                <a:solidFill>
                  <a:srgbClr val="626666"/>
                </a:solidFill>
                <a:latin typeface="Arial"/>
                <a:cs typeface="Arial"/>
              </a:rPr>
              <a:t> </a:t>
            </a:r>
            <a:r>
              <a:rPr sz="955">
                <a:solidFill>
                  <a:srgbClr val="626666"/>
                </a:solidFill>
                <a:latin typeface="Arial"/>
                <a:cs typeface="Arial"/>
              </a:rPr>
              <a:t>internal</a:t>
            </a:r>
            <a:r>
              <a:rPr sz="955" spc="-48">
                <a:solidFill>
                  <a:srgbClr val="626666"/>
                </a:solidFill>
                <a:latin typeface="Arial"/>
                <a:cs typeface="Arial"/>
              </a:rPr>
              <a:t> </a:t>
            </a:r>
            <a:r>
              <a:rPr sz="955">
                <a:solidFill>
                  <a:srgbClr val="626666"/>
                </a:solidFill>
                <a:latin typeface="Arial"/>
                <a:cs typeface="Arial"/>
              </a:rPr>
              <a:t>control</a:t>
            </a:r>
            <a:r>
              <a:rPr sz="955" spc="-48">
                <a:solidFill>
                  <a:srgbClr val="626666"/>
                </a:solidFill>
                <a:latin typeface="Arial"/>
                <a:cs typeface="Arial"/>
              </a:rPr>
              <a:t> </a:t>
            </a:r>
            <a:r>
              <a:rPr sz="955">
                <a:solidFill>
                  <a:srgbClr val="626666"/>
                </a:solidFill>
                <a:latin typeface="Arial"/>
                <a:cs typeface="Arial"/>
              </a:rPr>
              <a:t>assessments</a:t>
            </a:r>
            <a:r>
              <a:rPr sz="955" spc="-44">
                <a:solidFill>
                  <a:srgbClr val="626666"/>
                </a:solidFill>
                <a:latin typeface="Arial"/>
                <a:cs typeface="Arial"/>
              </a:rPr>
              <a:t> </a:t>
            </a:r>
            <a:r>
              <a:rPr sz="955" spc="-17">
                <a:solidFill>
                  <a:srgbClr val="626666"/>
                </a:solidFill>
                <a:latin typeface="Arial"/>
                <a:cs typeface="Arial"/>
              </a:rPr>
              <a:t>and</a:t>
            </a:r>
            <a:endParaRPr sz="955">
              <a:latin typeface="Arial"/>
              <a:cs typeface="Arial"/>
            </a:endParaRPr>
          </a:p>
        </p:txBody>
      </p:sp>
      <p:sp>
        <p:nvSpPr>
          <p:cNvPr id="21" name="object 21"/>
          <p:cNvSpPr txBox="1"/>
          <p:nvPr/>
        </p:nvSpPr>
        <p:spPr>
          <a:xfrm>
            <a:off x="7658718" y="4641252"/>
            <a:ext cx="3162300" cy="1226752"/>
          </a:xfrm>
          <a:prstGeom prst="rect">
            <a:avLst/>
          </a:prstGeom>
        </p:spPr>
        <p:txBody>
          <a:bodyPr vert="horz" wrap="square" lIns="0" tIns="87890" rIns="0" bIns="0" rtlCol="0">
            <a:spAutoFit/>
          </a:bodyPr>
          <a:lstStyle/>
          <a:p>
            <a:pPr marL="242448">
              <a:spcBef>
                <a:spcPts val="692"/>
              </a:spcBef>
            </a:pPr>
            <a:r>
              <a:rPr sz="955">
                <a:solidFill>
                  <a:srgbClr val="626666"/>
                </a:solidFill>
                <a:latin typeface="Arial"/>
                <a:cs typeface="Arial"/>
              </a:rPr>
              <a:t>documentation</a:t>
            </a:r>
            <a:r>
              <a:rPr sz="955" spc="-61">
                <a:solidFill>
                  <a:srgbClr val="626666"/>
                </a:solidFill>
                <a:latin typeface="Arial"/>
                <a:cs typeface="Arial"/>
              </a:rPr>
              <a:t> </a:t>
            </a:r>
            <a:r>
              <a:rPr sz="955" spc="-7">
                <a:solidFill>
                  <a:srgbClr val="626666"/>
                </a:solidFill>
                <a:latin typeface="Arial"/>
                <a:cs typeface="Arial"/>
              </a:rPr>
              <a:t>development</a:t>
            </a:r>
            <a:endParaRPr sz="955">
              <a:latin typeface="Arial"/>
              <a:cs typeface="Arial"/>
            </a:endParaRPr>
          </a:p>
          <a:p>
            <a:pPr marL="242448" marR="3464" indent="-233789">
              <a:lnSpc>
                <a:spcPct val="107100"/>
              </a:lnSpc>
              <a:spcBef>
                <a:spcPts val="542"/>
              </a:spcBef>
              <a:buChar char="•"/>
              <a:tabLst>
                <a:tab pos="242448" algn="l"/>
              </a:tabLst>
            </a:pPr>
            <a:r>
              <a:rPr sz="955">
                <a:solidFill>
                  <a:srgbClr val="626666"/>
                </a:solidFill>
                <a:latin typeface="Arial"/>
                <a:cs typeface="Arial"/>
              </a:rPr>
              <a:t>Enterprise</a:t>
            </a:r>
            <a:r>
              <a:rPr sz="955" spc="-48">
                <a:solidFill>
                  <a:srgbClr val="626666"/>
                </a:solidFill>
                <a:latin typeface="Arial"/>
                <a:cs typeface="Arial"/>
              </a:rPr>
              <a:t> </a:t>
            </a:r>
            <a:r>
              <a:rPr sz="955">
                <a:solidFill>
                  <a:srgbClr val="626666"/>
                </a:solidFill>
                <a:latin typeface="Arial"/>
                <a:cs typeface="Arial"/>
              </a:rPr>
              <a:t>resource</a:t>
            </a:r>
            <a:r>
              <a:rPr sz="955" spc="-37">
                <a:solidFill>
                  <a:srgbClr val="626666"/>
                </a:solidFill>
                <a:latin typeface="Arial"/>
                <a:cs typeface="Arial"/>
              </a:rPr>
              <a:t> </a:t>
            </a:r>
            <a:r>
              <a:rPr sz="955">
                <a:solidFill>
                  <a:srgbClr val="626666"/>
                </a:solidFill>
                <a:latin typeface="Arial"/>
                <a:cs typeface="Arial"/>
              </a:rPr>
              <a:t>planning</a:t>
            </a:r>
            <a:r>
              <a:rPr sz="955" spc="-34">
                <a:solidFill>
                  <a:srgbClr val="626666"/>
                </a:solidFill>
                <a:latin typeface="Arial"/>
                <a:cs typeface="Arial"/>
              </a:rPr>
              <a:t> </a:t>
            </a:r>
            <a:r>
              <a:rPr sz="955">
                <a:solidFill>
                  <a:srgbClr val="626666"/>
                </a:solidFill>
                <a:latin typeface="Arial"/>
                <a:cs typeface="Arial"/>
              </a:rPr>
              <a:t>(ERP)</a:t>
            </a:r>
            <a:r>
              <a:rPr sz="955" spc="-14">
                <a:solidFill>
                  <a:srgbClr val="626666"/>
                </a:solidFill>
                <a:latin typeface="Arial"/>
                <a:cs typeface="Arial"/>
              </a:rPr>
              <a:t> </a:t>
            </a:r>
            <a:r>
              <a:rPr sz="955">
                <a:solidFill>
                  <a:srgbClr val="626666"/>
                </a:solidFill>
                <a:latin typeface="Arial"/>
                <a:cs typeface="Arial"/>
              </a:rPr>
              <a:t>system</a:t>
            </a:r>
            <a:r>
              <a:rPr sz="955" spc="-24">
                <a:solidFill>
                  <a:srgbClr val="626666"/>
                </a:solidFill>
                <a:latin typeface="Arial"/>
                <a:cs typeface="Arial"/>
              </a:rPr>
              <a:t> </a:t>
            </a:r>
            <a:r>
              <a:rPr sz="955" spc="-7">
                <a:solidFill>
                  <a:srgbClr val="626666"/>
                </a:solidFill>
                <a:latin typeface="Arial"/>
                <a:cs typeface="Arial"/>
              </a:rPr>
              <a:t>evaluation </a:t>
            </a:r>
            <a:r>
              <a:rPr sz="955">
                <a:solidFill>
                  <a:srgbClr val="626666"/>
                </a:solidFill>
                <a:latin typeface="Arial"/>
                <a:cs typeface="Arial"/>
              </a:rPr>
              <a:t>and</a:t>
            </a:r>
            <a:r>
              <a:rPr sz="955" spc="-34">
                <a:solidFill>
                  <a:srgbClr val="626666"/>
                </a:solidFill>
                <a:latin typeface="Arial"/>
                <a:cs typeface="Arial"/>
              </a:rPr>
              <a:t> </a:t>
            </a:r>
            <a:r>
              <a:rPr sz="955">
                <a:solidFill>
                  <a:srgbClr val="626666"/>
                </a:solidFill>
                <a:latin typeface="Arial"/>
                <a:cs typeface="Arial"/>
              </a:rPr>
              <a:t>implementation</a:t>
            </a:r>
            <a:r>
              <a:rPr sz="955" spc="-44">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42448" marR="187031" indent="-233789">
              <a:lnSpc>
                <a:spcPct val="106400"/>
              </a:lnSpc>
              <a:spcBef>
                <a:spcPts val="559"/>
              </a:spcBef>
              <a:buChar char="•"/>
              <a:tabLst>
                <a:tab pos="242448" algn="l"/>
              </a:tabLst>
            </a:pPr>
            <a:r>
              <a:rPr sz="955">
                <a:solidFill>
                  <a:srgbClr val="626666"/>
                </a:solidFill>
                <a:latin typeface="Arial"/>
                <a:cs typeface="Arial"/>
              </a:rPr>
              <a:t>Cybersecurity</a:t>
            </a:r>
            <a:r>
              <a:rPr sz="955" spc="-51">
                <a:solidFill>
                  <a:srgbClr val="626666"/>
                </a:solidFill>
                <a:latin typeface="Arial"/>
                <a:cs typeface="Arial"/>
              </a:rPr>
              <a:t> </a:t>
            </a:r>
            <a:r>
              <a:rPr sz="955">
                <a:solidFill>
                  <a:srgbClr val="626666"/>
                </a:solidFill>
                <a:latin typeface="Arial"/>
                <a:cs typeface="Arial"/>
              </a:rPr>
              <a:t>Maturity</a:t>
            </a:r>
            <a:r>
              <a:rPr sz="955" spc="-44">
                <a:solidFill>
                  <a:srgbClr val="626666"/>
                </a:solidFill>
                <a:latin typeface="Arial"/>
                <a:cs typeface="Arial"/>
              </a:rPr>
              <a:t> </a:t>
            </a:r>
            <a:r>
              <a:rPr sz="955">
                <a:solidFill>
                  <a:srgbClr val="626666"/>
                </a:solidFill>
                <a:latin typeface="Arial"/>
                <a:cs typeface="Arial"/>
              </a:rPr>
              <a:t>Model</a:t>
            </a:r>
            <a:r>
              <a:rPr sz="955" spc="-31">
                <a:solidFill>
                  <a:srgbClr val="626666"/>
                </a:solidFill>
                <a:latin typeface="Arial"/>
                <a:cs typeface="Arial"/>
              </a:rPr>
              <a:t> </a:t>
            </a:r>
            <a:r>
              <a:rPr sz="955">
                <a:solidFill>
                  <a:srgbClr val="626666"/>
                </a:solidFill>
                <a:latin typeface="Arial"/>
                <a:cs typeface="Arial"/>
              </a:rPr>
              <a:t>Certification</a:t>
            </a:r>
            <a:r>
              <a:rPr sz="955" spc="-51">
                <a:solidFill>
                  <a:srgbClr val="626666"/>
                </a:solidFill>
                <a:latin typeface="Arial"/>
                <a:cs typeface="Arial"/>
              </a:rPr>
              <a:t> </a:t>
            </a:r>
            <a:r>
              <a:rPr sz="955" spc="-7">
                <a:solidFill>
                  <a:srgbClr val="626666"/>
                </a:solidFill>
                <a:latin typeface="Arial"/>
                <a:cs typeface="Arial"/>
              </a:rPr>
              <a:t>(CMMC) </a:t>
            </a:r>
            <a:r>
              <a:rPr sz="955">
                <a:solidFill>
                  <a:srgbClr val="626666"/>
                </a:solidFill>
                <a:latin typeface="Arial"/>
                <a:cs typeface="Arial"/>
              </a:rPr>
              <a:t>assessments</a:t>
            </a:r>
            <a:r>
              <a:rPr sz="955" spc="-48">
                <a:solidFill>
                  <a:srgbClr val="626666"/>
                </a:solidFill>
                <a:latin typeface="Arial"/>
                <a:cs typeface="Arial"/>
              </a:rPr>
              <a:t> </a:t>
            </a:r>
            <a:r>
              <a:rPr sz="955">
                <a:solidFill>
                  <a:srgbClr val="626666"/>
                </a:solidFill>
                <a:latin typeface="Arial"/>
                <a:cs typeface="Arial"/>
              </a:rPr>
              <a:t>and</a:t>
            </a:r>
            <a:r>
              <a:rPr sz="955" spc="-27">
                <a:solidFill>
                  <a:srgbClr val="626666"/>
                </a:solidFill>
                <a:latin typeface="Arial"/>
                <a:cs typeface="Arial"/>
              </a:rPr>
              <a:t> </a:t>
            </a:r>
            <a:r>
              <a:rPr sz="955">
                <a:solidFill>
                  <a:srgbClr val="626666"/>
                </a:solidFill>
                <a:latin typeface="Arial"/>
                <a:cs typeface="Arial"/>
              </a:rPr>
              <a:t>advisory</a:t>
            </a:r>
            <a:r>
              <a:rPr sz="955" spc="-24">
                <a:solidFill>
                  <a:srgbClr val="626666"/>
                </a:solidFill>
                <a:latin typeface="Arial"/>
                <a:cs typeface="Arial"/>
              </a:rPr>
              <a:t> </a:t>
            </a:r>
            <a:r>
              <a:rPr sz="955" spc="-7">
                <a:solidFill>
                  <a:srgbClr val="626666"/>
                </a:solidFill>
                <a:latin typeface="Arial"/>
                <a:cs typeface="Arial"/>
              </a:rPr>
              <a:t>support</a:t>
            </a:r>
            <a:endParaRPr sz="955">
              <a:latin typeface="Arial"/>
              <a:cs typeface="Arial"/>
            </a:endParaRPr>
          </a:p>
          <a:p>
            <a:pPr marL="242015" indent="-233356">
              <a:spcBef>
                <a:spcPts val="627"/>
              </a:spcBef>
              <a:buChar char="•"/>
              <a:tabLst>
                <a:tab pos="242015" algn="l"/>
              </a:tabLst>
            </a:pPr>
            <a:r>
              <a:rPr sz="955">
                <a:solidFill>
                  <a:srgbClr val="626666"/>
                </a:solidFill>
                <a:latin typeface="Arial"/>
                <a:cs typeface="Arial"/>
              </a:rPr>
              <a:t>Outsourced</a:t>
            </a:r>
            <a:r>
              <a:rPr sz="955" spc="-41">
                <a:solidFill>
                  <a:srgbClr val="626666"/>
                </a:solidFill>
                <a:latin typeface="Arial"/>
                <a:cs typeface="Arial"/>
              </a:rPr>
              <a:t> </a:t>
            </a:r>
            <a:r>
              <a:rPr sz="955">
                <a:solidFill>
                  <a:srgbClr val="626666"/>
                </a:solidFill>
                <a:latin typeface="Arial"/>
                <a:cs typeface="Arial"/>
              </a:rPr>
              <a:t>USG</a:t>
            </a:r>
            <a:r>
              <a:rPr sz="955" spc="-10">
                <a:solidFill>
                  <a:srgbClr val="626666"/>
                </a:solidFill>
                <a:latin typeface="Arial"/>
                <a:cs typeface="Arial"/>
              </a:rPr>
              <a:t> </a:t>
            </a:r>
            <a:r>
              <a:rPr sz="955">
                <a:solidFill>
                  <a:srgbClr val="626666"/>
                </a:solidFill>
                <a:latin typeface="Arial"/>
                <a:cs typeface="Arial"/>
              </a:rPr>
              <a:t>compliance</a:t>
            </a:r>
            <a:r>
              <a:rPr sz="955" spc="-41">
                <a:solidFill>
                  <a:srgbClr val="626666"/>
                </a:solidFill>
                <a:latin typeface="Arial"/>
                <a:cs typeface="Arial"/>
              </a:rPr>
              <a:t> </a:t>
            </a:r>
            <a:r>
              <a:rPr sz="955">
                <a:solidFill>
                  <a:srgbClr val="626666"/>
                </a:solidFill>
                <a:latin typeface="Arial"/>
                <a:cs typeface="Arial"/>
              </a:rPr>
              <a:t>and</a:t>
            </a:r>
            <a:r>
              <a:rPr sz="955" spc="-20">
                <a:solidFill>
                  <a:srgbClr val="626666"/>
                </a:solidFill>
                <a:latin typeface="Arial"/>
                <a:cs typeface="Arial"/>
              </a:rPr>
              <a:t> </a:t>
            </a:r>
            <a:r>
              <a:rPr sz="955" spc="-7">
                <a:solidFill>
                  <a:srgbClr val="626666"/>
                </a:solidFill>
                <a:latin typeface="Arial"/>
                <a:cs typeface="Arial"/>
              </a:rPr>
              <a:t>reporting</a:t>
            </a:r>
            <a:endParaRPr sz="955">
              <a:latin typeface="Arial"/>
              <a:cs typeface="Arial"/>
            </a:endParaRPr>
          </a:p>
        </p:txBody>
      </p:sp>
      <p:sp>
        <p:nvSpPr>
          <p:cNvPr id="22" name="object 22"/>
          <p:cNvSpPr txBox="1"/>
          <p:nvPr/>
        </p:nvSpPr>
        <p:spPr>
          <a:xfrm>
            <a:off x="818556" y="735211"/>
            <a:ext cx="9981680" cy="596160"/>
          </a:xfrm>
          <a:prstGeom prst="rect">
            <a:avLst/>
          </a:prstGeom>
        </p:spPr>
        <p:txBody>
          <a:bodyPr vert="horz" wrap="square" lIns="0" tIns="8226" rIns="0" bIns="0" rtlCol="0">
            <a:spAutoFit/>
          </a:bodyPr>
          <a:lstStyle/>
          <a:p>
            <a:pPr marL="8659" marR="3464">
              <a:lnSpc>
                <a:spcPct val="100299"/>
              </a:lnSpc>
              <a:spcBef>
                <a:spcPts val="65"/>
              </a:spcBef>
            </a:pPr>
            <a:r>
              <a:rPr sz="955">
                <a:solidFill>
                  <a:srgbClr val="626666"/>
                </a:solidFill>
                <a:latin typeface="Arial"/>
                <a:cs typeface="Arial"/>
              </a:rPr>
              <a:t>RSM</a:t>
            </a:r>
            <a:r>
              <a:rPr sz="955" spc="-24">
                <a:solidFill>
                  <a:srgbClr val="626666"/>
                </a:solidFill>
                <a:latin typeface="Arial"/>
                <a:cs typeface="Arial"/>
              </a:rPr>
              <a:t> </a:t>
            </a:r>
            <a:r>
              <a:rPr sz="955">
                <a:solidFill>
                  <a:srgbClr val="626666"/>
                </a:solidFill>
                <a:latin typeface="Arial"/>
                <a:cs typeface="Arial"/>
              </a:rPr>
              <a:t>professionals</a:t>
            </a:r>
            <a:r>
              <a:rPr sz="955" spc="-44">
                <a:solidFill>
                  <a:srgbClr val="626666"/>
                </a:solidFill>
                <a:latin typeface="Arial"/>
                <a:cs typeface="Arial"/>
              </a:rPr>
              <a:t> </a:t>
            </a:r>
            <a:r>
              <a:rPr sz="955">
                <a:solidFill>
                  <a:srgbClr val="626666"/>
                </a:solidFill>
                <a:latin typeface="Arial"/>
                <a:cs typeface="Arial"/>
              </a:rPr>
              <a:t>weave</a:t>
            </a:r>
            <a:r>
              <a:rPr sz="955" spc="-3">
                <a:solidFill>
                  <a:srgbClr val="626666"/>
                </a:solidFill>
                <a:latin typeface="Arial"/>
                <a:cs typeface="Arial"/>
              </a:rPr>
              <a:t> </a:t>
            </a:r>
            <a:r>
              <a:rPr sz="955">
                <a:solidFill>
                  <a:srgbClr val="626666"/>
                </a:solidFill>
                <a:latin typeface="Arial"/>
                <a:cs typeface="Arial"/>
              </a:rPr>
              <a:t>their</a:t>
            </a:r>
            <a:r>
              <a:rPr sz="955" spc="-31">
                <a:solidFill>
                  <a:srgbClr val="626666"/>
                </a:solidFill>
                <a:latin typeface="Arial"/>
                <a:cs typeface="Arial"/>
              </a:rPr>
              <a:t> </a:t>
            </a:r>
            <a:r>
              <a:rPr sz="955">
                <a:solidFill>
                  <a:srgbClr val="626666"/>
                </a:solidFill>
                <a:latin typeface="Arial"/>
                <a:cs typeface="Arial"/>
              </a:rPr>
              <a:t>extensive</a:t>
            </a:r>
            <a:r>
              <a:rPr sz="955" spc="-17">
                <a:solidFill>
                  <a:srgbClr val="626666"/>
                </a:solidFill>
                <a:latin typeface="Arial"/>
                <a:cs typeface="Arial"/>
              </a:rPr>
              <a:t> </a:t>
            </a:r>
            <a:r>
              <a:rPr sz="955">
                <a:solidFill>
                  <a:srgbClr val="626666"/>
                </a:solidFill>
                <a:latin typeface="Arial"/>
                <a:cs typeface="Arial"/>
              </a:rPr>
              <a:t>government</a:t>
            </a:r>
            <a:r>
              <a:rPr sz="955" spc="-34">
                <a:solidFill>
                  <a:srgbClr val="626666"/>
                </a:solidFill>
                <a:latin typeface="Arial"/>
                <a:cs typeface="Arial"/>
              </a:rPr>
              <a:t> </a:t>
            </a:r>
            <a:r>
              <a:rPr sz="955">
                <a:solidFill>
                  <a:srgbClr val="626666"/>
                </a:solidFill>
                <a:latin typeface="Arial"/>
                <a:cs typeface="Arial"/>
              </a:rPr>
              <a:t>contracting</a:t>
            </a:r>
            <a:r>
              <a:rPr sz="955" spc="-41">
                <a:solidFill>
                  <a:srgbClr val="626666"/>
                </a:solidFill>
                <a:latin typeface="Arial"/>
                <a:cs typeface="Arial"/>
              </a:rPr>
              <a:t> </a:t>
            </a:r>
            <a:r>
              <a:rPr sz="955">
                <a:solidFill>
                  <a:srgbClr val="626666"/>
                </a:solidFill>
                <a:latin typeface="Arial"/>
                <a:cs typeface="Arial"/>
              </a:rPr>
              <a:t>experience</a:t>
            </a:r>
            <a:r>
              <a:rPr sz="955" spc="-31">
                <a:solidFill>
                  <a:srgbClr val="626666"/>
                </a:solidFill>
                <a:latin typeface="Arial"/>
                <a:cs typeface="Arial"/>
              </a:rPr>
              <a:t> </a:t>
            </a:r>
            <a:r>
              <a:rPr sz="955">
                <a:solidFill>
                  <a:srgbClr val="626666"/>
                </a:solidFill>
                <a:latin typeface="Arial"/>
                <a:cs typeface="Arial"/>
              </a:rPr>
              <a:t>through</a:t>
            </a:r>
            <a:r>
              <a:rPr sz="955" spc="-31">
                <a:solidFill>
                  <a:srgbClr val="626666"/>
                </a:solidFill>
                <a:latin typeface="Arial"/>
                <a:cs typeface="Arial"/>
              </a:rPr>
              <a:t> </a:t>
            </a:r>
            <a:r>
              <a:rPr sz="955">
                <a:solidFill>
                  <a:srgbClr val="626666"/>
                </a:solidFill>
                <a:latin typeface="Arial"/>
                <a:cs typeface="Arial"/>
              </a:rPr>
              <a:t>each</a:t>
            </a:r>
            <a:r>
              <a:rPr sz="955" spc="-27">
                <a:solidFill>
                  <a:srgbClr val="626666"/>
                </a:solidFill>
                <a:latin typeface="Arial"/>
                <a:cs typeface="Arial"/>
              </a:rPr>
              <a:t> </a:t>
            </a:r>
            <a:r>
              <a:rPr sz="955">
                <a:solidFill>
                  <a:srgbClr val="626666"/>
                </a:solidFill>
                <a:latin typeface="Arial"/>
                <a:cs typeface="Arial"/>
              </a:rPr>
              <a:t>business</a:t>
            </a:r>
            <a:r>
              <a:rPr sz="955" spc="-44">
                <a:solidFill>
                  <a:srgbClr val="626666"/>
                </a:solidFill>
                <a:latin typeface="Arial"/>
                <a:cs typeface="Arial"/>
              </a:rPr>
              <a:t> </a:t>
            </a:r>
            <a:r>
              <a:rPr sz="955">
                <a:solidFill>
                  <a:srgbClr val="626666"/>
                </a:solidFill>
                <a:latin typeface="Arial"/>
                <a:cs typeface="Arial"/>
              </a:rPr>
              <a:t>function</a:t>
            </a:r>
            <a:r>
              <a:rPr sz="955" spc="-41">
                <a:solidFill>
                  <a:srgbClr val="626666"/>
                </a:solidFill>
                <a:latin typeface="Arial"/>
                <a:cs typeface="Arial"/>
              </a:rPr>
              <a:t> </a:t>
            </a:r>
            <a:r>
              <a:rPr sz="955">
                <a:solidFill>
                  <a:srgbClr val="626666"/>
                </a:solidFill>
                <a:latin typeface="Arial"/>
                <a:cs typeface="Arial"/>
              </a:rPr>
              <a:t>to</a:t>
            </a:r>
            <a:r>
              <a:rPr sz="955" spc="-24">
                <a:solidFill>
                  <a:srgbClr val="626666"/>
                </a:solidFill>
                <a:latin typeface="Arial"/>
                <a:cs typeface="Arial"/>
              </a:rPr>
              <a:t> </a:t>
            </a:r>
            <a:r>
              <a:rPr sz="955">
                <a:solidFill>
                  <a:srgbClr val="626666"/>
                </a:solidFill>
                <a:latin typeface="Arial"/>
                <a:cs typeface="Arial"/>
              </a:rPr>
              <a:t>develop</a:t>
            </a:r>
            <a:r>
              <a:rPr sz="955" spc="-14">
                <a:solidFill>
                  <a:srgbClr val="626666"/>
                </a:solidFill>
                <a:latin typeface="Arial"/>
                <a:cs typeface="Arial"/>
              </a:rPr>
              <a:t> </a:t>
            </a:r>
            <a:r>
              <a:rPr sz="955">
                <a:solidFill>
                  <a:srgbClr val="626666"/>
                </a:solidFill>
                <a:latin typeface="Arial"/>
                <a:cs typeface="Arial"/>
              </a:rPr>
              <a:t>compliance</a:t>
            </a:r>
            <a:r>
              <a:rPr sz="955" spc="-41">
                <a:solidFill>
                  <a:srgbClr val="626666"/>
                </a:solidFill>
                <a:latin typeface="Arial"/>
                <a:cs typeface="Arial"/>
              </a:rPr>
              <a:t> </a:t>
            </a:r>
            <a:r>
              <a:rPr sz="955">
                <a:solidFill>
                  <a:srgbClr val="626666"/>
                </a:solidFill>
                <a:latin typeface="Arial"/>
                <a:cs typeface="Arial"/>
              </a:rPr>
              <a:t>solutions</a:t>
            </a:r>
            <a:r>
              <a:rPr sz="955" spc="-44">
                <a:solidFill>
                  <a:srgbClr val="626666"/>
                </a:solidFill>
                <a:latin typeface="Arial"/>
                <a:cs typeface="Arial"/>
              </a:rPr>
              <a:t> </a:t>
            </a:r>
            <a:r>
              <a:rPr sz="955">
                <a:solidFill>
                  <a:srgbClr val="626666"/>
                </a:solidFill>
                <a:latin typeface="Arial"/>
                <a:cs typeface="Arial"/>
              </a:rPr>
              <a:t>and</a:t>
            </a:r>
            <a:r>
              <a:rPr sz="955" spc="-24">
                <a:solidFill>
                  <a:srgbClr val="626666"/>
                </a:solidFill>
                <a:latin typeface="Arial"/>
                <a:cs typeface="Arial"/>
              </a:rPr>
              <a:t> </a:t>
            </a:r>
            <a:r>
              <a:rPr sz="955">
                <a:solidFill>
                  <a:srgbClr val="626666"/>
                </a:solidFill>
                <a:latin typeface="Arial"/>
                <a:cs typeface="Arial"/>
              </a:rPr>
              <a:t>protect</a:t>
            </a:r>
            <a:r>
              <a:rPr sz="955" spc="-37">
                <a:solidFill>
                  <a:srgbClr val="626666"/>
                </a:solidFill>
                <a:latin typeface="Arial"/>
                <a:cs typeface="Arial"/>
              </a:rPr>
              <a:t> </a:t>
            </a:r>
            <a:r>
              <a:rPr sz="955" spc="-7">
                <a:solidFill>
                  <a:srgbClr val="626666"/>
                </a:solidFill>
                <a:latin typeface="Arial"/>
                <a:cs typeface="Arial"/>
              </a:rPr>
              <a:t>business </a:t>
            </a:r>
            <a:r>
              <a:rPr sz="955">
                <a:solidFill>
                  <a:srgbClr val="626666"/>
                </a:solidFill>
                <a:latin typeface="Arial"/>
                <a:cs typeface="Arial"/>
              </a:rPr>
              <a:t>value.</a:t>
            </a:r>
            <a:r>
              <a:rPr sz="955" spc="-20">
                <a:solidFill>
                  <a:srgbClr val="626666"/>
                </a:solidFill>
                <a:latin typeface="Arial"/>
                <a:cs typeface="Arial"/>
              </a:rPr>
              <a:t> </a:t>
            </a:r>
            <a:r>
              <a:rPr sz="955">
                <a:solidFill>
                  <a:srgbClr val="626666"/>
                </a:solidFill>
                <a:latin typeface="Arial"/>
                <a:cs typeface="Arial"/>
              </a:rPr>
              <a:t>With</a:t>
            </a:r>
            <a:r>
              <a:rPr sz="955" spc="-44">
                <a:solidFill>
                  <a:srgbClr val="626666"/>
                </a:solidFill>
                <a:latin typeface="Arial"/>
                <a:cs typeface="Arial"/>
              </a:rPr>
              <a:t> </a:t>
            </a:r>
            <a:r>
              <a:rPr sz="955">
                <a:solidFill>
                  <a:srgbClr val="626666"/>
                </a:solidFill>
                <a:latin typeface="Arial"/>
                <a:cs typeface="Arial"/>
              </a:rPr>
              <a:t>our</a:t>
            </a:r>
            <a:r>
              <a:rPr sz="955" spc="-31">
                <a:solidFill>
                  <a:srgbClr val="626666"/>
                </a:solidFill>
                <a:latin typeface="Arial"/>
                <a:cs typeface="Arial"/>
              </a:rPr>
              <a:t> </a:t>
            </a:r>
            <a:r>
              <a:rPr sz="955">
                <a:solidFill>
                  <a:srgbClr val="626666"/>
                </a:solidFill>
                <a:latin typeface="Arial"/>
                <a:cs typeface="Arial"/>
              </a:rPr>
              <a:t>approach</a:t>
            </a:r>
            <a:r>
              <a:rPr sz="955" spc="-44">
                <a:solidFill>
                  <a:srgbClr val="626666"/>
                </a:solidFill>
                <a:latin typeface="Arial"/>
                <a:cs typeface="Arial"/>
              </a:rPr>
              <a:t> </a:t>
            </a:r>
            <a:r>
              <a:rPr sz="955">
                <a:solidFill>
                  <a:srgbClr val="626666"/>
                </a:solidFill>
                <a:latin typeface="Arial"/>
                <a:cs typeface="Arial"/>
              </a:rPr>
              <a:t>to</a:t>
            </a:r>
            <a:r>
              <a:rPr sz="955" spc="-31">
                <a:solidFill>
                  <a:srgbClr val="626666"/>
                </a:solidFill>
                <a:latin typeface="Arial"/>
                <a:cs typeface="Arial"/>
              </a:rPr>
              <a:t> </a:t>
            </a:r>
            <a:r>
              <a:rPr sz="955">
                <a:solidFill>
                  <a:srgbClr val="626666"/>
                </a:solidFill>
                <a:latin typeface="Arial"/>
                <a:cs typeface="Arial"/>
              </a:rPr>
              <a:t>strategic</a:t>
            </a:r>
            <a:r>
              <a:rPr sz="955" spc="-41">
                <a:solidFill>
                  <a:srgbClr val="626666"/>
                </a:solidFill>
                <a:latin typeface="Arial"/>
                <a:cs typeface="Arial"/>
              </a:rPr>
              <a:t> </a:t>
            </a:r>
            <a:r>
              <a:rPr sz="955">
                <a:solidFill>
                  <a:srgbClr val="626666"/>
                </a:solidFill>
                <a:latin typeface="Arial"/>
                <a:cs typeface="Arial"/>
              </a:rPr>
              <a:t>compliance,</a:t>
            </a:r>
            <a:r>
              <a:rPr sz="955" spc="-48">
                <a:solidFill>
                  <a:srgbClr val="626666"/>
                </a:solidFill>
                <a:latin typeface="Arial"/>
                <a:cs typeface="Arial"/>
              </a:rPr>
              <a:t> </a:t>
            </a:r>
            <a:r>
              <a:rPr sz="955">
                <a:solidFill>
                  <a:srgbClr val="626666"/>
                </a:solidFill>
                <a:latin typeface="Arial"/>
                <a:cs typeface="Arial"/>
              </a:rPr>
              <a:t>we</a:t>
            </a:r>
            <a:r>
              <a:rPr sz="955" spc="-14">
                <a:solidFill>
                  <a:srgbClr val="626666"/>
                </a:solidFill>
                <a:latin typeface="Arial"/>
                <a:cs typeface="Arial"/>
              </a:rPr>
              <a:t> </a:t>
            </a:r>
            <a:r>
              <a:rPr sz="955">
                <a:solidFill>
                  <a:srgbClr val="626666"/>
                </a:solidFill>
                <a:latin typeface="Arial"/>
                <a:cs typeface="Arial"/>
              </a:rPr>
              <a:t>dive</a:t>
            </a:r>
            <a:r>
              <a:rPr sz="955" spc="-17">
                <a:solidFill>
                  <a:srgbClr val="626666"/>
                </a:solidFill>
                <a:latin typeface="Arial"/>
                <a:cs typeface="Arial"/>
              </a:rPr>
              <a:t> </a:t>
            </a:r>
            <a:r>
              <a:rPr sz="955">
                <a:solidFill>
                  <a:srgbClr val="626666"/>
                </a:solidFill>
                <a:latin typeface="Arial"/>
                <a:cs typeface="Arial"/>
              </a:rPr>
              <a:t>deep</a:t>
            </a:r>
            <a:r>
              <a:rPr sz="955" spc="-31">
                <a:solidFill>
                  <a:srgbClr val="626666"/>
                </a:solidFill>
                <a:latin typeface="Arial"/>
                <a:cs typeface="Arial"/>
              </a:rPr>
              <a:t> </a:t>
            </a:r>
            <a:r>
              <a:rPr sz="955">
                <a:solidFill>
                  <a:srgbClr val="626666"/>
                </a:solidFill>
                <a:latin typeface="Arial"/>
                <a:cs typeface="Arial"/>
              </a:rPr>
              <a:t>on</a:t>
            </a:r>
            <a:r>
              <a:rPr sz="955" spc="-31">
                <a:solidFill>
                  <a:srgbClr val="626666"/>
                </a:solidFill>
                <a:latin typeface="Arial"/>
                <a:cs typeface="Arial"/>
              </a:rPr>
              <a:t> </a:t>
            </a:r>
            <a:r>
              <a:rPr sz="955">
                <a:solidFill>
                  <a:srgbClr val="626666"/>
                </a:solidFill>
                <a:latin typeface="Arial"/>
                <a:cs typeface="Arial"/>
              </a:rPr>
              <a:t>the</a:t>
            </a:r>
            <a:r>
              <a:rPr sz="955" spc="-34">
                <a:solidFill>
                  <a:srgbClr val="626666"/>
                </a:solidFill>
                <a:latin typeface="Arial"/>
                <a:cs typeface="Arial"/>
              </a:rPr>
              <a:t> </a:t>
            </a:r>
            <a:r>
              <a:rPr sz="955">
                <a:solidFill>
                  <a:srgbClr val="626666"/>
                </a:solidFill>
                <a:latin typeface="Arial"/>
                <a:cs typeface="Arial"/>
              </a:rPr>
              <a:t>technical</a:t>
            </a:r>
            <a:r>
              <a:rPr sz="955" spc="-34">
                <a:solidFill>
                  <a:srgbClr val="626666"/>
                </a:solidFill>
                <a:latin typeface="Arial"/>
                <a:cs typeface="Arial"/>
              </a:rPr>
              <a:t> </a:t>
            </a:r>
            <a:r>
              <a:rPr sz="955">
                <a:solidFill>
                  <a:srgbClr val="626666"/>
                </a:solidFill>
                <a:latin typeface="Arial"/>
                <a:cs typeface="Arial"/>
              </a:rPr>
              <a:t>regulatory</a:t>
            </a:r>
            <a:r>
              <a:rPr sz="955" spc="-41">
                <a:solidFill>
                  <a:srgbClr val="626666"/>
                </a:solidFill>
                <a:latin typeface="Arial"/>
                <a:cs typeface="Arial"/>
              </a:rPr>
              <a:t> </a:t>
            </a:r>
            <a:r>
              <a:rPr sz="955">
                <a:solidFill>
                  <a:srgbClr val="626666"/>
                </a:solidFill>
                <a:latin typeface="Arial"/>
                <a:cs typeface="Arial"/>
              </a:rPr>
              <a:t>compliance</a:t>
            </a:r>
            <a:r>
              <a:rPr sz="955" spc="-44">
                <a:solidFill>
                  <a:srgbClr val="626666"/>
                </a:solidFill>
                <a:latin typeface="Arial"/>
                <a:cs typeface="Arial"/>
              </a:rPr>
              <a:t> </a:t>
            </a:r>
            <a:r>
              <a:rPr sz="955">
                <a:solidFill>
                  <a:srgbClr val="626666"/>
                </a:solidFill>
                <a:latin typeface="Arial"/>
                <a:cs typeface="Arial"/>
              </a:rPr>
              <a:t>issues</a:t>
            </a:r>
            <a:r>
              <a:rPr sz="955" spc="-44">
                <a:solidFill>
                  <a:srgbClr val="626666"/>
                </a:solidFill>
                <a:latin typeface="Arial"/>
                <a:cs typeface="Arial"/>
              </a:rPr>
              <a:t> </a:t>
            </a:r>
            <a:r>
              <a:rPr sz="955">
                <a:solidFill>
                  <a:srgbClr val="626666"/>
                </a:solidFill>
                <a:latin typeface="Arial"/>
                <a:cs typeface="Arial"/>
              </a:rPr>
              <a:t>that</a:t>
            </a:r>
            <a:r>
              <a:rPr sz="955" spc="-34">
                <a:solidFill>
                  <a:srgbClr val="626666"/>
                </a:solidFill>
                <a:latin typeface="Arial"/>
                <a:cs typeface="Arial"/>
              </a:rPr>
              <a:t> </a:t>
            </a:r>
            <a:r>
              <a:rPr sz="955">
                <a:solidFill>
                  <a:srgbClr val="626666"/>
                </a:solidFill>
                <a:latin typeface="Arial"/>
                <a:cs typeface="Arial"/>
              </a:rPr>
              <a:t>challenge</a:t>
            </a:r>
            <a:r>
              <a:rPr sz="955" spc="-44">
                <a:solidFill>
                  <a:srgbClr val="626666"/>
                </a:solidFill>
                <a:latin typeface="Arial"/>
                <a:cs typeface="Arial"/>
              </a:rPr>
              <a:t> </a:t>
            </a:r>
            <a:r>
              <a:rPr sz="955">
                <a:solidFill>
                  <a:srgbClr val="626666"/>
                </a:solidFill>
                <a:latin typeface="Arial"/>
                <a:cs typeface="Arial"/>
              </a:rPr>
              <a:t>government</a:t>
            </a:r>
            <a:r>
              <a:rPr sz="955" spc="-37">
                <a:solidFill>
                  <a:srgbClr val="626666"/>
                </a:solidFill>
                <a:latin typeface="Arial"/>
                <a:cs typeface="Arial"/>
              </a:rPr>
              <a:t> </a:t>
            </a:r>
            <a:r>
              <a:rPr sz="955">
                <a:solidFill>
                  <a:srgbClr val="626666"/>
                </a:solidFill>
                <a:latin typeface="Arial"/>
                <a:cs typeface="Arial"/>
              </a:rPr>
              <a:t>contractors</a:t>
            </a:r>
            <a:r>
              <a:rPr sz="955" spc="-48">
                <a:solidFill>
                  <a:srgbClr val="626666"/>
                </a:solidFill>
                <a:latin typeface="Arial"/>
                <a:cs typeface="Arial"/>
              </a:rPr>
              <a:t> </a:t>
            </a:r>
            <a:r>
              <a:rPr sz="955">
                <a:solidFill>
                  <a:srgbClr val="626666"/>
                </a:solidFill>
                <a:latin typeface="Arial"/>
                <a:cs typeface="Arial"/>
              </a:rPr>
              <a:t>while</a:t>
            </a:r>
            <a:r>
              <a:rPr sz="955" spc="-14">
                <a:solidFill>
                  <a:srgbClr val="626666"/>
                </a:solidFill>
                <a:latin typeface="Arial"/>
                <a:cs typeface="Arial"/>
              </a:rPr>
              <a:t> </a:t>
            </a:r>
            <a:r>
              <a:rPr sz="955">
                <a:solidFill>
                  <a:srgbClr val="626666"/>
                </a:solidFill>
                <a:latin typeface="Arial"/>
                <a:cs typeface="Arial"/>
              </a:rPr>
              <a:t>helping</a:t>
            </a:r>
            <a:r>
              <a:rPr sz="955" spc="-31">
                <a:solidFill>
                  <a:srgbClr val="626666"/>
                </a:solidFill>
                <a:latin typeface="Arial"/>
                <a:cs typeface="Arial"/>
              </a:rPr>
              <a:t> </a:t>
            </a:r>
            <a:r>
              <a:rPr sz="955" spc="-17">
                <a:solidFill>
                  <a:srgbClr val="626666"/>
                </a:solidFill>
                <a:latin typeface="Arial"/>
                <a:cs typeface="Arial"/>
              </a:rPr>
              <a:t>to </a:t>
            </a:r>
            <a:r>
              <a:rPr sz="955">
                <a:solidFill>
                  <a:srgbClr val="626666"/>
                </a:solidFill>
                <a:latin typeface="Arial"/>
                <a:cs typeface="Arial"/>
              </a:rPr>
              <a:t>strengthen</a:t>
            </a:r>
            <a:r>
              <a:rPr sz="955" spc="-37">
                <a:solidFill>
                  <a:srgbClr val="626666"/>
                </a:solidFill>
                <a:latin typeface="Arial"/>
                <a:cs typeface="Arial"/>
              </a:rPr>
              <a:t> </a:t>
            </a:r>
            <a:r>
              <a:rPr sz="955">
                <a:solidFill>
                  <a:srgbClr val="626666"/>
                </a:solidFill>
                <a:latin typeface="Arial"/>
                <a:cs typeface="Arial"/>
              </a:rPr>
              <a:t>internal</a:t>
            </a:r>
            <a:r>
              <a:rPr sz="955" spc="-31">
                <a:solidFill>
                  <a:srgbClr val="626666"/>
                </a:solidFill>
                <a:latin typeface="Arial"/>
                <a:cs typeface="Arial"/>
              </a:rPr>
              <a:t> </a:t>
            </a:r>
            <a:r>
              <a:rPr sz="955">
                <a:solidFill>
                  <a:srgbClr val="626666"/>
                </a:solidFill>
                <a:latin typeface="Arial"/>
                <a:cs typeface="Arial"/>
              </a:rPr>
              <a:t>controls</a:t>
            </a:r>
            <a:r>
              <a:rPr sz="955" spc="-37">
                <a:solidFill>
                  <a:srgbClr val="626666"/>
                </a:solidFill>
                <a:latin typeface="Arial"/>
                <a:cs typeface="Arial"/>
              </a:rPr>
              <a:t> </a:t>
            </a:r>
            <a:r>
              <a:rPr sz="955">
                <a:solidFill>
                  <a:srgbClr val="626666"/>
                </a:solidFill>
                <a:latin typeface="Arial"/>
                <a:cs typeface="Arial"/>
              </a:rPr>
              <a:t>and</a:t>
            </a:r>
            <a:r>
              <a:rPr sz="955" spc="-24">
                <a:solidFill>
                  <a:srgbClr val="626666"/>
                </a:solidFill>
                <a:latin typeface="Arial"/>
                <a:cs typeface="Arial"/>
              </a:rPr>
              <a:t> </a:t>
            </a:r>
            <a:r>
              <a:rPr sz="955">
                <a:solidFill>
                  <a:srgbClr val="626666"/>
                </a:solidFill>
                <a:latin typeface="Arial"/>
                <a:cs typeface="Arial"/>
              </a:rPr>
              <a:t>create</a:t>
            </a:r>
            <a:r>
              <a:rPr sz="955" spc="-27">
                <a:solidFill>
                  <a:srgbClr val="626666"/>
                </a:solidFill>
                <a:latin typeface="Arial"/>
                <a:cs typeface="Arial"/>
              </a:rPr>
              <a:t> </a:t>
            </a:r>
            <a:r>
              <a:rPr sz="955">
                <a:solidFill>
                  <a:srgbClr val="626666"/>
                </a:solidFill>
                <a:latin typeface="Arial"/>
                <a:cs typeface="Arial"/>
              </a:rPr>
              <a:t>process</a:t>
            </a:r>
            <a:r>
              <a:rPr sz="955" spc="-41">
                <a:solidFill>
                  <a:srgbClr val="626666"/>
                </a:solidFill>
                <a:latin typeface="Arial"/>
                <a:cs typeface="Arial"/>
              </a:rPr>
              <a:t> </a:t>
            </a:r>
            <a:r>
              <a:rPr sz="955">
                <a:solidFill>
                  <a:srgbClr val="626666"/>
                </a:solidFill>
                <a:latin typeface="Arial"/>
                <a:cs typeface="Arial"/>
              </a:rPr>
              <a:t>efficiencies</a:t>
            </a:r>
            <a:r>
              <a:rPr sz="955" spc="-41">
                <a:solidFill>
                  <a:srgbClr val="626666"/>
                </a:solidFill>
                <a:latin typeface="Arial"/>
                <a:cs typeface="Arial"/>
              </a:rPr>
              <a:t> </a:t>
            </a:r>
            <a:r>
              <a:rPr sz="955">
                <a:solidFill>
                  <a:srgbClr val="626666"/>
                </a:solidFill>
                <a:latin typeface="Arial"/>
                <a:cs typeface="Arial"/>
              </a:rPr>
              <a:t>that</a:t>
            </a:r>
            <a:r>
              <a:rPr sz="955" spc="-27">
                <a:solidFill>
                  <a:srgbClr val="626666"/>
                </a:solidFill>
                <a:latin typeface="Arial"/>
                <a:cs typeface="Arial"/>
              </a:rPr>
              <a:t> </a:t>
            </a:r>
            <a:r>
              <a:rPr sz="955">
                <a:solidFill>
                  <a:srgbClr val="626666"/>
                </a:solidFill>
                <a:latin typeface="Arial"/>
                <a:cs typeface="Arial"/>
              </a:rPr>
              <a:t>meet</a:t>
            </a:r>
            <a:r>
              <a:rPr sz="955" spc="-17">
                <a:solidFill>
                  <a:srgbClr val="626666"/>
                </a:solidFill>
                <a:latin typeface="Arial"/>
                <a:cs typeface="Arial"/>
              </a:rPr>
              <a:t> </a:t>
            </a:r>
            <a:r>
              <a:rPr sz="955">
                <a:solidFill>
                  <a:srgbClr val="626666"/>
                </a:solidFill>
                <a:latin typeface="Arial"/>
                <a:cs typeface="Arial"/>
              </a:rPr>
              <a:t>the</a:t>
            </a:r>
            <a:r>
              <a:rPr sz="955" spc="-20">
                <a:solidFill>
                  <a:srgbClr val="626666"/>
                </a:solidFill>
                <a:latin typeface="Arial"/>
                <a:cs typeface="Arial"/>
              </a:rPr>
              <a:t> </a:t>
            </a:r>
            <a:r>
              <a:rPr sz="955">
                <a:solidFill>
                  <a:srgbClr val="626666"/>
                </a:solidFill>
                <a:latin typeface="Arial"/>
                <a:cs typeface="Arial"/>
              </a:rPr>
              <a:t>demands</a:t>
            </a:r>
            <a:r>
              <a:rPr sz="955" spc="-34">
                <a:solidFill>
                  <a:srgbClr val="626666"/>
                </a:solidFill>
                <a:latin typeface="Arial"/>
                <a:cs typeface="Arial"/>
              </a:rPr>
              <a:t> </a:t>
            </a:r>
            <a:r>
              <a:rPr sz="955">
                <a:solidFill>
                  <a:srgbClr val="626666"/>
                </a:solidFill>
                <a:latin typeface="Arial"/>
                <a:cs typeface="Arial"/>
              </a:rPr>
              <a:t>of</a:t>
            </a:r>
            <a:r>
              <a:rPr sz="955" spc="-17">
                <a:solidFill>
                  <a:srgbClr val="626666"/>
                </a:solidFill>
                <a:latin typeface="Arial"/>
                <a:cs typeface="Arial"/>
              </a:rPr>
              <a:t> </a:t>
            </a:r>
            <a:r>
              <a:rPr sz="955">
                <a:solidFill>
                  <a:srgbClr val="626666"/>
                </a:solidFill>
                <a:latin typeface="Arial"/>
                <a:cs typeface="Arial"/>
              </a:rPr>
              <a:t>the</a:t>
            </a:r>
            <a:r>
              <a:rPr sz="955" spc="-20">
                <a:solidFill>
                  <a:srgbClr val="626666"/>
                </a:solidFill>
                <a:latin typeface="Arial"/>
                <a:cs typeface="Arial"/>
              </a:rPr>
              <a:t> </a:t>
            </a:r>
            <a:r>
              <a:rPr sz="955">
                <a:solidFill>
                  <a:srgbClr val="626666"/>
                </a:solidFill>
                <a:latin typeface="Arial"/>
                <a:cs typeface="Arial"/>
              </a:rPr>
              <a:t>business.</a:t>
            </a:r>
            <a:r>
              <a:rPr sz="955" spc="-41">
                <a:solidFill>
                  <a:srgbClr val="626666"/>
                </a:solidFill>
                <a:latin typeface="Arial"/>
                <a:cs typeface="Arial"/>
              </a:rPr>
              <a:t> </a:t>
            </a:r>
            <a:r>
              <a:rPr sz="955">
                <a:solidFill>
                  <a:srgbClr val="626666"/>
                </a:solidFill>
                <a:latin typeface="Arial"/>
                <a:cs typeface="Arial"/>
              </a:rPr>
              <a:t>We</a:t>
            </a:r>
            <a:r>
              <a:rPr sz="955" spc="-27">
                <a:solidFill>
                  <a:srgbClr val="626666"/>
                </a:solidFill>
                <a:latin typeface="Arial"/>
                <a:cs typeface="Arial"/>
              </a:rPr>
              <a:t> </a:t>
            </a:r>
            <a:r>
              <a:rPr sz="955">
                <a:solidFill>
                  <a:srgbClr val="626666"/>
                </a:solidFill>
                <a:latin typeface="Arial"/>
                <a:cs typeface="Arial"/>
              </a:rPr>
              <a:t>help</a:t>
            </a:r>
            <a:r>
              <a:rPr sz="955" spc="-20">
                <a:solidFill>
                  <a:srgbClr val="626666"/>
                </a:solidFill>
                <a:latin typeface="Arial"/>
                <a:cs typeface="Arial"/>
              </a:rPr>
              <a:t> </a:t>
            </a:r>
            <a:r>
              <a:rPr sz="955">
                <a:solidFill>
                  <a:srgbClr val="626666"/>
                </a:solidFill>
                <a:latin typeface="Arial"/>
                <a:cs typeface="Arial"/>
              </a:rPr>
              <a:t>organizations</a:t>
            </a:r>
            <a:r>
              <a:rPr sz="955" spc="-41">
                <a:solidFill>
                  <a:srgbClr val="626666"/>
                </a:solidFill>
                <a:latin typeface="Arial"/>
                <a:cs typeface="Arial"/>
              </a:rPr>
              <a:t> </a:t>
            </a:r>
            <a:r>
              <a:rPr sz="955">
                <a:solidFill>
                  <a:srgbClr val="626666"/>
                </a:solidFill>
                <a:latin typeface="Arial"/>
                <a:cs typeface="Arial"/>
              </a:rPr>
              <a:t>navigate</a:t>
            </a:r>
            <a:r>
              <a:rPr sz="955" spc="-20">
                <a:solidFill>
                  <a:srgbClr val="626666"/>
                </a:solidFill>
                <a:latin typeface="Arial"/>
                <a:cs typeface="Arial"/>
              </a:rPr>
              <a:t> </a:t>
            </a:r>
            <a:r>
              <a:rPr sz="955">
                <a:solidFill>
                  <a:srgbClr val="626666"/>
                </a:solidFill>
                <a:latin typeface="Arial"/>
                <a:cs typeface="Arial"/>
              </a:rPr>
              <a:t>through</a:t>
            </a:r>
            <a:r>
              <a:rPr sz="955" spc="-34">
                <a:solidFill>
                  <a:srgbClr val="626666"/>
                </a:solidFill>
                <a:latin typeface="Arial"/>
                <a:cs typeface="Arial"/>
              </a:rPr>
              <a:t> </a:t>
            </a:r>
            <a:r>
              <a:rPr sz="955">
                <a:solidFill>
                  <a:srgbClr val="626666"/>
                </a:solidFill>
                <a:latin typeface="Arial"/>
                <a:cs typeface="Arial"/>
              </a:rPr>
              <a:t>complex</a:t>
            </a:r>
            <a:r>
              <a:rPr sz="955" spc="-24">
                <a:solidFill>
                  <a:srgbClr val="626666"/>
                </a:solidFill>
                <a:latin typeface="Arial"/>
                <a:cs typeface="Arial"/>
              </a:rPr>
              <a:t> </a:t>
            </a:r>
            <a:r>
              <a:rPr sz="955" spc="-7">
                <a:solidFill>
                  <a:srgbClr val="626666"/>
                </a:solidFill>
                <a:latin typeface="Arial"/>
                <a:cs typeface="Arial"/>
              </a:rPr>
              <a:t>federal </a:t>
            </a:r>
            <a:r>
              <a:rPr sz="955">
                <a:solidFill>
                  <a:srgbClr val="626666"/>
                </a:solidFill>
                <a:latin typeface="Arial"/>
                <a:cs typeface="Arial"/>
              </a:rPr>
              <a:t>compliance</a:t>
            </a:r>
            <a:r>
              <a:rPr sz="955" spc="-44">
                <a:solidFill>
                  <a:srgbClr val="626666"/>
                </a:solidFill>
                <a:latin typeface="Arial"/>
                <a:cs typeface="Arial"/>
              </a:rPr>
              <a:t> </a:t>
            </a:r>
            <a:r>
              <a:rPr sz="955">
                <a:solidFill>
                  <a:srgbClr val="626666"/>
                </a:solidFill>
                <a:latin typeface="Arial"/>
                <a:cs typeface="Arial"/>
              </a:rPr>
              <a:t>issues</a:t>
            </a:r>
            <a:r>
              <a:rPr sz="955" spc="-34">
                <a:solidFill>
                  <a:srgbClr val="626666"/>
                </a:solidFill>
                <a:latin typeface="Arial"/>
                <a:cs typeface="Arial"/>
              </a:rPr>
              <a:t> </a:t>
            </a:r>
            <a:r>
              <a:rPr sz="955">
                <a:solidFill>
                  <a:srgbClr val="626666"/>
                </a:solidFill>
                <a:latin typeface="Arial"/>
                <a:cs typeface="Arial"/>
              </a:rPr>
              <a:t>with</a:t>
            </a:r>
            <a:r>
              <a:rPr sz="955" spc="-7">
                <a:solidFill>
                  <a:srgbClr val="626666"/>
                </a:solidFill>
                <a:latin typeface="Arial"/>
                <a:cs typeface="Arial"/>
              </a:rPr>
              <a:t> </a:t>
            </a:r>
            <a:r>
              <a:rPr sz="955">
                <a:solidFill>
                  <a:srgbClr val="626666"/>
                </a:solidFill>
                <a:latin typeface="Arial"/>
                <a:cs typeface="Arial"/>
              </a:rPr>
              <a:t>confidence</a:t>
            </a:r>
            <a:r>
              <a:rPr sz="955" spc="-41">
                <a:solidFill>
                  <a:srgbClr val="626666"/>
                </a:solidFill>
                <a:latin typeface="Arial"/>
                <a:cs typeface="Arial"/>
              </a:rPr>
              <a:t> </a:t>
            </a:r>
            <a:r>
              <a:rPr sz="955">
                <a:solidFill>
                  <a:srgbClr val="626666"/>
                </a:solidFill>
                <a:latin typeface="Arial"/>
                <a:cs typeface="Arial"/>
              </a:rPr>
              <a:t>while</a:t>
            </a:r>
            <a:r>
              <a:rPr sz="955" spc="-3">
                <a:solidFill>
                  <a:srgbClr val="626666"/>
                </a:solidFill>
                <a:latin typeface="Arial"/>
                <a:cs typeface="Arial"/>
              </a:rPr>
              <a:t> </a:t>
            </a:r>
            <a:r>
              <a:rPr sz="955">
                <a:solidFill>
                  <a:srgbClr val="626666"/>
                </a:solidFill>
                <a:latin typeface="Arial"/>
                <a:cs typeface="Arial"/>
              </a:rPr>
              <a:t>implementing</a:t>
            </a:r>
            <a:r>
              <a:rPr sz="955" spc="-41">
                <a:solidFill>
                  <a:srgbClr val="626666"/>
                </a:solidFill>
                <a:latin typeface="Arial"/>
                <a:cs typeface="Arial"/>
              </a:rPr>
              <a:t> </a:t>
            </a:r>
            <a:r>
              <a:rPr sz="955">
                <a:solidFill>
                  <a:srgbClr val="626666"/>
                </a:solidFill>
                <a:latin typeface="Arial"/>
                <a:cs typeface="Arial"/>
              </a:rPr>
              <a:t>practical</a:t>
            </a:r>
            <a:r>
              <a:rPr sz="955" spc="-37">
                <a:solidFill>
                  <a:srgbClr val="626666"/>
                </a:solidFill>
                <a:latin typeface="Arial"/>
                <a:cs typeface="Arial"/>
              </a:rPr>
              <a:t> </a:t>
            </a:r>
            <a:r>
              <a:rPr sz="955">
                <a:solidFill>
                  <a:srgbClr val="626666"/>
                </a:solidFill>
                <a:latin typeface="Arial"/>
                <a:cs typeface="Arial"/>
              </a:rPr>
              <a:t>business</a:t>
            </a:r>
            <a:r>
              <a:rPr sz="955" spc="-37">
                <a:solidFill>
                  <a:srgbClr val="626666"/>
                </a:solidFill>
                <a:latin typeface="Arial"/>
                <a:cs typeface="Arial"/>
              </a:rPr>
              <a:t> </a:t>
            </a:r>
            <a:r>
              <a:rPr sz="955">
                <a:solidFill>
                  <a:srgbClr val="626666"/>
                </a:solidFill>
                <a:latin typeface="Arial"/>
                <a:cs typeface="Arial"/>
              </a:rPr>
              <a:t>solutions.</a:t>
            </a:r>
            <a:r>
              <a:rPr sz="955" spc="-48">
                <a:solidFill>
                  <a:srgbClr val="626666"/>
                </a:solidFill>
                <a:latin typeface="Arial"/>
                <a:cs typeface="Arial"/>
              </a:rPr>
              <a:t> </a:t>
            </a:r>
            <a:r>
              <a:rPr sz="955">
                <a:solidFill>
                  <a:srgbClr val="626666"/>
                </a:solidFill>
                <a:latin typeface="Arial"/>
                <a:cs typeface="Arial"/>
              </a:rPr>
              <a:t>The</a:t>
            </a:r>
            <a:r>
              <a:rPr sz="955" spc="-24">
                <a:solidFill>
                  <a:srgbClr val="626666"/>
                </a:solidFill>
                <a:latin typeface="Arial"/>
                <a:cs typeface="Arial"/>
              </a:rPr>
              <a:t> </a:t>
            </a:r>
            <a:r>
              <a:rPr sz="955">
                <a:solidFill>
                  <a:srgbClr val="626666"/>
                </a:solidFill>
                <a:latin typeface="Arial"/>
                <a:cs typeface="Arial"/>
              </a:rPr>
              <a:t>following</a:t>
            </a:r>
            <a:r>
              <a:rPr sz="955" spc="-20">
                <a:solidFill>
                  <a:srgbClr val="626666"/>
                </a:solidFill>
                <a:latin typeface="Arial"/>
                <a:cs typeface="Arial"/>
              </a:rPr>
              <a:t> </a:t>
            </a:r>
            <a:r>
              <a:rPr sz="955">
                <a:solidFill>
                  <a:srgbClr val="626666"/>
                </a:solidFill>
                <a:latin typeface="Arial"/>
                <a:cs typeface="Arial"/>
              </a:rPr>
              <a:t>lists</a:t>
            </a:r>
            <a:r>
              <a:rPr sz="955" spc="-14">
                <a:solidFill>
                  <a:srgbClr val="626666"/>
                </a:solidFill>
                <a:latin typeface="Arial"/>
                <a:cs typeface="Arial"/>
              </a:rPr>
              <a:t> </a:t>
            </a:r>
            <a:r>
              <a:rPr sz="955">
                <a:solidFill>
                  <a:srgbClr val="626666"/>
                </a:solidFill>
                <a:latin typeface="Arial"/>
                <a:cs typeface="Arial"/>
              </a:rPr>
              <a:t>our</a:t>
            </a:r>
            <a:r>
              <a:rPr sz="955" spc="-20">
                <a:solidFill>
                  <a:srgbClr val="626666"/>
                </a:solidFill>
                <a:latin typeface="Arial"/>
                <a:cs typeface="Arial"/>
              </a:rPr>
              <a:t> </a:t>
            </a:r>
            <a:r>
              <a:rPr sz="955">
                <a:solidFill>
                  <a:srgbClr val="626666"/>
                </a:solidFill>
                <a:latin typeface="Arial"/>
                <a:cs typeface="Arial"/>
              </a:rPr>
              <a:t>specific</a:t>
            </a:r>
            <a:r>
              <a:rPr sz="955" spc="-37">
                <a:solidFill>
                  <a:srgbClr val="626666"/>
                </a:solidFill>
                <a:latin typeface="Arial"/>
                <a:cs typeface="Arial"/>
              </a:rPr>
              <a:t> </a:t>
            </a:r>
            <a:r>
              <a:rPr sz="955">
                <a:solidFill>
                  <a:srgbClr val="626666"/>
                </a:solidFill>
                <a:latin typeface="Arial"/>
                <a:cs typeface="Arial"/>
              </a:rPr>
              <a:t>service</a:t>
            </a:r>
            <a:r>
              <a:rPr sz="955" spc="-20">
                <a:solidFill>
                  <a:srgbClr val="626666"/>
                </a:solidFill>
                <a:latin typeface="Arial"/>
                <a:cs typeface="Arial"/>
              </a:rPr>
              <a:t> </a:t>
            </a:r>
            <a:r>
              <a:rPr sz="955" spc="-7">
                <a:solidFill>
                  <a:srgbClr val="626666"/>
                </a:solidFill>
                <a:latin typeface="Arial"/>
                <a:cs typeface="Arial"/>
              </a:rPr>
              <a:t>offerings:</a:t>
            </a:r>
            <a:endParaRPr sz="955">
              <a:latin typeface="Arial"/>
              <a:cs typeface="Arial"/>
            </a:endParaRPr>
          </a:p>
        </p:txBody>
      </p:sp>
      <p:grpSp>
        <p:nvGrpSpPr>
          <p:cNvPr id="23" name="object 23"/>
          <p:cNvGrpSpPr/>
          <p:nvPr/>
        </p:nvGrpSpPr>
        <p:grpSpPr>
          <a:xfrm>
            <a:off x="6482244" y="1603262"/>
            <a:ext cx="836901" cy="807027"/>
            <a:chOff x="8738034" y="2654799"/>
            <a:chExt cx="1227455" cy="1183640"/>
          </a:xfrm>
        </p:grpSpPr>
        <p:sp>
          <p:nvSpPr>
            <p:cNvPr id="24" name="object 24"/>
            <p:cNvSpPr/>
            <p:nvPr/>
          </p:nvSpPr>
          <p:spPr>
            <a:xfrm>
              <a:off x="9039303" y="2989535"/>
              <a:ext cx="918844" cy="841375"/>
            </a:xfrm>
            <a:custGeom>
              <a:avLst/>
              <a:gdLst/>
              <a:ahLst/>
              <a:cxnLst/>
              <a:rect l="l" t="t" r="r" b="b"/>
              <a:pathLst>
                <a:path w="918845" h="841375">
                  <a:moveTo>
                    <a:pt x="902078" y="102804"/>
                  </a:moveTo>
                  <a:lnTo>
                    <a:pt x="901220" y="70971"/>
                  </a:lnTo>
                  <a:lnTo>
                    <a:pt x="891700" y="37384"/>
                  </a:lnTo>
                  <a:lnTo>
                    <a:pt x="863092" y="10806"/>
                  </a:lnTo>
                  <a:lnTo>
                    <a:pt x="804972" y="0"/>
                  </a:lnTo>
                </a:path>
                <a:path w="918845" h="841375">
                  <a:moveTo>
                    <a:pt x="111155" y="31544"/>
                  </a:moveTo>
                  <a:lnTo>
                    <a:pt x="127520" y="18724"/>
                  </a:lnTo>
                  <a:lnTo>
                    <a:pt x="146404" y="8757"/>
                  </a:lnTo>
                  <a:lnTo>
                    <a:pt x="167261" y="2298"/>
                  </a:lnTo>
                  <a:lnTo>
                    <a:pt x="189547" y="0"/>
                  </a:lnTo>
                  <a:lnTo>
                    <a:pt x="806142" y="0"/>
                  </a:lnTo>
                </a:path>
                <a:path w="918845" h="841375">
                  <a:moveTo>
                    <a:pt x="741800" y="739545"/>
                  </a:moveTo>
                  <a:lnTo>
                    <a:pt x="732731" y="784508"/>
                  </a:lnTo>
                  <a:lnTo>
                    <a:pt x="709620" y="816217"/>
                  </a:lnTo>
                  <a:lnTo>
                    <a:pt x="675979" y="835001"/>
                  </a:lnTo>
                  <a:lnTo>
                    <a:pt x="635323" y="841189"/>
                  </a:lnTo>
                  <a:lnTo>
                    <a:pt x="113494" y="841189"/>
                  </a:lnTo>
                  <a:lnTo>
                    <a:pt x="69110" y="832171"/>
                  </a:lnTo>
                  <a:lnTo>
                    <a:pt x="33057" y="807600"/>
                  </a:lnTo>
                  <a:lnTo>
                    <a:pt x="8849" y="771199"/>
                  </a:lnTo>
                  <a:lnTo>
                    <a:pt x="0" y="726692"/>
                  </a:lnTo>
                  <a:lnTo>
                    <a:pt x="76052" y="726692"/>
                  </a:lnTo>
                  <a:lnTo>
                    <a:pt x="76052" y="431106"/>
                  </a:lnTo>
                </a:path>
                <a:path w="918845" h="841375">
                  <a:moveTo>
                    <a:pt x="806142" y="0"/>
                  </a:moveTo>
                  <a:lnTo>
                    <a:pt x="767458" y="14237"/>
                  </a:lnTo>
                  <a:lnTo>
                    <a:pt x="748521" y="45558"/>
                  </a:lnTo>
                  <a:lnTo>
                    <a:pt x="742310" y="76880"/>
                  </a:lnTo>
                  <a:lnTo>
                    <a:pt x="741800" y="91117"/>
                  </a:lnTo>
                  <a:lnTo>
                    <a:pt x="741800" y="387874"/>
                  </a:lnTo>
                </a:path>
                <a:path w="918845" h="841375">
                  <a:moveTo>
                    <a:pt x="621288" y="840021"/>
                  </a:moveTo>
                  <a:lnTo>
                    <a:pt x="583643" y="816891"/>
                  </a:lnTo>
                  <a:lnTo>
                    <a:pt x="565853" y="778537"/>
                  </a:lnTo>
                  <a:lnTo>
                    <a:pt x="560568" y="742593"/>
                  </a:lnTo>
                  <a:lnTo>
                    <a:pt x="560440" y="726692"/>
                  </a:lnTo>
                  <a:lnTo>
                    <a:pt x="39780" y="726692"/>
                  </a:lnTo>
                </a:path>
                <a:path w="918845" h="841375">
                  <a:moveTo>
                    <a:pt x="167310" y="452130"/>
                  </a:moveTo>
                  <a:lnTo>
                    <a:pt x="167310" y="452130"/>
                  </a:lnTo>
                  <a:lnTo>
                    <a:pt x="606068" y="452130"/>
                  </a:lnTo>
                </a:path>
                <a:path w="918845" h="841375">
                  <a:moveTo>
                    <a:pt x="167310" y="549114"/>
                  </a:moveTo>
                  <a:lnTo>
                    <a:pt x="167310" y="549114"/>
                  </a:lnTo>
                  <a:lnTo>
                    <a:pt x="566288" y="549114"/>
                  </a:lnTo>
                </a:path>
                <a:path w="918845" h="841375">
                  <a:moveTo>
                    <a:pt x="167310" y="637897"/>
                  </a:moveTo>
                  <a:lnTo>
                    <a:pt x="167310" y="637897"/>
                  </a:lnTo>
                  <a:lnTo>
                    <a:pt x="582677" y="637897"/>
                  </a:lnTo>
                </a:path>
                <a:path w="918845" h="841375">
                  <a:moveTo>
                    <a:pt x="918467" y="563120"/>
                  </a:moveTo>
                  <a:lnTo>
                    <a:pt x="912124" y="609864"/>
                  </a:lnTo>
                  <a:lnTo>
                    <a:pt x="894243" y="651964"/>
                  </a:lnTo>
                  <a:lnTo>
                    <a:pt x="866548" y="687702"/>
                  </a:lnTo>
                  <a:lnTo>
                    <a:pt x="830761" y="715357"/>
                  </a:lnTo>
                  <a:lnTo>
                    <a:pt x="788604" y="733212"/>
                  </a:lnTo>
                  <a:lnTo>
                    <a:pt x="741800" y="739545"/>
                  </a:lnTo>
                  <a:lnTo>
                    <a:pt x="695077" y="733212"/>
                  </a:lnTo>
                  <a:lnTo>
                    <a:pt x="653132" y="715357"/>
                  </a:lnTo>
                  <a:lnTo>
                    <a:pt x="617624" y="687702"/>
                  </a:lnTo>
                  <a:lnTo>
                    <a:pt x="590208" y="651964"/>
                  </a:lnTo>
                  <a:lnTo>
                    <a:pt x="572544" y="609864"/>
                  </a:lnTo>
                  <a:lnTo>
                    <a:pt x="566288" y="563120"/>
                  </a:lnTo>
                  <a:lnTo>
                    <a:pt x="572544" y="516875"/>
                  </a:lnTo>
                  <a:lnTo>
                    <a:pt x="590208" y="475108"/>
                  </a:lnTo>
                  <a:lnTo>
                    <a:pt x="617624" y="439571"/>
                  </a:lnTo>
                  <a:lnTo>
                    <a:pt x="653132" y="412019"/>
                  </a:lnTo>
                  <a:lnTo>
                    <a:pt x="695077" y="394202"/>
                  </a:lnTo>
                  <a:lnTo>
                    <a:pt x="741800" y="387874"/>
                  </a:lnTo>
                  <a:lnTo>
                    <a:pt x="788604" y="394202"/>
                  </a:lnTo>
                  <a:lnTo>
                    <a:pt x="830761" y="412019"/>
                  </a:lnTo>
                  <a:lnTo>
                    <a:pt x="866548" y="439571"/>
                  </a:lnTo>
                  <a:lnTo>
                    <a:pt x="894243" y="475108"/>
                  </a:lnTo>
                  <a:lnTo>
                    <a:pt x="912124" y="516875"/>
                  </a:lnTo>
                  <a:lnTo>
                    <a:pt x="918467" y="563120"/>
                  </a:lnTo>
                  <a:close/>
                </a:path>
                <a:path w="918845" h="841375">
                  <a:moveTo>
                    <a:pt x="741800" y="102804"/>
                  </a:moveTo>
                  <a:lnTo>
                    <a:pt x="741800" y="102804"/>
                  </a:lnTo>
                  <a:lnTo>
                    <a:pt x="910280" y="102804"/>
                  </a:lnTo>
                </a:path>
              </a:pathLst>
            </a:custGeom>
            <a:ln w="15203">
              <a:solidFill>
                <a:srgbClr val="4BBB38"/>
              </a:solidFill>
            </a:ln>
          </p:spPr>
          <p:txBody>
            <a:bodyPr wrap="square" lIns="0" tIns="0" rIns="0" bIns="0" rtlCol="0"/>
            <a:lstStyle/>
            <a:p>
              <a:endParaRPr sz="1454"/>
            </a:p>
          </p:txBody>
        </p:sp>
        <p:sp>
          <p:nvSpPr>
            <p:cNvPr id="25" name="object 25"/>
            <p:cNvSpPr/>
            <p:nvPr/>
          </p:nvSpPr>
          <p:spPr>
            <a:xfrm>
              <a:off x="9715577" y="3431162"/>
              <a:ext cx="135890" cy="244475"/>
            </a:xfrm>
            <a:custGeom>
              <a:avLst/>
              <a:gdLst/>
              <a:ahLst/>
              <a:cxnLst/>
              <a:rect l="l" t="t" r="r" b="b"/>
              <a:pathLst>
                <a:path w="135890" h="244475">
                  <a:moveTo>
                    <a:pt x="118172" y="47900"/>
                  </a:moveTo>
                  <a:lnTo>
                    <a:pt x="109691" y="43077"/>
                  </a:lnTo>
                  <a:lnTo>
                    <a:pt x="100329" y="39133"/>
                  </a:lnTo>
                  <a:lnTo>
                    <a:pt x="90528" y="36067"/>
                  </a:lnTo>
                  <a:lnTo>
                    <a:pt x="80731" y="33879"/>
                  </a:lnTo>
                  <a:lnTo>
                    <a:pt x="55117" y="33636"/>
                  </a:lnTo>
                  <a:lnTo>
                    <a:pt x="32026" y="41611"/>
                  </a:lnTo>
                  <a:lnTo>
                    <a:pt x="15736" y="57695"/>
                  </a:lnTo>
                  <a:lnTo>
                    <a:pt x="10526" y="81779"/>
                  </a:lnTo>
                  <a:lnTo>
                    <a:pt x="19117" y="103974"/>
                  </a:lnTo>
                  <a:lnTo>
                    <a:pt x="38020" y="115656"/>
                  </a:lnTo>
                  <a:lnTo>
                    <a:pt x="62189" y="121208"/>
                  </a:lnTo>
                  <a:lnTo>
                    <a:pt x="86579" y="125011"/>
                  </a:lnTo>
                  <a:lnTo>
                    <a:pt x="99793" y="128349"/>
                  </a:lnTo>
                  <a:lnTo>
                    <a:pt x="112463" y="132454"/>
                  </a:lnTo>
                  <a:lnTo>
                    <a:pt x="123597" y="138969"/>
                  </a:lnTo>
                  <a:lnTo>
                    <a:pt x="132207" y="149537"/>
                  </a:lnTo>
                  <a:lnTo>
                    <a:pt x="135807" y="165862"/>
                  </a:lnTo>
                  <a:lnTo>
                    <a:pt x="132061" y="181963"/>
                  </a:lnTo>
                  <a:lnTo>
                    <a:pt x="100821" y="208870"/>
                  </a:lnTo>
                  <a:lnTo>
                    <a:pt x="71374" y="213794"/>
                  </a:lnTo>
                  <a:lnTo>
                    <a:pt x="53801" y="212007"/>
                  </a:lnTo>
                  <a:lnTo>
                    <a:pt x="34365" y="208248"/>
                  </a:lnTo>
                  <a:lnTo>
                    <a:pt x="15590" y="202298"/>
                  </a:lnTo>
                  <a:lnTo>
                    <a:pt x="0" y="193937"/>
                  </a:lnTo>
                </a:path>
                <a:path w="135890" h="244475">
                  <a:moveTo>
                    <a:pt x="71374" y="0"/>
                  </a:moveTo>
                  <a:lnTo>
                    <a:pt x="71374" y="0"/>
                  </a:lnTo>
                  <a:lnTo>
                    <a:pt x="71374" y="244172"/>
                  </a:lnTo>
                </a:path>
              </a:pathLst>
            </a:custGeom>
            <a:ln w="15203">
              <a:solidFill>
                <a:srgbClr val="4BBB38"/>
              </a:solidFill>
            </a:ln>
          </p:spPr>
          <p:txBody>
            <a:bodyPr wrap="square" lIns="0" tIns="0" rIns="0" bIns="0" rtlCol="0"/>
            <a:lstStyle/>
            <a:p>
              <a:endParaRPr sz="1454"/>
            </a:p>
          </p:txBody>
        </p:sp>
        <p:sp>
          <p:nvSpPr>
            <p:cNvPr id="26" name="object 26"/>
            <p:cNvSpPr/>
            <p:nvPr/>
          </p:nvSpPr>
          <p:spPr>
            <a:xfrm>
              <a:off x="9280327" y="3049108"/>
              <a:ext cx="407670" cy="318135"/>
            </a:xfrm>
            <a:custGeom>
              <a:avLst/>
              <a:gdLst/>
              <a:ahLst/>
              <a:cxnLst/>
              <a:rect l="l" t="t" r="r" b="b"/>
              <a:pathLst>
                <a:path w="407670" h="318135">
                  <a:moveTo>
                    <a:pt x="0" y="174079"/>
                  </a:moveTo>
                  <a:lnTo>
                    <a:pt x="146258" y="42064"/>
                  </a:lnTo>
                  <a:lnTo>
                    <a:pt x="262091" y="123844"/>
                  </a:lnTo>
                  <a:lnTo>
                    <a:pt x="407164" y="0"/>
                  </a:lnTo>
                </a:path>
                <a:path w="407670" h="318135">
                  <a:moveTo>
                    <a:pt x="71374" y="317797"/>
                  </a:moveTo>
                  <a:lnTo>
                    <a:pt x="0" y="317797"/>
                  </a:lnTo>
                  <a:lnTo>
                    <a:pt x="0" y="224330"/>
                  </a:lnTo>
                  <a:lnTo>
                    <a:pt x="71374" y="224330"/>
                  </a:lnTo>
                  <a:lnTo>
                    <a:pt x="71374" y="317797"/>
                  </a:lnTo>
                  <a:close/>
                </a:path>
                <a:path w="407670" h="318135">
                  <a:moveTo>
                    <a:pt x="187208" y="317797"/>
                  </a:moveTo>
                  <a:lnTo>
                    <a:pt x="115833" y="317797"/>
                  </a:lnTo>
                  <a:lnTo>
                    <a:pt x="115833" y="135531"/>
                  </a:lnTo>
                  <a:lnTo>
                    <a:pt x="187208" y="135531"/>
                  </a:lnTo>
                  <a:lnTo>
                    <a:pt x="187208" y="317797"/>
                  </a:lnTo>
                  <a:close/>
                </a:path>
                <a:path w="407670" h="318135">
                  <a:moveTo>
                    <a:pt x="297194" y="317797"/>
                  </a:moveTo>
                  <a:lnTo>
                    <a:pt x="225819" y="317797"/>
                  </a:lnTo>
                  <a:lnTo>
                    <a:pt x="225819" y="174079"/>
                  </a:lnTo>
                  <a:lnTo>
                    <a:pt x="297194" y="174079"/>
                  </a:lnTo>
                  <a:lnTo>
                    <a:pt x="297194" y="317797"/>
                  </a:lnTo>
                  <a:close/>
                </a:path>
                <a:path w="407670" h="318135">
                  <a:moveTo>
                    <a:pt x="407164" y="317797"/>
                  </a:moveTo>
                  <a:lnTo>
                    <a:pt x="335790" y="317797"/>
                  </a:lnTo>
                  <a:lnTo>
                    <a:pt x="335790" y="107488"/>
                  </a:lnTo>
                  <a:lnTo>
                    <a:pt x="407164" y="107488"/>
                  </a:lnTo>
                  <a:lnTo>
                    <a:pt x="407164" y="317797"/>
                  </a:lnTo>
                  <a:close/>
                </a:path>
              </a:pathLst>
            </a:custGeom>
            <a:ln w="15203">
              <a:solidFill>
                <a:srgbClr val="4BBB38"/>
              </a:solidFill>
            </a:ln>
          </p:spPr>
          <p:txBody>
            <a:bodyPr wrap="square" lIns="0" tIns="0" rIns="0" bIns="0" rtlCol="0"/>
            <a:lstStyle/>
            <a:p>
              <a:endParaRPr sz="1454"/>
            </a:p>
          </p:txBody>
        </p:sp>
        <p:pic>
          <p:nvPicPr>
            <p:cNvPr id="27" name="object 27"/>
            <p:cNvPicPr/>
            <p:nvPr/>
          </p:nvPicPr>
          <p:blipFill>
            <a:blip r:embed="rId2" cstate="print"/>
            <a:stretch>
              <a:fillRect/>
            </a:stretch>
          </p:blipFill>
          <p:spPr>
            <a:xfrm>
              <a:off x="8884286" y="3084738"/>
              <a:ext cx="218789" cy="219661"/>
            </a:xfrm>
            <a:prstGeom prst="rect">
              <a:avLst/>
            </a:prstGeom>
          </p:spPr>
        </p:pic>
        <p:sp>
          <p:nvSpPr>
            <p:cNvPr id="28" name="object 28"/>
            <p:cNvSpPr/>
            <p:nvPr/>
          </p:nvSpPr>
          <p:spPr>
            <a:xfrm>
              <a:off x="8745636" y="2936950"/>
              <a:ext cx="510540" cy="509905"/>
            </a:xfrm>
            <a:custGeom>
              <a:avLst/>
              <a:gdLst/>
              <a:ahLst/>
              <a:cxnLst/>
              <a:rect l="l" t="t" r="r" b="b"/>
              <a:pathLst>
                <a:path w="510540" h="509904">
                  <a:moveTo>
                    <a:pt x="215275" y="37396"/>
                  </a:moveTo>
                  <a:lnTo>
                    <a:pt x="207581" y="38982"/>
                  </a:lnTo>
                  <a:lnTo>
                    <a:pt x="200217" y="40459"/>
                  </a:lnTo>
                  <a:lnTo>
                    <a:pt x="193071" y="42156"/>
                  </a:lnTo>
                  <a:lnTo>
                    <a:pt x="186036" y="44399"/>
                  </a:lnTo>
                  <a:lnTo>
                    <a:pt x="160290" y="16355"/>
                  </a:lnTo>
                  <a:lnTo>
                    <a:pt x="99450" y="50235"/>
                  </a:lnTo>
                  <a:lnTo>
                    <a:pt x="109981" y="82946"/>
                  </a:lnTo>
                  <a:lnTo>
                    <a:pt x="103839" y="88226"/>
                  </a:lnTo>
                  <a:lnTo>
                    <a:pt x="97696" y="93612"/>
                  </a:lnTo>
                  <a:lnTo>
                    <a:pt x="91554" y="99218"/>
                  </a:lnTo>
                  <a:lnTo>
                    <a:pt x="85411" y="105154"/>
                  </a:lnTo>
                  <a:lnTo>
                    <a:pt x="52651" y="94634"/>
                  </a:lnTo>
                  <a:lnTo>
                    <a:pt x="18719" y="155389"/>
                  </a:lnTo>
                  <a:lnTo>
                    <a:pt x="40950" y="175246"/>
                  </a:lnTo>
                  <a:lnTo>
                    <a:pt x="37660" y="184030"/>
                  </a:lnTo>
                  <a:lnTo>
                    <a:pt x="34808" y="192923"/>
                  </a:lnTo>
                  <a:lnTo>
                    <a:pt x="32394" y="202035"/>
                  </a:lnTo>
                  <a:lnTo>
                    <a:pt x="30420" y="211475"/>
                  </a:lnTo>
                  <a:lnTo>
                    <a:pt x="0" y="217311"/>
                  </a:lnTo>
                  <a:lnTo>
                    <a:pt x="0" y="287404"/>
                  </a:lnTo>
                  <a:lnTo>
                    <a:pt x="28080" y="293255"/>
                  </a:lnTo>
                  <a:lnTo>
                    <a:pt x="29872" y="302693"/>
                  </a:lnTo>
                  <a:lnTo>
                    <a:pt x="31883" y="311799"/>
                  </a:lnTo>
                  <a:lnTo>
                    <a:pt x="34332" y="320687"/>
                  </a:lnTo>
                  <a:lnTo>
                    <a:pt x="37440" y="329468"/>
                  </a:lnTo>
                  <a:lnTo>
                    <a:pt x="15209" y="349326"/>
                  </a:lnTo>
                  <a:lnTo>
                    <a:pt x="50310" y="410081"/>
                  </a:lnTo>
                  <a:lnTo>
                    <a:pt x="77221" y="400744"/>
                  </a:lnTo>
                  <a:lnTo>
                    <a:pt x="83564" y="407731"/>
                  </a:lnTo>
                  <a:lnTo>
                    <a:pt x="90237" y="414612"/>
                  </a:lnTo>
                  <a:lnTo>
                    <a:pt x="97129" y="421273"/>
                  </a:lnTo>
                  <a:lnTo>
                    <a:pt x="104130" y="427604"/>
                  </a:lnTo>
                  <a:lnTo>
                    <a:pt x="94771" y="456814"/>
                  </a:lnTo>
                  <a:lnTo>
                    <a:pt x="155611" y="490694"/>
                  </a:lnTo>
                  <a:lnTo>
                    <a:pt x="176664" y="468502"/>
                  </a:lnTo>
                  <a:lnTo>
                    <a:pt x="184768" y="470928"/>
                  </a:lnTo>
                  <a:lnTo>
                    <a:pt x="193197" y="473026"/>
                  </a:lnTo>
                  <a:lnTo>
                    <a:pt x="201843" y="474910"/>
                  </a:lnTo>
                  <a:lnTo>
                    <a:pt x="210597" y="476688"/>
                  </a:lnTo>
                  <a:lnTo>
                    <a:pt x="217630" y="509399"/>
                  </a:lnTo>
                  <a:lnTo>
                    <a:pt x="286650" y="509399"/>
                  </a:lnTo>
                  <a:lnTo>
                    <a:pt x="294837" y="475505"/>
                  </a:lnTo>
                  <a:lnTo>
                    <a:pt x="302557" y="473553"/>
                  </a:lnTo>
                  <a:lnTo>
                    <a:pt x="310055" y="471274"/>
                  </a:lnTo>
                  <a:lnTo>
                    <a:pt x="317549" y="468775"/>
                  </a:lnTo>
                  <a:lnTo>
                    <a:pt x="325261" y="466167"/>
                  </a:lnTo>
                  <a:lnTo>
                    <a:pt x="349837" y="494211"/>
                  </a:lnTo>
                  <a:lnTo>
                    <a:pt x="409501" y="459149"/>
                  </a:lnTo>
                  <a:lnTo>
                    <a:pt x="397805" y="421768"/>
                  </a:lnTo>
                  <a:lnTo>
                    <a:pt x="403050" y="417188"/>
                  </a:lnTo>
                  <a:lnTo>
                    <a:pt x="408185" y="412277"/>
                  </a:lnTo>
                  <a:lnTo>
                    <a:pt x="413101" y="407147"/>
                  </a:lnTo>
                  <a:lnTo>
                    <a:pt x="417688" y="401911"/>
                  </a:lnTo>
                  <a:lnTo>
                    <a:pt x="456299" y="414765"/>
                  </a:lnTo>
                  <a:lnTo>
                    <a:pt x="491401" y="354010"/>
                  </a:lnTo>
                  <a:lnTo>
                    <a:pt x="459808" y="325967"/>
                  </a:lnTo>
                  <a:lnTo>
                    <a:pt x="461564" y="319830"/>
                  </a:lnTo>
                  <a:lnTo>
                    <a:pt x="463324" y="313696"/>
                  </a:lnTo>
                  <a:lnTo>
                    <a:pt x="465084" y="307562"/>
                  </a:lnTo>
                  <a:lnTo>
                    <a:pt x="466841" y="301425"/>
                  </a:lnTo>
                  <a:lnTo>
                    <a:pt x="510130" y="292088"/>
                  </a:lnTo>
                  <a:lnTo>
                    <a:pt x="510130" y="223147"/>
                  </a:lnTo>
                  <a:lnTo>
                    <a:pt x="466841" y="213810"/>
                  </a:lnTo>
                  <a:lnTo>
                    <a:pt x="464501" y="205624"/>
                  </a:lnTo>
                  <a:lnTo>
                    <a:pt x="463332" y="198621"/>
                  </a:lnTo>
                  <a:lnTo>
                    <a:pt x="460977" y="190435"/>
                  </a:lnTo>
                  <a:lnTo>
                    <a:pt x="494910" y="160057"/>
                  </a:lnTo>
                  <a:lnTo>
                    <a:pt x="459808" y="100485"/>
                  </a:lnTo>
                  <a:lnTo>
                    <a:pt x="417688" y="113324"/>
                  </a:lnTo>
                  <a:lnTo>
                    <a:pt x="411840" y="107488"/>
                  </a:lnTo>
                  <a:lnTo>
                    <a:pt x="407162" y="101652"/>
                  </a:lnTo>
                  <a:lnTo>
                    <a:pt x="401314" y="95801"/>
                  </a:lnTo>
                  <a:lnTo>
                    <a:pt x="415349" y="53752"/>
                  </a:lnTo>
                  <a:lnTo>
                    <a:pt x="354516" y="18690"/>
                  </a:lnTo>
                  <a:lnTo>
                    <a:pt x="326430" y="49067"/>
                  </a:lnTo>
                  <a:lnTo>
                    <a:pt x="320290" y="47317"/>
                  </a:lnTo>
                  <a:lnTo>
                    <a:pt x="314150" y="45566"/>
                  </a:lnTo>
                  <a:lnTo>
                    <a:pt x="308010" y="43815"/>
                  </a:lnTo>
                  <a:lnTo>
                    <a:pt x="301869" y="42064"/>
                  </a:lnTo>
                  <a:lnTo>
                    <a:pt x="292497" y="0"/>
                  </a:lnTo>
                  <a:lnTo>
                    <a:pt x="223477" y="0"/>
                  </a:lnTo>
                  <a:lnTo>
                    <a:pt x="215275" y="37396"/>
                  </a:lnTo>
                  <a:close/>
                </a:path>
              </a:pathLst>
            </a:custGeom>
            <a:ln w="15203">
              <a:solidFill>
                <a:srgbClr val="4BBB38"/>
              </a:solidFill>
            </a:ln>
          </p:spPr>
          <p:txBody>
            <a:bodyPr wrap="square" lIns="0" tIns="0" rIns="0" bIns="0" rtlCol="0"/>
            <a:lstStyle/>
            <a:p>
              <a:endParaRPr sz="1454"/>
            </a:p>
          </p:txBody>
        </p:sp>
        <p:pic>
          <p:nvPicPr>
            <p:cNvPr id="29" name="object 29"/>
            <p:cNvPicPr/>
            <p:nvPr/>
          </p:nvPicPr>
          <p:blipFill>
            <a:blip r:embed="rId3" cstate="print"/>
            <a:stretch>
              <a:fillRect/>
            </a:stretch>
          </p:blipFill>
          <p:spPr>
            <a:xfrm>
              <a:off x="8863224" y="2654799"/>
              <a:ext cx="174324" cy="174094"/>
            </a:xfrm>
            <a:prstGeom prst="rect">
              <a:avLst/>
            </a:prstGeom>
          </p:spPr>
        </p:pic>
        <p:sp>
          <p:nvSpPr>
            <p:cNvPr id="30" name="object 30"/>
            <p:cNvSpPr/>
            <p:nvPr/>
          </p:nvSpPr>
          <p:spPr>
            <a:xfrm>
              <a:off x="9019420" y="2670571"/>
              <a:ext cx="296545" cy="295910"/>
            </a:xfrm>
            <a:custGeom>
              <a:avLst/>
              <a:gdLst/>
              <a:ahLst/>
              <a:cxnLst/>
              <a:rect l="l" t="t" r="r" b="b"/>
              <a:pathLst>
                <a:path w="296545" h="295910">
                  <a:moveTo>
                    <a:pt x="0" y="135531"/>
                  </a:moveTo>
                  <a:lnTo>
                    <a:pt x="4678" y="179931"/>
                  </a:lnTo>
                  <a:lnTo>
                    <a:pt x="43289" y="184599"/>
                  </a:lnTo>
                  <a:lnTo>
                    <a:pt x="45628" y="192769"/>
                  </a:lnTo>
                  <a:lnTo>
                    <a:pt x="49137" y="199788"/>
                  </a:lnTo>
                  <a:lnTo>
                    <a:pt x="53815" y="206791"/>
                  </a:lnTo>
                  <a:lnTo>
                    <a:pt x="35102" y="244187"/>
                  </a:lnTo>
                  <a:lnTo>
                    <a:pt x="70205" y="272230"/>
                  </a:lnTo>
                  <a:lnTo>
                    <a:pt x="99444" y="247689"/>
                  </a:lnTo>
                  <a:lnTo>
                    <a:pt x="106461" y="251190"/>
                  </a:lnTo>
                  <a:lnTo>
                    <a:pt x="114664" y="254692"/>
                  </a:lnTo>
                  <a:lnTo>
                    <a:pt x="122851" y="255874"/>
                  </a:lnTo>
                  <a:lnTo>
                    <a:pt x="135716" y="295589"/>
                  </a:lnTo>
                  <a:lnTo>
                    <a:pt x="180175" y="290921"/>
                  </a:lnTo>
                  <a:lnTo>
                    <a:pt x="184853" y="253525"/>
                  </a:lnTo>
                  <a:lnTo>
                    <a:pt x="191886" y="251190"/>
                  </a:lnTo>
                  <a:lnTo>
                    <a:pt x="200073" y="246521"/>
                  </a:lnTo>
                  <a:lnTo>
                    <a:pt x="207091" y="243020"/>
                  </a:lnTo>
                  <a:lnTo>
                    <a:pt x="244532" y="261710"/>
                  </a:lnTo>
                  <a:lnTo>
                    <a:pt x="272617" y="226664"/>
                  </a:lnTo>
                  <a:lnTo>
                    <a:pt x="248041" y="197454"/>
                  </a:lnTo>
                  <a:lnTo>
                    <a:pt x="251550" y="189268"/>
                  </a:lnTo>
                  <a:lnTo>
                    <a:pt x="255058" y="182265"/>
                  </a:lnTo>
                  <a:lnTo>
                    <a:pt x="256228" y="174079"/>
                  </a:lnTo>
                  <a:lnTo>
                    <a:pt x="296009" y="160057"/>
                  </a:lnTo>
                  <a:lnTo>
                    <a:pt x="291330" y="116841"/>
                  </a:lnTo>
                  <a:lnTo>
                    <a:pt x="253889" y="112157"/>
                  </a:lnTo>
                  <a:lnTo>
                    <a:pt x="250380" y="103987"/>
                  </a:lnTo>
                  <a:lnTo>
                    <a:pt x="246871" y="96968"/>
                  </a:lnTo>
                  <a:lnTo>
                    <a:pt x="243363" y="89965"/>
                  </a:lnTo>
                  <a:lnTo>
                    <a:pt x="262076" y="52584"/>
                  </a:lnTo>
                  <a:lnTo>
                    <a:pt x="226973" y="24541"/>
                  </a:lnTo>
                  <a:lnTo>
                    <a:pt x="197734" y="49067"/>
                  </a:lnTo>
                  <a:lnTo>
                    <a:pt x="191591" y="45967"/>
                  </a:lnTo>
                  <a:lnTo>
                    <a:pt x="185446" y="43523"/>
                  </a:lnTo>
                  <a:lnTo>
                    <a:pt x="179300" y="41517"/>
                  </a:lnTo>
                  <a:lnTo>
                    <a:pt x="173158" y="39730"/>
                  </a:lnTo>
                  <a:lnTo>
                    <a:pt x="160292" y="0"/>
                  </a:lnTo>
                  <a:lnTo>
                    <a:pt x="115833" y="4668"/>
                  </a:lnTo>
                  <a:lnTo>
                    <a:pt x="112325" y="43231"/>
                  </a:lnTo>
                  <a:lnTo>
                    <a:pt x="104122" y="45566"/>
                  </a:lnTo>
                  <a:lnTo>
                    <a:pt x="97105" y="49067"/>
                  </a:lnTo>
                  <a:lnTo>
                    <a:pt x="90087" y="53752"/>
                  </a:lnTo>
                  <a:lnTo>
                    <a:pt x="52646" y="35046"/>
                  </a:lnTo>
                  <a:lnTo>
                    <a:pt x="24560" y="70108"/>
                  </a:lnTo>
                  <a:lnTo>
                    <a:pt x="47967" y="99318"/>
                  </a:lnTo>
                  <a:lnTo>
                    <a:pt x="44459" y="107488"/>
                  </a:lnTo>
                  <a:lnTo>
                    <a:pt x="42119" y="114491"/>
                  </a:lnTo>
                  <a:lnTo>
                    <a:pt x="39780" y="122677"/>
                  </a:lnTo>
                  <a:lnTo>
                    <a:pt x="0" y="135531"/>
                  </a:lnTo>
                  <a:close/>
                </a:path>
              </a:pathLst>
            </a:custGeom>
            <a:ln w="15203">
              <a:solidFill>
                <a:srgbClr val="4BBB38"/>
              </a:solidFill>
            </a:ln>
          </p:spPr>
          <p:txBody>
            <a:bodyPr wrap="square" lIns="0" tIns="0" rIns="0" bIns="0" rtlCol="0"/>
            <a:lstStyle/>
            <a:p>
              <a:endParaRPr sz="1454"/>
            </a:p>
          </p:txBody>
        </p:sp>
        <p:pic>
          <p:nvPicPr>
            <p:cNvPr id="31" name="object 31"/>
            <p:cNvPicPr/>
            <p:nvPr/>
          </p:nvPicPr>
          <p:blipFill>
            <a:blip r:embed="rId4" cstate="print"/>
            <a:stretch>
              <a:fillRect/>
            </a:stretch>
          </p:blipFill>
          <p:spPr>
            <a:xfrm>
              <a:off x="9096058" y="2747099"/>
              <a:ext cx="143902" cy="143717"/>
            </a:xfrm>
            <a:prstGeom prst="rect">
              <a:avLst/>
            </a:prstGeom>
          </p:spPr>
        </p:pic>
      </p:grpSp>
      <p:grpSp>
        <p:nvGrpSpPr>
          <p:cNvPr id="32" name="object 32"/>
          <p:cNvGrpSpPr/>
          <p:nvPr/>
        </p:nvGrpSpPr>
        <p:grpSpPr>
          <a:xfrm>
            <a:off x="3152618" y="1604470"/>
            <a:ext cx="711344" cy="921760"/>
            <a:chOff x="3854582" y="2656570"/>
            <a:chExt cx="1043305" cy="1351915"/>
          </a:xfrm>
        </p:grpSpPr>
        <p:sp>
          <p:nvSpPr>
            <p:cNvPr id="33" name="object 33"/>
            <p:cNvSpPr/>
            <p:nvPr/>
          </p:nvSpPr>
          <p:spPr>
            <a:xfrm>
              <a:off x="3916565" y="2664343"/>
              <a:ext cx="930910" cy="1240790"/>
            </a:xfrm>
            <a:custGeom>
              <a:avLst/>
              <a:gdLst/>
              <a:ahLst/>
              <a:cxnLst/>
              <a:rect l="l" t="t" r="r" b="b"/>
              <a:pathLst>
                <a:path w="930910" h="1240789">
                  <a:moveTo>
                    <a:pt x="337037" y="135663"/>
                  </a:moveTo>
                  <a:lnTo>
                    <a:pt x="236290" y="111779"/>
                  </a:lnTo>
                  <a:lnTo>
                    <a:pt x="0" y="1069547"/>
                  </a:lnTo>
                </a:path>
                <a:path w="930910" h="1240789">
                  <a:moveTo>
                    <a:pt x="0" y="1070740"/>
                  </a:moveTo>
                  <a:lnTo>
                    <a:pt x="694464" y="1240326"/>
                  </a:lnTo>
                  <a:lnTo>
                    <a:pt x="930747" y="281352"/>
                  </a:lnTo>
                  <a:lnTo>
                    <a:pt x="828803" y="256275"/>
                  </a:lnTo>
                </a:path>
                <a:path w="930910" h="1240789">
                  <a:moveTo>
                    <a:pt x="768821" y="136856"/>
                  </a:moveTo>
                  <a:lnTo>
                    <a:pt x="669273" y="112973"/>
                  </a:lnTo>
                  <a:lnTo>
                    <a:pt x="673525" y="106661"/>
                  </a:lnTo>
                  <a:lnTo>
                    <a:pt x="677218" y="100130"/>
                  </a:lnTo>
                  <a:lnTo>
                    <a:pt x="680238" y="93154"/>
                  </a:lnTo>
                  <a:lnTo>
                    <a:pt x="682468" y="85509"/>
                  </a:lnTo>
                  <a:lnTo>
                    <a:pt x="683688" y="57981"/>
                  </a:lnTo>
                  <a:lnTo>
                    <a:pt x="674223" y="32807"/>
                  </a:lnTo>
                  <a:lnTo>
                    <a:pt x="655986" y="12784"/>
                  </a:lnTo>
                  <a:lnTo>
                    <a:pt x="630889" y="714"/>
                  </a:lnTo>
                  <a:lnTo>
                    <a:pt x="602552" y="0"/>
                  </a:lnTo>
                  <a:lnTo>
                    <a:pt x="576918" y="9364"/>
                  </a:lnTo>
                  <a:lnTo>
                    <a:pt x="556680" y="27241"/>
                  </a:lnTo>
                  <a:lnTo>
                    <a:pt x="544535" y="52062"/>
                  </a:lnTo>
                  <a:lnTo>
                    <a:pt x="543187" y="59921"/>
                  </a:lnTo>
                  <a:lnTo>
                    <a:pt x="542738" y="67441"/>
                  </a:lnTo>
                  <a:lnTo>
                    <a:pt x="543187" y="74733"/>
                  </a:lnTo>
                  <a:lnTo>
                    <a:pt x="544535" y="81913"/>
                  </a:lnTo>
                  <a:lnTo>
                    <a:pt x="444987" y="58029"/>
                  </a:lnTo>
                  <a:lnTo>
                    <a:pt x="379163" y="68185"/>
                  </a:lnTo>
                  <a:lnTo>
                    <a:pt x="339433" y="121326"/>
                  </a:lnTo>
                  <a:lnTo>
                    <a:pt x="327436" y="172674"/>
                  </a:lnTo>
                  <a:lnTo>
                    <a:pt x="819203" y="292108"/>
                  </a:lnTo>
                  <a:lnTo>
                    <a:pt x="832397" y="241954"/>
                  </a:lnTo>
                  <a:lnTo>
                    <a:pt x="833598" y="207556"/>
                  </a:lnTo>
                  <a:lnTo>
                    <a:pt x="822204" y="176409"/>
                  </a:lnTo>
                  <a:lnTo>
                    <a:pt x="800012" y="151761"/>
                  </a:lnTo>
                  <a:lnTo>
                    <a:pt x="768821" y="136856"/>
                  </a:lnTo>
                  <a:close/>
                </a:path>
              </a:pathLst>
            </a:custGeom>
            <a:ln w="15562">
              <a:solidFill>
                <a:srgbClr val="44AAE2"/>
              </a:solidFill>
            </a:ln>
          </p:spPr>
          <p:txBody>
            <a:bodyPr wrap="square" lIns="0" tIns="0" rIns="0" bIns="0" rtlCol="0"/>
            <a:lstStyle/>
            <a:p>
              <a:endParaRPr sz="1454"/>
            </a:p>
          </p:txBody>
        </p:sp>
        <p:pic>
          <p:nvPicPr>
            <p:cNvPr id="34" name="object 34"/>
            <p:cNvPicPr/>
            <p:nvPr/>
          </p:nvPicPr>
          <p:blipFill>
            <a:blip r:embed="rId5" cstate="print"/>
            <a:stretch>
              <a:fillRect/>
            </a:stretch>
          </p:blipFill>
          <p:spPr>
            <a:xfrm>
              <a:off x="4489713" y="2691288"/>
              <a:ext cx="83103" cy="83674"/>
            </a:xfrm>
            <a:prstGeom prst="rect">
              <a:avLst/>
            </a:prstGeom>
          </p:spPr>
        </p:pic>
        <p:sp>
          <p:nvSpPr>
            <p:cNvPr id="35" name="object 35"/>
            <p:cNvSpPr/>
            <p:nvPr/>
          </p:nvSpPr>
          <p:spPr>
            <a:xfrm>
              <a:off x="3862367" y="2715924"/>
              <a:ext cx="1027430" cy="1284605"/>
            </a:xfrm>
            <a:custGeom>
              <a:avLst/>
              <a:gdLst/>
              <a:ahLst/>
              <a:cxnLst/>
              <a:rect l="l" t="t" r="r" b="b"/>
              <a:pathLst>
                <a:path w="1027429" h="1284604">
                  <a:moveTo>
                    <a:pt x="426009" y="92436"/>
                  </a:moveTo>
                  <a:lnTo>
                    <a:pt x="426009" y="92436"/>
                  </a:lnTo>
                  <a:lnTo>
                    <a:pt x="843418" y="195147"/>
                  </a:lnTo>
                </a:path>
                <a:path w="1027429" h="1284604">
                  <a:moveTo>
                    <a:pt x="697083" y="82889"/>
                  </a:moveTo>
                  <a:lnTo>
                    <a:pt x="686588" y="86656"/>
                  </a:lnTo>
                  <a:lnTo>
                    <a:pt x="675195" y="88856"/>
                  </a:lnTo>
                  <a:lnTo>
                    <a:pt x="631719" y="79152"/>
                  </a:lnTo>
                  <a:lnTo>
                    <a:pt x="623171" y="73049"/>
                  </a:lnTo>
                  <a:lnTo>
                    <a:pt x="615521" y="66166"/>
                  </a:lnTo>
                </a:path>
                <a:path w="1027429" h="1284604">
                  <a:moveTo>
                    <a:pt x="881787" y="135430"/>
                  </a:moveTo>
                  <a:lnTo>
                    <a:pt x="976543" y="158120"/>
                  </a:lnTo>
                  <a:lnTo>
                    <a:pt x="1000760" y="170234"/>
                  </a:lnTo>
                  <a:lnTo>
                    <a:pt x="1018230" y="190517"/>
                  </a:lnTo>
                  <a:lnTo>
                    <a:pt x="1027152" y="216397"/>
                  </a:lnTo>
                  <a:lnTo>
                    <a:pt x="1025726" y="245301"/>
                  </a:lnTo>
                  <a:lnTo>
                    <a:pt x="783437" y="1229349"/>
                  </a:lnTo>
                  <a:lnTo>
                    <a:pt x="771504" y="1255716"/>
                  </a:lnTo>
                  <a:lnTo>
                    <a:pt x="751809" y="1274581"/>
                  </a:lnTo>
                  <a:lnTo>
                    <a:pt x="726938" y="1284266"/>
                  </a:lnTo>
                  <a:lnTo>
                    <a:pt x="699479" y="1283090"/>
                  </a:lnTo>
                  <a:lnTo>
                    <a:pt x="50600" y="1131418"/>
                  </a:lnTo>
                  <a:lnTo>
                    <a:pt x="26387" y="1119833"/>
                  </a:lnTo>
                  <a:lnTo>
                    <a:pt x="8920" y="1099624"/>
                  </a:lnTo>
                  <a:lnTo>
                    <a:pt x="0" y="1073815"/>
                  </a:lnTo>
                  <a:lnTo>
                    <a:pt x="1424" y="1045430"/>
                  </a:lnTo>
                  <a:lnTo>
                    <a:pt x="244900" y="55425"/>
                  </a:lnTo>
                  <a:lnTo>
                    <a:pt x="257009" y="29038"/>
                  </a:lnTo>
                  <a:lnTo>
                    <a:pt x="276989" y="10040"/>
                  </a:lnTo>
                  <a:lnTo>
                    <a:pt x="301913" y="0"/>
                  </a:lnTo>
                  <a:lnTo>
                    <a:pt x="328857" y="481"/>
                  </a:lnTo>
                  <a:lnTo>
                    <a:pt x="423613" y="23172"/>
                  </a:lnTo>
                </a:path>
                <a:path w="1027429" h="1284604">
                  <a:moveTo>
                    <a:pt x="332467" y="358753"/>
                  </a:moveTo>
                  <a:lnTo>
                    <a:pt x="332467" y="358753"/>
                  </a:lnTo>
                  <a:lnTo>
                    <a:pt x="438006" y="541469"/>
                  </a:lnTo>
                </a:path>
                <a:path w="1027429" h="1284604">
                  <a:moveTo>
                    <a:pt x="463196" y="401747"/>
                  </a:moveTo>
                  <a:lnTo>
                    <a:pt x="463196" y="401747"/>
                  </a:lnTo>
                  <a:lnTo>
                    <a:pt x="289291" y="498475"/>
                  </a:lnTo>
                </a:path>
                <a:path w="1027429" h="1284604">
                  <a:moveTo>
                    <a:pt x="635920" y="670451"/>
                  </a:moveTo>
                  <a:lnTo>
                    <a:pt x="635920" y="670451"/>
                  </a:lnTo>
                  <a:lnTo>
                    <a:pt x="740260" y="853167"/>
                  </a:lnTo>
                </a:path>
                <a:path w="1027429" h="1284604">
                  <a:moveTo>
                    <a:pt x="766648" y="713445"/>
                  </a:moveTo>
                  <a:lnTo>
                    <a:pt x="766648" y="713445"/>
                  </a:lnTo>
                  <a:lnTo>
                    <a:pt x="591529" y="808980"/>
                  </a:lnTo>
                </a:path>
                <a:path w="1027429" h="1284604">
                  <a:moveTo>
                    <a:pt x="426009" y="739715"/>
                  </a:moveTo>
                  <a:lnTo>
                    <a:pt x="426009" y="739715"/>
                  </a:lnTo>
                  <a:lnTo>
                    <a:pt x="530366" y="922431"/>
                  </a:lnTo>
                </a:path>
                <a:path w="1027429" h="1284604">
                  <a:moveTo>
                    <a:pt x="556754" y="782709"/>
                  </a:moveTo>
                  <a:lnTo>
                    <a:pt x="556754" y="782709"/>
                  </a:lnTo>
                  <a:lnTo>
                    <a:pt x="381634" y="879437"/>
                  </a:lnTo>
                </a:path>
                <a:path w="1027429" h="1284604">
                  <a:moveTo>
                    <a:pt x="340854" y="781516"/>
                  </a:moveTo>
                  <a:lnTo>
                    <a:pt x="335139" y="810215"/>
                  </a:lnTo>
                  <a:lnTo>
                    <a:pt x="319417" y="833762"/>
                  </a:lnTo>
                  <a:lnTo>
                    <a:pt x="295824" y="849696"/>
                  </a:lnTo>
                  <a:lnTo>
                    <a:pt x="266496" y="855554"/>
                  </a:lnTo>
                  <a:lnTo>
                    <a:pt x="237673" y="849696"/>
                  </a:lnTo>
                  <a:lnTo>
                    <a:pt x="214024" y="833762"/>
                  </a:lnTo>
                  <a:lnTo>
                    <a:pt x="198022" y="810215"/>
                  </a:lnTo>
                  <a:lnTo>
                    <a:pt x="192138" y="781516"/>
                  </a:lnTo>
                  <a:lnTo>
                    <a:pt x="198022" y="752310"/>
                  </a:lnTo>
                  <a:lnTo>
                    <a:pt x="214024" y="728814"/>
                  </a:lnTo>
                  <a:lnTo>
                    <a:pt x="237673" y="713155"/>
                  </a:lnTo>
                  <a:lnTo>
                    <a:pt x="266496" y="707462"/>
                  </a:lnTo>
                  <a:lnTo>
                    <a:pt x="295824" y="713155"/>
                  </a:lnTo>
                  <a:lnTo>
                    <a:pt x="319417" y="728814"/>
                  </a:lnTo>
                  <a:lnTo>
                    <a:pt x="335139" y="752310"/>
                  </a:lnTo>
                  <a:lnTo>
                    <a:pt x="340854" y="781516"/>
                  </a:lnTo>
                  <a:close/>
                </a:path>
              </a:pathLst>
            </a:custGeom>
            <a:ln w="15562">
              <a:solidFill>
                <a:srgbClr val="44AAE2"/>
              </a:solidFill>
            </a:ln>
          </p:spPr>
          <p:txBody>
            <a:bodyPr wrap="square" lIns="0" tIns="0" rIns="0" bIns="0" rtlCol="0"/>
            <a:lstStyle/>
            <a:p>
              <a:endParaRPr sz="1454"/>
            </a:p>
          </p:txBody>
        </p:sp>
        <p:pic>
          <p:nvPicPr>
            <p:cNvPr id="36" name="object 36"/>
            <p:cNvPicPr/>
            <p:nvPr/>
          </p:nvPicPr>
          <p:blipFill>
            <a:blip r:embed="rId6" cstate="print"/>
            <a:stretch>
              <a:fillRect/>
            </a:stretch>
          </p:blipFill>
          <p:spPr>
            <a:xfrm>
              <a:off x="4537277" y="3048980"/>
              <a:ext cx="164293" cy="163654"/>
            </a:xfrm>
            <a:prstGeom prst="rect">
              <a:avLst/>
            </a:prstGeom>
          </p:spPr>
        </p:pic>
        <p:sp>
          <p:nvSpPr>
            <p:cNvPr id="37" name="object 37"/>
            <p:cNvSpPr/>
            <p:nvPr/>
          </p:nvSpPr>
          <p:spPr>
            <a:xfrm>
              <a:off x="4168446" y="3246653"/>
              <a:ext cx="411480" cy="159385"/>
            </a:xfrm>
            <a:custGeom>
              <a:avLst/>
              <a:gdLst/>
              <a:ahLst/>
              <a:cxnLst/>
              <a:rect l="l" t="t" r="r" b="b"/>
              <a:pathLst>
                <a:path w="411479" h="159385">
                  <a:moveTo>
                    <a:pt x="0" y="158832"/>
                  </a:moveTo>
                  <a:lnTo>
                    <a:pt x="7739" y="146515"/>
                  </a:lnTo>
                  <a:lnTo>
                    <a:pt x="28634" y="119418"/>
                  </a:lnTo>
                  <a:lnTo>
                    <a:pt x="59201" y="92321"/>
                  </a:lnTo>
                  <a:lnTo>
                    <a:pt x="95953" y="80004"/>
                  </a:lnTo>
                </a:path>
                <a:path w="411479" h="159385">
                  <a:moveTo>
                    <a:pt x="411402" y="0"/>
                  </a:moveTo>
                  <a:lnTo>
                    <a:pt x="391476" y="29907"/>
                  </a:lnTo>
                  <a:lnTo>
                    <a:pt x="361772" y="63735"/>
                  </a:lnTo>
                  <a:lnTo>
                    <a:pt x="324196" y="90175"/>
                  </a:lnTo>
                  <a:lnTo>
                    <a:pt x="280657" y="97921"/>
                  </a:lnTo>
                  <a:lnTo>
                    <a:pt x="225615" y="88966"/>
                  </a:lnTo>
                  <a:lnTo>
                    <a:pt x="176760" y="79111"/>
                  </a:lnTo>
                  <a:lnTo>
                    <a:pt x="130380" y="75077"/>
                  </a:lnTo>
                  <a:lnTo>
                    <a:pt x="82759" y="83585"/>
                  </a:lnTo>
                </a:path>
              </a:pathLst>
            </a:custGeom>
            <a:ln w="15562">
              <a:solidFill>
                <a:srgbClr val="44AAE2"/>
              </a:solidFill>
            </a:ln>
          </p:spPr>
          <p:txBody>
            <a:bodyPr wrap="square" lIns="0" tIns="0" rIns="0" bIns="0" rtlCol="0"/>
            <a:lstStyle/>
            <a:p>
              <a:endParaRPr sz="1454"/>
            </a:p>
          </p:txBody>
        </p:sp>
        <p:pic>
          <p:nvPicPr>
            <p:cNvPr id="38" name="object 38"/>
            <p:cNvPicPr/>
            <p:nvPr/>
          </p:nvPicPr>
          <p:blipFill>
            <a:blip r:embed="rId7" cstate="print"/>
            <a:stretch>
              <a:fillRect/>
            </a:stretch>
          </p:blipFill>
          <p:spPr>
            <a:xfrm>
              <a:off x="4495875" y="3231123"/>
              <a:ext cx="109148" cy="96728"/>
            </a:xfrm>
            <a:prstGeom prst="rect">
              <a:avLst/>
            </a:prstGeom>
          </p:spPr>
        </p:pic>
      </p:grpSp>
      <p:grpSp>
        <p:nvGrpSpPr>
          <p:cNvPr id="39" name="object 39"/>
          <p:cNvGrpSpPr/>
          <p:nvPr/>
        </p:nvGrpSpPr>
        <p:grpSpPr>
          <a:xfrm>
            <a:off x="9975663" y="1598107"/>
            <a:ext cx="690563" cy="804863"/>
            <a:chOff x="13861715" y="2647238"/>
            <a:chExt cx="1012825" cy="1180465"/>
          </a:xfrm>
        </p:grpSpPr>
        <p:sp>
          <p:nvSpPr>
            <p:cNvPr id="40" name="object 40"/>
            <p:cNvSpPr/>
            <p:nvPr/>
          </p:nvSpPr>
          <p:spPr>
            <a:xfrm>
              <a:off x="13869273" y="2735178"/>
              <a:ext cx="940435" cy="1084580"/>
            </a:xfrm>
            <a:custGeom>
              <a:avLst/>
              <a:gdLst/>
              <a:ahLst/>
              <a:cxnLst/>
              <a:rect l="l" t="t" r="r" b="b"/>
              <a:pathLst>
                <a:path w="940434" h="1084579">
                  <a:moveTo>
                    <a:pt x="789976" y="736146"/>
                  </a:moveTo>
                  <a:lnTo>
                    <a:pt x="787640" y="1025010"/>
                  </a:lnTo>
                  <a:lnTo>
                    <a:pt x="782957" y="1048051"/>
                  </a:lnTo>
                  <a:lnTo>
                    <a:pt x="770215" y="1066942"/>
                  </a:lnTo>
                  <a:lnTo>
                    <a:pt x="751375" y="1079719"/>
                  </a:lnTo>
                  <a:lnTo>
                    <a:pt x="728399" y="1084414"/>
                  </a:lnTo>
                  <a:lnTo>
                    <a:pt x="59248" y="1080919"/>
                  </a:lnTo>
                  <a:lnTo>
                    <a:pt x="36267" y="1076223"/>
                  </a:lnTo>
                  <a:lnTo>
                    <a:pt x="17425" y="1063447"/>
                  </a:lnTo>
                  <a:lnTo>
                    <a:pt x="4683" y="1044556"/>
                  </a:lnTo>
                  <a:lnTo>
                    <a:pt x="0" y="1021516"/>
                  </a:lnTo>
                  <a:lnTo>
                    <a:pt x="5808" y="58228"/>
                  </a:lnTo>
                  <a:lnTo>
                    <a:pt x="10491" y="35207"/>
                  </a:lnTo>
                  <a:lnTo>
                    <a:pt x="23234" y="16447"/>
                  </a:lnTo>
                  <a:lnTo>
                    <a:pt x="42076" y="4021"/>
                  </a:lnTo>
                  <a:lnTo>
                    <a:pt x="65056" y="0"/>
                  </a:lnTo>
                  <a:lnTo>
                    <a:pt x="154507" y="1163"/>
                  </a:lnTo>
                </a:path>
                <a:path w="940434" h="1084579">
                  <a:moveTo>
                    <a:pt x="644759" y="2327"/>
                  </a:moveTo>
                  <a:lnTo>
                    <a:pt x="734201" y="3490"/>
                  </a:lnTo>
                  <a:lnTo>
                    <a:pt x="757186" y="8187"/>
                  </a:lnTo>
                  <a:lnTo>
                    <a:pt x="776030" y="20964"/>
                  </a:lnTo>
                  <a:lnTo>
                    <a:pt x="788774" y="39857"/>
                  </a:lnTo>
                  <a:lnTo>
                    <a:pt x="793457" y="62898"/>
                  </a:lnTo>
                  <a:lnTo>
                    <a:pt x="789976" y="581227"/>
                  </a:lnTo>
                </a:path>
                <a:path w="940434" h="1084579">
                  <a:moveTo>
                    <a:pt x="283464" y="350595"/>
                  </a:moveTo>
                  <a:lnTo>
                    <a:pt x="148705" y="350595"/>
                  </a:lnTo>
                  <a:lnTo>
                    <a:pt x="149866" y="214310"/>
                  </a:lnTo>
                  <a:lnTo>
                    <a:pt x="284624" y="215474"/>
                  </a:lnTo>
                  <a:lnTo>
                    <a:pt x="283464" y="350595"/>
                  </a:lnTo>
                  <a:close/>
                </a:path>
                <a:path w="940434" h="1084579">
                  <a:moveTo>
                    <a:pt x="282303" y="594043"/>
                  </a:moveTo>
                  <a:lnTo>
                    <a:pt x="147539" y="594043"/>
                  </a:lnTo>
                  <a:lnTo>
                    <a:pt x="148705" y="458922"/>
                  </a:lnTo>
                  <a:lnTo>
                    <a:pt x="283464" y="458922"/>
                  </a:lnTo>
                  <a:lnTo>
                    <a:pt x="282303" y="594043"/>
                  </a:lnTo>
                  <a:close/>
                </a:path>
                <a:path w="940434" h="1084579">
                  <a:moveTo>
                    <a:pt x="281143" y="833984"/>
                  </a:moveTo>
                  <a:lnTo>
                    <a:pt x="146377" y="833984"/>
                  </a:lnTo>
                  <a:lnTo>
                    <a:pt x="147539" y="697700"/>
                  </a:lnTo>
                  <a:lnTo>
                    <a:pt x="282303" y="698863"/>
                  </a:lnTo>
                  <a:lnTo>
                    <a:pt x="281143" y="833984"/>
                  </a:lnTo>
                  <a:close/>
                </a:path>
                <a:path w="940434" h="1084579">
                  <a:moveTo>
                    <a:pt x="371745" y="253920"/>
                  </a:moveTo>
                  <a:lnTo>
                    <a:pt x="371745" y="253920"/>
                  </a:lnTo>
                  <a:lnTo>
                    <a:pt x="654042" y="256247"/>
                  </a:lnTo>
                </a:path>
                <a:path w="940434" h="1084579">
                  <a:moveTo>
                    <a:pt x="371745" y="314491"/>
                  </a:moveTo>
                  <a:lnTo>
                    <a:pt x="371745" y="314491"/>
                  </a:lnTo>
                  <a:lnTo>
                    <a:pt x="543682" y="315655"/>
                  </a:lnTo>
                </a:path>
                <a:path w="940434" h="1084579">
                  <a:moveTo>
                    <a:pt x="370585" y="488044"/>
                  </a:moveTo>
                  <a:lnTo>
                    <a:pt x="370585" y="488044"/>
                  </a:lnTo>
                  <a:lnTo>
                    <a:pt x="652881" y="490371"/>
                  </a:lnTo>
                </a:path>
                <a:path w="940434" h="1084579">
                  <a:moveTo>
                    <a:pt x="369424" y="548615"/>
                  </a:moveTo>
                  <a:lnTo>
                    <a:pt x="369424" y="548615"/>
                  </a:lnTo>
                  <a:lnTo>
                    <a:pt x="542522" y="549778"/>
                  </a:lnTo>
                </a:path>
                <a:path w="940434" h="1084579">
                  <a:moveTo>
                    <a:pt x="369424" y="737310"/>
                  </a:moveTo>
                  <a:lnTo>
                    <a:pt x="369424" y="737310"/>
                  </a:lnTo>
                  <a:lnTo>
                    <a:pt x="563439" y="738473"/>
                  </a:lnTo>
                </a:path>
                <a:path w="940434" h="1084579">
                  <a:moveTo>
                    <a:pt x="368264" y="796717"/>
                  </a:moveTo>
                  <a:lnTo>
                    <a:pt x="368264" y="796717"/>
                  </a:lnTo>
                  <a:lnTo>
                    <a:pt x="501862" y="797881"/>
                  </a:lnTo>
                </a:path>
                <a:path w="940434" h="1084579">
                  <a:moveTo>
                    <a:pt x="187044" y="267899"/>
                  </a:moveTo>
                  <a:lnTo>
                    <a:pt x="224207" y="302839"/>
                  </a:lnTo>
                  <a:lnTo>
                    <a:pt x="309023" y="210819"/>
                  </a:lnTo>
                </a:path>
                <a:path w="940434" h="1084579">
                  <a:moveTo>
                    <a:pt x="185868" y="509004"/>
                  </a:moveTo>
                  <a:lnTo>
                    <a:pt x="223047" y="543945"/>
                  </a:lnTo>
                  <a:lnTo>
                    <a:pt x="306687" y="451940"/>
                  </a:lnTo>
                </a:path>
                <a:path w="940434" h="1084579">
                  <a:moveTo>
                    <a:pt x="478624" y="958616"/>
                  </a:moveTo>
                  <a:lnTo>
                    <a:pt x="540201" y="821169"/>
                  </a:lnTo>
                  <a:lnTo>
                    <a:pt x="620360" y="901537"/>
                  </a:lnTo>
                  <a:lnTo>
                    <a:pt x="478624" y="958616"/>
                  </a:lnTo>
                  <a:close/>
                </a:path>
                <a:path w="940434" h="1084579">
                  <a:moveTo>
                    <a:pt x="863157" y="512495"/>
                  </a:moveTo>
                  <a:lnTo>
                    <a:pt x="540201" y="821169"/>
                  </a:lnTo>
                  <a:lnTo>
                    <a:pt x="620360" y="901537"/>
                  </a:lnTo>
                  <a:lnTo>
                    <a:pt x="939835" y="588209"/>
                  </a:lnTo>
                  <a:lnTo>
                    <a:pt x="863157" y="512495"/>
                  </a:lnTo>
                  <a:close/>
                </a:path>
              </a:pathLst>
            </a:custGeom>
            <a:ln w="15123">
              <a:solidFill>
                <a:srgbClr val="545454"/>
              </a:solidFill>
            </a:ln>
          </p:spPr>
          <p:txBody>
            <a:bodyPr wrap="square" lIns="0" tIns="0" rIns="0" bIns="0" rtlCol="0"/>
            <a:lstStyle/>
            <a:p>
              <a:endParaRPr sz="1454"/>
            </a:p>
          </p:txBody>
        </p:sp>
        <p:pic>
          <p:nvPicPr>
            <p:cNvPr id="41" name="object 41"/>
            <p:cNvPicPr/>
            <p:nvPr/>
          </p:nvPicPr>
          <p:blipFill>
            <a:blip r:embed="rId8" cstate="print"/>
            <a:stretch>
              <a:fillRect/>
            </a:stretch>
          </p:blipFill>
          <p:spPr>
            <a:xfrm>
              <a:off x="14724869" y="3184207"/>
              <a:ext cx="149451" cy="146742"/>
            </a:xfrm>
            <a:prstGeom prst="rect">
              <a:avLst/>
            </a:prstGeom>
          </p:spPr>
        </p:pic>
        <p:sp>
          <p:nvSpPr>
            <p:cNvPr id="42" name="object 42"/>
            <p:cNvSpPr/>
            <p:nvPr/>
          </p:nvSpPr>
          <p:spPr>
            <a:xfrm>
              <a:off x="14023781" y="2654809"/>
              <a:ext cx="490855" cy="130810"/>
            </a:xfrm>
            <a:custGeom>
              <a:avLst/>
              <a:gdLst/>
              <a:ahLst/>
              <a:cxnLst/>
              <a:rect l="l" t="t" r="r" b="b"/>
              <a:pathLst>
                <a:path w="490855" h="130810">
                  <a:moveTo>
                    <a:pt x="449559" y="0"/>
                  </a:moveTo>
                  <a:lnTo>
                    <a:pt x="461819" y="2498"/>
                  </a:lnTo>
                  <a:lnTo>
                    <a:pt x="476597" y="12511"/>
                  </a:lnTo>
                  <a:lnTo>
                    <a:pt x="486583" y="27326"/>
                  </a:lnTo>
                  <a:lnTo>
                    <a:pt x="490251" y="45412"/>
                  </a:lnTo>
                  <a:lnTo>
                    <a:pt x="490251" y="82695"/>
                  </a:lnTo>
                  <a:lnTo>
                    <a:pt x="489580" y="109322"/>
                  </a:lnTo>
                  <a:lnTo>
                    <a:pt x="489236" y="123609"/>
                  </a:lnTo>
                  <a:lnTo>
                    <a:pt x="489109" y="129377"/>
                  </a:lnTo>
                  <a:lnTo>
                    <a:pt x="489091" y="130451"/>
                  </a:lnTo>
                  <a:lnTo>
                    <a:pt x="0" y="128124"/>
                  </a:lnTo>
                  <a:lnTo>
                    <a:pt x="0" y="38431"/>
                  </a:lnTo>
                  <a:lnTo>
                    <a:pt x="3957" y="22047"/>
                  </a:lnTo>
                  <a:lnTo>
                    <a:pt x="13361" y="8723"/>
                  </a:lnTo>
                  <a:lnTo>
                    <a:pt x="26765" y="0"/>
                  </a:lnTo>
                </a:path>
              </a:pathLst>
            </a:custGeom>
            <a:ln w="15141">
              <a:solidFill>
                <a:srgbClr val="545454"/>
              </a:solidFill>
            </a:ln>
          </p:spPr>
          <p:txBody>
            <a:bodyPr wrap="square" lIns="0" tIns="0" rIns="0" bIns="0" rtlCol="0"/>
            <a:lstStyle/>
            <a:p>
              <a:endParaRPr sz="1454"/>
            </a:p>
          </p:txBody>
        </p:sp>
      </p:grpSp>
      <p:sp>
        <p:nvSpPr>
          <p:cNvPr id="43" name="object 43"/>
          <p:cNvSpPr/>
          <p:nvPr/>
        </p:nvSpPr>
        <p:spPr>
          <a:xfrm>
            <a:off x="818556" y="276087"/>
            <a:ext cx="3262745" cy="315191"/>
          </a:xfrm>
          <a:custGeom>
            <a:avLst/>
            <a:gdLst/>
            <a:ahLst/>
            <a:cxnLst/>
            <a:rect l="l" t="t" r="r" b="b"/>
            <a:pathLst>
              <a:path w="4785359" h="462280">
                <a:moveTo>
                  <a:pt x="4785360" y="0"/>
                </a:moveTo>
                <a:lnTo>
                  <a:pt x="0" y="0"/>
                </a:lnTo>
                <a:lnTo>
                  <a:pt x="0" y="461772"/>
                </a:lnTo>
                <a:lnTo>
                  <a:pt x="4785360" y="461772"/>
                </a:lnTo>
                <a:lnTo>
                  <a:pt x="4785360" y="0"/>
                </a:lnTo>
                <a:close/>
              </a:path>
            </a:pathLst>
          </a:custGeom>
          <a:solidFill>
            <a:srgbClr val="3E9C34"/>
          </a:solidFill>
        </p:spPr>
        <p:txBody>
          <a:bodyPr wrap="square" lIns="0" tIns="0" rIns="0" bIns="0" rtlCol="0"/>
          <a:lstStyle/>
          <a:p>
            <a:endParaRPr sz="1454"/>
          </a:p>
        </p:txBody>
      </p:sp>
      <p:sp>
        <p:nvSpPr>
          <p:cNvPr id="44" name="object 44"/>
          <p:cNvSpPr txBox="1"/>
          <p:nvPr/>
        </p:nvSpPr>
        <p:spPr>
          <a:xfrm>
            <a:off x="818556" y="276088"/>
            <a:ext cx="3262745" cy="248401"/>
          </a:xfrm>
          <a:prstGeom prst="rect">
            <a:avLst/>
          </a:prstGeom>
        </p:spPr>
        <p:txBody>
          <a:bodyPr vert="horz" wrap="square" lIns="0" tIns="38100" rIns="0" bIns="0" rtlCol="0">
            <a:spAutoFit/>
          </a:bodyPr>
          <a:lstStyle/>
          <a:p>
            <a:pPr marL="62777">
              <a:spcBef>
                <a:spcPts val="300"/>
              </a:spcBef>
            </a:pPr>
            <a:r>
              <a:rPr sz="1364" b="1">
                <a:solidFill>
                  <a:srgbClr val="FFFFFF"/>
                </a:solidFill>
                <a:latin typeface="Arial"/>
                <a:cs typeface="Arial"/>
              </a:rPr>
              <a:t>Government</a:t>
            </a:r>
            <a:r>
              <a:rPr sz="1364" b="1" spc="-31">
                <a:solidFill>
                  <a:srgbClr val="FFFFFF"/>
                </a:solidFill>
                <a:latin typeface="Arial"/>
                <a:cs typeface="Arial"/>
              </a:rPr>
              <a:t> </a:t>
            </a:r>
            <a:r>
              <a:rPr sz="1364" b="1">
                <a:solidFill>
                  <a:srgbClr val="FFFFFF"/>
                </a:solidFill>
                <a:latin typeface="Arial"/>
                <a:cs typeface="Arial"/>
              </a:rPr>
              <a:t>contract</a:t>
            </a:r>
            <a:r>
              <a:rPr sz="1364" b="1" spc="-44">
                <a:solidFill>
                  <a:srgbClr val="FFFFFF"/>
                </a:solidFill>
                <a:latin typeface="Arial"/>
                <a:cs typeface="Arial"/>
              </a:rPr>
              <a:t> </a:t>
            </a:r>
            <a:r>
              <a:rPr sz="1364" b="1" spc="-7">
                <a:solidFill>
                  <a:srgbClr val="FFFFFF"/>
                </a:solidFill>
                <a:latin typeface="Arial"/>
                <a:cs typeface="Arial"/>
              </a:rPr>
              <a:t>advisory</a:t>
            </a:r>
            <a:endParaRPr sz="1364">
              <a:latin typeface="Arial"/>
              <a:cs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83CF8-698C-4E54-9945-023C2E7830D6}"/>
              </a:ext>
            </a:extLst>
          </p:cNvPr>
          <p:cNvSpPr>
            <a:spLocks noGrp="1"/>
          </p:cNvSpPr>
          <p:nvPr>
            <p:ph type="title" idx="4294967295"/>
          </p:nvPr>
        </p:nvSpPr>
        <p:spPr>
          <a:xfrm>
            <a:off x="508000" y="273176"/>
            <a:ext cx="10741025" cy="496888"/>
          </a:xfrm>
        </p:spPr>
        <p:txBody>
          <a:bodyPr/>
          <a:lstStyle/>
          <a:p>
            <a:r>
              <a:rPr lang="en-US"/>
              <a:t>AACE Ascend Program Mentors</a:t>
            </a:r>
          </a:p>
        </p:txBody>
      </p:sp>
      <p:sp>
        <p:nvSpPr>
          <p:cNvPr id="3" name="Content Placeholder 2">
            <a:extLst>
              <a:ext uri="{FF2B5EF4-FFF2-40B4-BE49-F238E27FC236}">
                <a16:creationId xmlns:a16="http://schemas.microsoft.com/office/drawing/2014/main" id="{F7B4B2C3-4A2D-4170-8050-9798A621D8E7}"/>
              </a:ext>
            </a:extLst>
          </p:cNvPr>
          <p:cNvSpPr>
            <a:spLocks noGrp="1"/>
          </p:cNvSpPr>
          <p:nvPr>
            <p:ph sz="half" idx="4294967295"/>
          </p:nvPr>
        </p:nvSpPr>
        <p:spPr>
          <a:xfrm>
            <a:off x="5513213" y="2565400"/>
            <a:ext cx="6055519" cy="3437464"/>
          </a:xfrm>
        </p:spPr>
        <p:txBody>
          <a:bodyPr>
            <a:normAutofit/>
          </a:bodyPr>
          <a:lstStyle/>
          <a:p>
            <a:pPr algn="ctr"/>
            <a:endParaRPr lang="en-US"/>
          </a:p>
          <a:p>
            <a:pPr marL="0" indent="0">
              <a:buNone/>
            </a:pPr>
            <a:r>
              <a:rPr lang="en-US"/>
              <a:t>The </a:t>
            </a:r>
            <a:r>
              <a:rPr lang="en-US" b="1">
                <a:solidFill>
                  <a:schemeClr val="tx2"/>
                </a:solidFill>
              </a:rPr>
              <a:t>African American and Canadian Excellence</a:t>
            </a:r>
            <a:r>
              <a:rPr lang="en-US"/>
              <a:t> (</a:t>
            </a:r>
            <a:r>
              <a:rPr lang="en-US" b="1">
                <a:solidFill>
                  <a:schemeClr val="tx2"/>
                </a:solidFill>
              </a:rPr>
              <a:t>AACE</a:t>
            </a:r>
            <a:r>
              <a:rPr lang="en-US"/>
              <a:t>) is one of 12 employee network groups at RSM that focuses on furthering RSM’s business, diversity and inclusion objectives by actively supporting the recruitment, development and retention of talented Black professionals and other minorities. AACE also fosters within RSM a better understanding and appreciation of the cultural nuances and contributions of B​lack professionals.</a:t>
            </a:r>
          </a:p>
        </p:txBody>
      </p:sp>
      <p:sp>
        <p:nvSpPr>
          <p:cNvPr id="4" name="Slide Number Placeholder 3">
            <a:extLst>
              <a:ext uri="{FF2B5EF4-FFF2-40B4-BE49-F238E27FC236}">
                <a16:creationId xmlns:a16="http://schemas.microsoft.com/office/drawing/2014/main" id="{40F462B8-8BBE-4E45-A663-CC9E778FA19A}"/>
              </a:ext>
            </a:extLst>
          </p:cNvPr>
          <p:cNvSpPr>
            <a:spLocks noGrp="1"/>
          </p:cNvSpPr>
          <p:nvPr>
            <p:ph type="sldNum" sz="quarter" idx="4294967295"/>
          </p:nvPr>
        </p:nvSpPr>
        <p:spPr>
          <a:xfrm>
            <a:off x="0" y="6191250"/>
            <a:ext cx="2743200" cy="280988"/>
          </a:xfrm>
          <a:prstGeom prst="rect">
            <a:avLst/>
          </a:prstGeom>
        </p:spPr>
        <p:txBody>
          <a:bodyP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6A99BC-3C9D-4DF8-8B8C-E1FD2BDF0AD4}" type="slidenum">
              <a:rPr lang="en-US" smtClean="0"/>
              <a:pPr/>
              <a:t>6</a:t>
            </a:fld>
            <a:endParaRPr lang="en-US"/>
          </a:p>
        </p:txBody>
      </p:sp>
      <p:grpSp>
        <p:nvGrpSpPr>
          <p:cNvPr id="5" name="Group 4">
            <a:extLst>
              <a:ext uri="{FF2B5EF4-FFF2-40B4-BE49-F238E27FC236}">
                <a16:creationId xmlns:a16="http://schemas.microsoft.com/office/drawing/2014/main" id="{CDE7F5EC-4DA0-FD2A-6885-782D5061DD0F}"/>
              </a:ext>
            </a:extLst>
          </p:cNvPr>
          <p:cNvGrpSpPr/>
          <p:nvPr/>
        </p:nvGrpSpPr>
        <p:grpSpPr>
          <a:xfrm>
            <a:off x="910494" y="4664580"/>
            <a:ext cx="3758629" cy="1129361"/>
            <a:chOff x="370956" y="3924938"/>
            <a:chExt cx="3758629" cy="1129361"/>
          </a:xfrm>
        </p:grpSpPr>
        <p:sp>
          <p:nvSpPr>
            <p:cNvPr id="8" name="TextBox 7">
              <a:extLst>
                <a:ext uri="{FF2B5EF4-FFF2-40B4-BE49-F238E27FC236}">
                  <a16:creationId xmlns:a16="http://schemas.microsoft.com/office/drawing/2014/main" id="{A9C06C94-667A-4455-BD13-1B64E701286B}"/>
                </a:ext>
              </a:extLst>
            </p:cNvPr>
            <p:cNvSpPr txBox="1"/>
            <p:nvPr/>
          </p:nvSpPr>
          <p:spPr>
            <a:xfrm>
              <a:off x="370956" y="3924938"/>
              <a:ext cx="2988406" cy="280988"/>
            </a:xfrm>
            <a:prstGeom prst="rect">
              <a:avLst/>
            </a:prstGeom>
          </p:spPr>
          <p:txBody>
            <a:bodyPr vert="horz" lIns="91440" tIns="45720" rIns="91440" bIns="45720" rtlCol="0">
              <a:noAutofit/>
            </a:bodyPr>
            <a:lstStyle>
              <a:lvl1pPr indent="0">
                <a:lnSpc>
                  <a:spcPct val="100000"/>
                </a:lnSpc>
                <a:spcBef>
                  <a:spcPts val="1000"/>
                </a:spcBef>
                <a:buFont typeface="Arial" panose="020B0604020202020204" pitchFamily="34" charset="0"/>
                <a:buNone/>
                <a:defRPr sz="1400" b="1" baseline="0">
                  <a:solidFill>
                    <a:schemeClr val="accent2"/>
                  </a:solidFill>
                  <a:latin typeface="Arial" panose="020B0604020202020204" pitchFamily="34" charset="0"/>
                  <a:cs typeface="Arial" panose="020B0604020202020204" pitchFamily="34" charset="0"/>
                </a:defRPr>
              </a:lvl1pPr>
              <a:lvl2pPr marL="685800" indent="-228600">
                <a:lnSpc>
                  <a:spcPct val="100000"/>
                </a:lnSpc>
                <a:spcBef>
                  <a:spcPts val="500"/>
                </a:spcBef>
                <a:buFont typeface="Calibri" panose="020F0502020204030204" pitchFamily="34" charset="0"/>
                <a:buChar char="⁻"/>
                <a:defRPr sz="1600">
                  <a:latin typeface="Arial" panose="020B0604020202020204" pitchFamily="34" charset="0"/>
                  <a:cs typeface="Arial" panose="020B0604020202020204" pitchFamily="34" charset="0"/>
                </a:defRPr>
              </a:lvl2pPr>
              <a:lvl3pPr marL="1143000" indent="-228600">
                <a:lnSpc>
                  <a:spcPct val="1000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3pPr>
              <a:lvl4pPr marL="1600200" indent="-228600">
                <a:lnSpc>
                  <a:spcPct val="100000"/>
                </a:lnSpc>
                <a:spcBef>
                  <a:spcPts val="500"/>
                </a:spcBef>
                <a:buFont typeface="Calibri" panose="020F0502020204030204" pitchFamily="34" charset="0"/>
                <a:buChar char="⁻"/>
                <a:defRPr sz="1200">
                  <a:latin typeface="Arial" panose="020B0604020202020204" pitchFamily="34" charset="0"/>
                  <a:cs typeface="Arial" panose="020B0604020202020204" pitchFamily="34" charset="0"/>
                </a:defRPr>
              </a:lvl4pPr>
              <a:lvl5pPr marL="2057400" indent="-228600">
                <a:lnSpc>
                  <a:spcPct val="100000"/>
                </a:lnSpc>
                <a:spcBef>
                  <a:spcPts val="500"/>
                </a:spcBef>
                <a:buFont typeface="Arial" panose="020B0604020202020204" pitchFamily="34" charset="0"/>
                <a:buChar char="•"/>
                <a:defRPr sz="12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ureon Herron-Hinds, Principal</a:t>
              </a:r>
            </a:p>
          </p:txBody>
        </p:sp>
        <p:sp>
          <p:nvSpPr>
            <p:cNvPr id="9" name="Text Placeholder 7">
              <a:extLst>
                <a:ext uri="{FF2B5EF4-FFF2-40B4-BE49-F238E27FC236}">
                  <a16:creationId xmlns:a16="http://schemas.microsoft.com/office/drawing/2014/main" id="{541B8F85-1424-43DC-9697-1E3722371CF7}"/>
                </a:ext>
              </a:extLst>
            </p:cNvPr>
            <p:cNvSpPr txBox="1">
              <a:spLocks/>
            </p:cNvSpPr>
            <p:nvPr/>
          </p:nvSpPr>
          <p:spPr>
            <a:xfrm>
              <a:off x="370956" y="4361859"/>
              <a:ext cx="3758629" cy="692440"/>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Calibri" panose="020F050202020403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solidFill>
                    <a:srgbClr val="009CDE"/>
                  </a:solidFill>
                  <a:ea typeface="Calibri" panose="020F0502020204030204" pitchFamily="34" charset="0"/>
                </a:rPr>
                <a:t>Tax | Former AACE National Leader</a:t>
              </a:r>
            </a:p>
            <a:p>
              <a:pPr marL="0" indent="0">
                <a:buNone/>
              </a:pPr>
              <a:r>
                <a:rPr lang="en-US" sz="1400">
                  <a:solidFill>
                    <a:srgbClr val="009CDE"/>
                  </a:solidFill>
                  <a:ea typeface="Calibri" panose="020F0502020204030204" pitchFamily="34" charset="0"/>
                </a:rPr>
                <a:t>and Ascend Program Champion </a:t>
              </a:r>
            </a:p>
          </p:txBody>
        </p:sp>
      </p:grpSp>
      <p:pic>
        <p:nvPicPr>
          <p:cNvPr id="11" name="Picture 10">
            <a:extLst>
              <a:ext uri="{FF2B5EF4-FFF2-40B4-BE49-F238E27FC236}">
                <a16:creationId xmlns:a16="http://schemas.microsoft.com/office/drawing/2014/main" id="{FD95FECB-BD9D-84CF-11C6-EEDEFD4D6D7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37209" y="1690612"/>
            <a:ext cx="2506092" cy="2751480"/>
          </a:xfrm>
          <a:prstGeom prst="rect">
            <a:avLst/>
          </a:prstGeom>
          <a:noFill/>
        </p:spPr>
      </p:pic>
      <p:pic>
        <p:nvPicPr>
          <p:cNvPr id="12" name="Picture 11">
            <a:extLst>
              <a:ext uri="{FF2B5EF4-FFF2-40B4-BE49-F238E27FC236}">
                <a16:creationId xmlns:a16="http://schemas.microsoft.com/office/drawing/2014/main" id="{65CC7E5F-1A4C-DFEB-DED8-508FEEE1FB69}"/>
              </a:ext>
            </a:extLst>
          </p:cNvPr>
          <p:cNvPicPr>
            <a:picLocks noChangeAspect="1"/>
          </p:cNvPicPr>
          <p:nvPr/>
        </p:nvPicPr>
        <p:blipFill>
          <a:blip r:embed="rId4"/>
          <a:srcRect t="22360" b="21206"/>
          <a:stretch>
            <a:fillRect/>
          </a:stretch>
        </p:blipFill>
        <p:spPr>
          <a:xfrm>
            <a:off x="6842124" y="1530080"/>
            <a:ext cx="2187576" cy="1234539"/>
          </a:xfrm>
          <a:prstGeom prst="rect">
            <a:avLst/>
          </a:prstGeom>
        </p:spPr>
      </p:pic>
    </p:spTree>
    <p:extLst>
      <p:ext uri="{BB962C8B-B14F-4D97-AF65-F5344CB8AC3E}">
        <p14:creationId xmlns:p14="http://schemas.microsoft.com/office/powerpoint/2010/main" val="599214352"/>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62935-B277-4E84-B9C2-3E0336BCFD44}"/>
              </a:ext>
            </a:extLst>
          </p:cNvPr>
          <p:cNvSpPr>
            <a:spLocks noGrp="1"/>
          </p:cNvSpPr>
          <p:nvPr>
            <p:ph type="title" idx="4294967295"/>
          </p:nvPr>
        </p:nvSpPr>
        <p:spPr>
          <a:xfrm rot="16200000">
            <a:off x="-1981200" y="3722688"/>
            <a:ext cx="5557838" cy="442912"/>
          </a:xfrm>
        </p:spPr>
        <p:txBody>
          <a:bodyPr anchor="b">
            <a:normAutofit fontScale="90000"/>
          </a:bodyPr>
          <a:lstStyle/>
          <a:p>
            <a:r>
              <a:rPr lang="en-US"/>
              <a:t>Ascend Businesses and RSM Mentors </a:t>
            </a:r>
          </a:p>
        </p:txBody>
      </p:sp>
      <p:pic>
        <p:nvPicPr>
          <p:cNvPr id="5" name="Picture 4">
            <a:extLst>
              <a:ext uri="{FF2B5EF4-FFF2-40B4-BE49-F238E27FC236}">
                <a16:creationId xmlns:a16="http://schemas.microsoft.com/office/drawing/2014/main" id="{5DDE40B6-EA26-C578-C923-83D97F7C3CF5}"/>
              </a:ext>
            </a:extLst>
          </p:cNvPr>
          <p:cNvPicPr>
            <a:picLocks noChangeAspect="1"/>
          </p:cNvPicPr>
          <p:nvPr/>
        </p:nvPicPr>
        <p:blipFill>
          <a:blip r:embed="rId4"/>
          <a:stretch>
            <a:fillRect/>
          </a:stretch>
        </p:blipFill>
        <p:spPr>
          <a:xfrm>
            <a:off x="1794276" y="1165225"/>
            <a:ext cx="8822924" cy="5568021"/>
          </a:xfrm>
          <a:prstGeom prst="rect">
            <a:avLst/>
          </a:prstGeom>
        </p:spPr>
      </p:pic>
    </p:spTree>
    <p:extLst>
      <p:ext uri="{BB962C8B-B14F-4D97-AF65-F5344CB8AC3E}">
        <p14:creationId xmlns:p14="http://schemas.microsoft.com/office/powerpoint/2010/main" val="2572715741"/>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endParaRPr lang="en-US">
              <a:solidFill>
                <a:srgbClr val="FF0000"/>
              </a:solidFill>
            </a:endParaRPr>
          </a:p>
        </p:txBody>
      </p:sp>
      <p:sp>
        <p:nvSpPr>
          <p:cNvPr id="15" name="Text Placeholder 14">
            <a:extLst>
              <a:ext uri="{FF2B5EF4-FFF2-40B4-BE49-F238E27FC236}">
                <a16:creationId xmlns:a16="http://schemas.microsoft.com/office/drawing/2014/main" id="{6455A056-C60C-FE17-AF9B-A4CB6801AFFD}"/>
              </a:ext>
            </a:extLst>
          </p:cNvPr>
          <p:cNvSpPr>
            <a:spLocks noGrp="1"/>
          </p:cNvSpPr>
          <p:nvPr>
            <p:ph type="body" sz="quarter" idx="10"/>
          </p:nvPr>
        </p:nvSpPr>
        <p:spPr/>
        <p:txBody>
          <a:bodyPr/>
          <a:lstStyle/>
          <a:p>
            <a:endParaRPr lang="en-US"/>
          </a:p>
        </p:txBody>
      </p:sp>
      <p:sp>
        <p:nvSpPr>
          <p:cNvPr id="16" name="Text Placeholder 15">
            <a:extLst>
              <a:ext uri="{FF2B5EF4-FFF2-40B4-BE49-F238E27FC236}">
                <a16:creationId xmlns:a16="http://schemas.microsoft.com/office/drawing/2014/main" id="{191CA6B8-9FDF-93A2-4BBF-862A71D10DED}"/>
              </a:ext>
            </a:extLst>
          </p:cNvPr>
          <p:cNvSpPr>
            <a:spLocks noGrp="1"/>
          </p:cNvSpPr>
          <p:nvPr>
            <p:ph type="body" sz="quarter" idx="11"/>
          </p:nvPr>
        </p:nvSpPr>
        <p:spPr/>
        <p:txBody>
          <a:bodyPr/>
          <a:lstStyle/>
          <a:p>
            <a:endParaRPr lang="en-US"/>
          </a:p>
        </p:txBody>
      </p:sp>
      <p:sp>
        <p:nvSpPr>
          <p:cNvPr id="17" name="Text Placeholder 16">
            <a:extLst>
              <a:ext uri="{FF2B5EF4-FFF2-40B4-BE49-F238E27FC236}">
                <a16:creationId xmlns:a16="http://schemas.microsoft.com/office/drawing/2014/main" id="{A184B96A-60A7-C391-F1D0-1FFB51892BB4}"/>
              </a:ext>
            </a:extLst>
          </p:cNvPr>
          <p:cNvSpPr>
            <a:spLocks noGrp="1"/>
          </p:cNvSpPr>
          <p:nvPr>
            <p:ph type="body" sz="quarter" idx="12"/>
          </p:nvPr>
        </p:nvSpPr>
        <p:spPr/>
        <p:txBody>
          <a:bodyPr/>
          <a:lstStyle/>
          <a:p>
            <a:endParaRPr lang="en-US"/>
          </a:p>
        </p:txBody>
      </p:sp>
      <p:sp>
        <p:nvSpPr>
          <p:cNvPr id="18" name="Text Placeholder 17">
            <a:extLst>
              <a:ext uri="{FF2B5EF4-FFF2-40B4-BE49-F238E27FC236}">
                <a16:creationId xmlns:a16="http://schemas.microsoft.com/office/drawing/2014/main" id="{4C2D8622-16F5-255F-D6A8-94C3740AF531}"/>
              </a:ext>
            </a:extLst>
          </p:cNvPr>
          <p:cNvSpPr>
            <a:spLocks noGrp="1"/>
          </p:cNvSpPr>
          <p:nvPr>
            <p:ph type="body" sz="quarter" idx="13"/>
          </p:nvPr>
        </p:nvSpPr>
        <p:spPr/>
        <p:txBody>
          <a:bodyPr/>
          <a:lstStyle/>
          <a:p>
            <a:endParaRPr lang="en-US"/>
          </a:p>
        </p:txBody>
      </p:sp>
      <p:sp>
        <p:nvSpPr>
          <p:cNvPr id="19" name="Text Placeholder 18">
            <a:extLst>
              <a:ext uri="{FF2B5EF4-FFF2-40B4-BE49-F238E27FC236}">
                <a16:creationId xmlns:a16="http://schemas.microsoft.com/office/drawing/2014/main" id="{D66070FF-ADEE-51F7-5328-E2878A6AAE85}"/>
              </a:ext>
            </a:extLst>
          </p:cNvPr>
          <p:cNvSpPr>
            <a:spLocks noGrp="1"/>
          </p:cNvSpPr>
          <p:nvPr>
            <p:ph type="body" sz="quarter" idx="14"/>
          </p:nvPr>
        </p:nvSpPr>
        <p:spPr/>
        <p:txBody>
          <a:bodyPr/>
          <a:lstStyle/>
          <a:p>
            <a:endParaRPr lang="en-US"/>
          </a:p>
        </p:txBody>
      </p:sp>
      <p:sp>
        <p:nvSpPr>
          <p:cNvPr id="20" name="Text Placeholder 19">
            <a:extLst>
              <a:ext uri="{FF2B5EF4-FFF2-40B4-BE49-F238E27FC236}">
                <a16:creationId xmlns:a16="http://schemas.microsoft.com/office/drawing/2014/main" id="{E145677A-4D04-6103-A24A-C091BAB91721}"/>
              </a:ext>
            </a:extLst>
          </p:cNvPr>
          <p:cNvSpPr>
            <a:spLocks noGrp="1"/>
          </p:cNvSpPr>
          <p:nvPr>
            <p:ph type="body" sz="quarter" idx="15"/>
          </p:nvPr>
        </p:nvSpPr>
        <p:spPr/>
        <p:txBody>
          <a:bodyPr/>
          <a:lstStyle/>
          <a:p>
            <a:endParaRPr lang="en-US"/>
          </a:p>
        </p:txBody>
      </p:sp>
      <p:sp>
        <p:nvSpPr>
          <p:cNvPr id="21" name="Text Placeholder 20">
            <a:extLst>
              <a:ext uri="{FF2B5EF4-FFF2-40B4-BE49-F238E27FC236}">
                <a16:creationId xmlns:a16="http://schemas.microsoft.com/office/drawing/2014/main" id="{9E7A4086-E5FC-1246-EA47-DDDA309E765A}"/>
              </a:ext>
            </a:extLst>
          </p:cNvPr>
          <p:cNvSpPr>
            <a:spLocks noGrp="1"/>
          </p:cNvSpPr>
          <p:nvPr>
            <p:ph type="body" sz="quarter" idx="16"/>
          </p:nvPr>
        </p:nvSpPr>
        <p:spPr/>
        <p:txBody>
          <a:bodyPr/>
          <a:lstStyle/>
          <a:p>
            <a:endParaRPr lang="en-US"/>
          </a:p>
        </p:txBody>
      </p:sp>
      <p:sp>
        <p:nvSpPr>
          <p:cNvPr id="2050" name="Text Placeholder 2049">
            <a:extLst>
              <a:ext uri="{FF2B5EF4-FFF2-40B4-BE49-F238E27FC236}">
                <a16:creationId xmlns:a16="http://schemas.microsoft.com/office/drawing/2014/main" id="{13F98AA4-1174-A6FE-3112-1EFCCD42BE03}"/>
              </a:ext>
            </a:extLst>
          </p:cNvPr>
          <p:cNvSpPr>
            <a:spLocks noGrp="1"/>
          </p:cNvSpPr>
          <p:nvPr>
            <p:ph type="body" sz="quarter" idx="17"/>
          </p:nvPr>
        </p:nvSpPr>
        <p:spPr/>
        <p:txBody>
          <a:bodyPr/>
          <a:lstStyle/>
          <a:p>
            <a:endParaRPr lang="en-US"/>
          </a:p>
        </p:txBody>
      </p:sp>
      <p:sp>
        <p:nvSpPr>
          <p:cNvPr id="2051" name="Text Placeholder 2050">
            <a:extLst>
              <a:ext uri="{FF2B5EF4-FFF2-40B4-BE49-F238E27FC236}">
                <a16:creationId xmlns:a16="http://schemas.microsoft.com/office/drawing/2014/main" id="{ED9772B0-B0D3-6529-039D-8D8E7968AB91}"/>
              </a:ext>
            </a:extLst>
          </p:cNvPr>
          <p:cNvSpPr>
            <a:spLocks noGrp="1"/>
          </p:cNvSpPr>
          <p:nvPr>
            <p:ph type="body" sz="quarter" idx="18"/>
          </p:nvPr>
        </p:nvSpPr>
        <p:spPr>
          <a:xfrm>
            <a:off x="6400800" y="2031235"/>
            <a:ext cx="3846938" cy="391102"/>
          </a:xfrm>
        </p:spPr>
        <p:txBody>
          <a:bodyPr/>
          <a:lstStyle/>
          <a:p>
            <a:r>
              <a:rPr lang="en-US"/>
              <a:t>Introduction</a:t>
            </a:r>
          </a:p>
        </p:txBody>
      </p:sp>
      <p:sp>
        <p:nvSpPr>
          <p:cNvPr id="2052" name="Text Placeholder 2051">
            <a:extLst>
              <a:ext uri="{FF2B5EF4-FFF2-40B4-BE49-F238E27FC236}">
                <a16:creationId xmlns:a16="http://schemas.microsoft.com/office/drawing/2014/main" id="{31F7EE89-682A-BEFB-E84A-4B4FA012A7D0}"/>
              </a:ext>
            </a:extLst>
          </p:cNvPr>
          <p:cNvSpPr>
            <a:spLocks noGrp="1"/>
          </p:cNvSpPr>
          <p:nvPr>
            <p:ph type="body" sz="quarter" idx="19"/>
          </p:nvPr>
        </p:nvSpPr>
        <p:spPr/>
        <p:txBody>
          <a:bodyPr/>
          <a:lstStyle/>
          <a:p>
            <a:r>
              <a:rPr lang="en-US"/>
              <a:t>Financial Systems Landscape</a:t>
            </a:r>
          </a:p>
        </p:txBody>
      </p:sp>
      <p:sp>
        <p:nvSpPr>
          <p:cNvPr id="2053" name="Text Placeholder 2052">
            <a:extLst>
              <a:ext uri="{FF2B5EF4-FFF2-40B4-BE49-F238E27FC236}">
                <a16:creationId xmlns:a16="http://schemas.microsoft.com/office/drawing/2014/main" id="{BB75F749-BA39-4BD3-CAE8-53EAE890EC7F}"/>
              </a:ext>
            </a:extLst>
          </p:cNvPr>
          <p:cNvSpPr>
            <a:spLocks noGrp="1"/>
          </p:cNvSpPr>
          <p:nvPr>
            <p:ph type="body" sz="quarter" idx="20"/>
          </p:nvPr>
        </p:nvSpPr>
        <p:spPr/>
        <p:txBody>
          <a:bodyPr/>
          <a:lstStyle/>
          <a:p>
            <a:r>
              <a:rPr lang="en-US"/>
              <a:t>Breakout 1 (Assigned)</a:t>
            </a:r>
          </a:p>
        </p:txBody>
      </p:sp>
      <p:sp>
        <p:nvSpPr>
          <p:cNvPr id="2054" name="Text Placeholder 2053">
            <a:extLst>
              <a:ext uri="{FF2B5EF4-FFF2-40B4-BE49-F238E27FC236}">
                <a16:creationId xmlns:a16="http://schemas.microsoft.com/office/drawing/2014/main" id="{814E9B81-03E7-3845-0FE3-8301C3616B21}"/>
              </a:ext>
            </a:extLst>
          </p:cNvPr>
          <p:cNvSpPr>
            <a:spLocks noGrp="1"/>
          </p:cNvSpPr>
          <p:nvPr>
            <p:ph type="body" sz="quarter" idx="21"/>
          </p:nvPr>
        </p:nvSpPr>
        <p:spPr>
          <a:xfrm>
            <a:off x="6400800" y="3538728"/>
            <a:ext cx="4406900" cy="430212"/>
          </a:xfrm>
        </p:spPr>
        <p:txBody>
          <a:bodyPr>
            <a:normAutofit fontScale="92500"/>
          </a:bodyPr>
          <a:lstStyle/>
          <a:p>
            <a:r>
              <a:rPr lang="en-US"/>
              <a:t>Financial Systems Assessment Tool Overview</a:t>
            </a:r>
          </a:p>
        </p:txBody>
      </p:sp>
      <p:sp>
        <p:nvSpPr>
          <p:cNvPr id="2055" name="Text Placeholder 2054">
            <a:extLst>
              <a:ext uri="{FF2B5EF4-FFF2-40B4-BE49-F238E27FC236}">
                <a16:creationId xmlns:a16="http://schemas.microsoft.com/office/drawing/2014/main" id="{C22AA91E-2823-FE06-D2F2-A8FC1C82423F}"/>
              </a:ext>
            </a:extLst>
          </p:cNvPr>
          <p:cNvSpPr>
            <a:spLocks noGrp="1"/>
          </p:cNvSpPr>
          <p:nvPr>
            <p:ph type="body" sz="quarter" idx="22"/>
          </p:nvPr>
        </p:nvSpPr>
        <p:spPr/>
        <p:txBody>
          <a:bodyPr/>
          <a:lstStyle/>
          <a:p>
            <a:r>
              <a:rPr lang="en-US"/>
              <a:t>Group Discussion</a:t>
            </a:r>
          </a:p>
        </p:txBody>
      </p:sp>
      <p:sp>
        <p:nvSpPr>
          <p:cNvPr id="2056" name="Text Placeholder 2055">
            <a:extLst>
              <a:ext uri="{FF2B5EF4-FFF2-40B4-BE49-F238E27FC236}">
                <a16:creationId xmlns:a16="http://schemas.microsoft.com/office/drawing/2014/main" id="{857C96AF-93D4-160F-08B1-C23FDB27DFE1}"/>
              </a:ext>
            </a:extLst>
          </p:cNvPr>
          <p:cNvSpPr>
            <a:spLocks noGrp="1"/>
          </p:cNvSpPr>
          <p:nvPr>
            <p:ph type="body" sz="quarter" idx="23"/>
          </p:nvPr>
        </p:nvSpPr>
        <p:spPr/>
        <p:txBody>
          <a:bodyPr/>
          <a:lstStyle/>
          <a:p>
            <a:r>
              <a:rPr lang="en-US"/>
              <a:t>Financial Systems Related Topics</a:t>
            </a:r>
          </a:p>
        </p:txBody>
      </p:sp>
      <p:sp>
        <p:nvSpPr>
          <p:cNvPr id="2057" name="Text Placeholder 2056">
            <a:extLst>
              <a:ext uri="{FF2B5EF4-FFF2-40B4-BE49-F238E27FC236}">
                <a16:creationId xmlns:a16="http://schemas.microsoft.com/office/drawing/2014/main" id="{D2A45D0A-C828-DCCF-419B-0FFFD3AB97C8}"/>
              </a:ext>
            </a:extLst>
          </p:cNvPr>
          <p:cNvSpPr>
            <a:spLocks noGrp="1"/>
          </p:cNvSpPr>
          <p:nvPr>
            <p:ph type="body" sz="quarter" idx="24"/>
          </p:nvPr>
        </p:nvSpPr>
        <p:spPr/>
        <p:txBody>
          <a:bodyPr/>
          <a:lstStyle/>
          <a:p>
            <a:r>
              <a:rPr lang="en-US"/>
              <a:t>Breakout 2 (Opt In)</a:t>
            </a:r>
          </a:p>
        </p:txBody>
      </p:sp>
      <p:sp>
        <p:nvSpPr>
          <p:cNvPr id="2058" name="Text Placeholder 2057">
            <a:extLst>
              <a:ext uri="{FF2B5EF4-FFF2-40B4-BE49-F238E27FC236}">
                <a16:creationId xmlns:a16="http://schemas.microsoft.com/office/drawing/2014/main" id="{67DEA4B3-D4B8-68A8-60D0-3FD64D955D50}"/>
              </a:ext>
            </a:extLst>
          </p:cNvPr>
          <p:cNvSpPr>
            <a:spLocks noGrp="1"/>
          </p:cNvSpPr>
          <p:nvPr>
            <p:ph type="body" sz="quarter" idx="25"/>
          </p:nvPr>
        </p:nvSpPr>
        <p:spPr>
          <a:xfrm>
            <a:off x="6400800" y="5614416"/>
            <a:ext cx="4749800" cy="430212"/>
          </a:xfrm>
        </p:spPr>
        <p:txBody>
          <a:bodyPr>
            <a:normAutofit fontScale="92500" lnSpcReduction="20000"/>
          </a:bodyPr>
          <a:lstStyle/>
          <a:p>
            <a:r>
              <a:rPr lang="en-US"/>
              <a:t>Q&amp;A, Expectations for Next Meeting, Closing Remarks</a:t>
            </a:r>
          </a:p>
        </p:txBody>
      </p:sp>
    </p:spTree>
    <p:extLst>
      <p:ext uri="{BB962C8B-B14F-4D97-AF65-F5344CB8AC3E}">
        <p14:creationId xmlns:p14="http://schemas.microsoft.com/office/powerpoint/2010/main" val="297816034"/>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477C8-6901-454A-84EB-A93A229328E1}"/>
              </a:ext>
            </a:extLst>
          </p:cNvPr>
          <p:cNvSpPr>
            <a:spLocks noGrp="1"/>
          </p:cNvSpPr>
          <p:nvPr>
            <p:ph type="title" idx="4294967295"/>
          </p:nvPr>
        </p:nvSpPr>
        <p:spPr>
          <a:xfrm>
            <a:off x="381000" y="238125"/>
            <a:ext cx="10741025" cy="496888"/>
          </a:xfrm>
        </p:spPr>
        <p:txBody>
          <a:bodyPr/>
          <a:lstStyle/>
          <a:p>
            <a:r>
              <a:rPr lang="en-US"/>
              <a:t>Today’s learning objectives</a:t>
            </a:r>
          </a:p>
        </p:txBody>
      </p:sp>
      <p:sp>
        <p:nvSpPr>
          <p:cNvPr id="3" name="Content Placeholder 2">
            <a:extLst>
              <a:ext uri="{FF2B5EF4-FFF2-40B4-BE49-F238E27FC236}">
                <a16:creationId xmlns:a16="http://schemas.microsoft.com/office/drawing/2014/main" id="{6ECD5C86-07F8-4CD1-BBA5-3529E79BCA13}"/>
              </a:ext>
            </a:extLst>
          </p:cNvPr>
          <p:cNvSpPr>
            <a:spLocks noGrp="1"/>
          </p:cNvSpPr>
          <p:nvPr>
            <p:ph idx="4294967295"/>
          </p:nvPr>
        </p:nvSpPr>
        <p:spPr>
          <a:xfrm>
            <a:off x="377825" y="1493838"/>
            <a:ext cx="10744200" cy="4835525"/>
          </a:xfrm>
        </p:spPr>
        <p:txBody>
          <a:bodyPr>
            <a:normAutofit lnSpcReduction="10000"/>
          </a:bodyPr>
          <a:lstStyle/>
          <a:p>
            <a:pPr marL="342900" indent="-342900">
              <a:buFont typeface="Arial" panose="020B0604020202020204" pitchFamily="34" charset="0"/>
              <a:buChar char="•"/>
            </a:pPr>
            <a:r>
              <a:rPr lang="en-US" sz="2400"/>
              <a:t>Discuss the financial systems landscape and review commonly used terminology</a:t>
            </a:r>
          </a:p>
          <a:p>
            <a:pPr marL="342900" indent="-342900">
              <a:buFont typeface="Arial" panose="020B0604020202020204" pitchFamily="34" charset="0"/>
              <a:buChar char="•"/>
            </a:pPr>
            <a:r>
              <a:rPr lang="en-US" sz="2400"/>
              <a:t>Discuss how current financial systems and related technology topics impacts your business decisions</a:t>
            </a:r>
          </a:p>
          <a:p>
            <a:pPr marL="342900" indent="-342900">
              <a:buFont typeface="Arial" panose="020B0604020202020204" pitchFamily="34" charset="0"/>
              <a:buChar char="•"/>
            </a:pPr>
            <a:r>
              <a:rPr lang="en-US" sz="2400"/>
              <a:t>Introduce a tool to support strategic thinking about your financial systems </a:t>
            </a:r>
            <a:endParaRPr lang="en-US" sz="2400" i="1"/>
          </a:p>
          <a:p>
            <a:pPr marL="342900" indent="-342900">
              <a:buFont typeface="Arial" panose="020B0604020202020204" pitchFamily="34" charset="0"/>
              <a:buChar char="•"/>
            </a:pPr>
            <a:r>
              <a:rPr lang="en-US" sz="2400"/>
              <a:t>Detail important concepts that you can apply to create more effective and efficient systems that leverage improved processes and technology</a:t>
            </a:r>
          </a:p>
          <a:p>
            <a:pPr marL="342900" indent="-342900">
              <a:buFont typeface="Arial" panose="020B0604020202020204" pitchFamily="34" charset="0"/>
              <a:buChar char="•"/>
            </a:pPr>
            <a:r>
              <a:rPr lang="en-US" sz="2400"/>
              <a:t>Address your financial systems questions from business experts</a:t>
            </a:r>
          </a:p>
          <a:p>
            <a:pPr marL="342900" indent="-342900">
              <a:buFont typeface="Arial" panose="020B0604020202020204" pitchFamily="34" charset="0"/>
              <a:buChar char="•"/>
            </a:pPr>
            <a:r>
              <a:rPr lang="en-US" sz="2400"/>
              <a:t>Build a network of peers and mentors through small group sessions to support continued professional growth and development </a:t>
            </a:r>
          </a:p>
          <a:p>
            <a:pPr marL="342900" indent="-342900">
              <a:buFont typeface="Arial" panose="020B0604020202020204" pitchFamily="34" charset="0"/>
              <a:buChar char="•"/>
            </a:pPr>
            <a:r>
              <a:rPr lang="en-US" sz="2400"/>
              <a:t>Strategize how to apply learnings from the program to your business to drive profitable growth and to strengthen your capacity to meet the challenges of a changing competitive landscape</a:t>
            </a:r>
          </a:p>
        </p:txBody>
      </p:sp>
    </p:spTree>
    <p:extLst>
      <p:ext uri="{BB962C8B-B14F-4D97-AF65-F5344CB8AC3E}">
        <p14:creationId xmlns:p14="http://schemas.microsoft.com/office/powerpoint/2010/main" val="3987388710"/>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EMPLATE_NAME" val="Widescreen"/>
</p:tagLst>
</file>

<file path=ppt/tags/tag10.xml><?xml version="1.0" encoding="utf-8"?>
<p:tagLst xmlns:a="http://schemas.openxmlformats.org/drawingml/2006/main" xmlns:r="http://schemas.openxmlformats.org/officeDocument/2006/relationships" xmlns:p="http://schemas.openxmlformats.org/presentationml/2006/main">
  <p:tag name="PLACEHOLDER" val="8"/>
</p:tagLst>
</file>

<file path=ppt/tags/tag100.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01.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02.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03.xml><?xml version="1.0" encoding="utf-8"?>
<p:tagLst xmlns:a="http://schemas.openxmlformats.org/drawingml/2006/main" xmlns:r="http://schemas.openxmlformats.org/officeDocument/2006/relationships" xmlns:p="http://schemas.openxmlformats.org/presentationml/2006/main">
  <p:tag name="PS_COMPARE_SHAPE_ID" val="673002f4-8191-41b0-8750-70ff93914202"/>
</p:tagLst>
</file>

<file path=ppt/tags/tag104.xml><?xml version="1.0" encoding="utf-8"?>
<p:tagLst xmlns:a="http://schemas.openxmlformats.org/drawingml/2006/main" xmlns:r="http://schemas.openxmlformats.org/officeDocument/2006/relationships" xmlns:p="http://schemas.openxmlformats.org/presentationml/2006/main">
  <p:tag name="PS_COMPARE_SHAPE_ID" val="5137e8c9-d4b7-4b4e-a708-62c217304a59"/>
</p:tagLst>
</file>

<file path=ppt/tags/tag105.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106.xml><?xml version="1.0" encoding="utf-8"?>
<p:tagLst xmlns:a="http://schemas.openxmlformats.org/drawingml/2006/main" xmlns:r="http://schemas.openxmlformats.org/officeDocument/2006/relationships" xmlns:p="http://schemas.openxmlformats.org/presentationml/2006/main">
  <p:tag name="PS_COMPARE_SHAPE_ID" val="5a0235d7-140c-49a8-aa00-7cabfb6f1e2e"/>
</p:tagLst>
</file>

<file path=ppt/tags/tag107.xml><?xml version="1.0" encoding="utf-8"?>
<p:tagLst xmlns:a="http://schemas.openxmlformats.org/drawingml/2006/main" xmlns:r="http://schemas.openxmlformats.org/officeDocument/2006/relationships" xmlns:p="http://schemas.openxmlformats.org/presentationml/2006/main">
  <p:tag name="PS_COMPARE_SHAPE_ID" val="b848d74d-a27f-4c48-b896-e7185986fca7"/>
</p:tagLst>
</file>

<file path=ppt/tags/tag108.xml><?xml version="1.0" encoding="utf-8"?>
<p:tagLst xmlns:a="http://schemas.openxmlformats.org/drawingml/2006/main" xmlns:r="http://schemas.openxmlformats.org/officeDocument/2006/relationships" xmlns:p="http://schemas.openxmlformats.org/presentationml/2006/main">
  <p:tag name="PS_COMPARE_SHAPE_ID" val="f5eb4f0e-b293-4c1c-bfb0-d08d513c78d6"/>
</p:tagLst>
</file>

<file path=ppt/tags/tag109.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1.xml><?xml version="1.0" encoding="utf-8"?>
<p:tagLst xmlns:a="http://schemas.openxmlformats.org/drawingml/2006/main" xmlns:r="http://schemas.openxmlformats.org/officeDocument/2006/relationships" xmlns:p="http://schemas.openxmlformats.org/presentationml/2006/main">
  <p:tag name="PLACEHOLDER" val="9"/>
</p:tagLst>
</file>

<file path=ppt/tags/tag110.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11.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12.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13.xml><?xml version="1.0" encoding="utf-8"?>
<p:tagLst xmlns:a="http://schemas.openxmlformats.org/drawingml/2006/main" xmlns:r="http://schemas.openxmlformats.org/officeDocument/2006/relationships" xmlns:p="http://schemas.openxmlformats.org/presentationml/2006/main">
  <p:tag name="MM_SLIDE_TYPE" val="6"/>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116.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17.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18.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19.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12.xml><?xml version="1.0" encoding="utf-8"?>
<p:tagLst xmlns:a="http://schemas.openxmlformats.org/drawingml/2006/main" xmlns:r="http://schemas.openxmlformats.org/officeDocument/2006/relationships" xmlns:p="http://schemas.openxmlformats.org/presentationml/2006/main">
  <p:tag name="PLACEHOLDER" val="10"/>
</p:tagLst>
</file>

<file path=ppt/tags/tag120.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21.xml><?xml version="1.0" encoding="utf-8"?>
<p:tagLst xmlns:a="http://schemas.openxmlformats.org/drawingml/2006/main" xmlns:r="http://schemas.openxmlformats.org/officeDocument/2006/relationships" xmlns:p="http://schemas.openxmlformats.org/presentationml/2006/main">
  <p:tag name="PLACEHOLDER" val="2"/>
</p:tagLst>
</file>

<file path=ppt/tags/tag122.xml><?xml version="1.0" encoding="utf-8"?>
<p:tagLst xmlns:a="http://schemas.openxmlformats.org/drawingml/2006/main" xmlns:r="http://schemas.openxmlformats.org/officeDocument/2006/relationships" xmlns:p="http://schemas.openxmlformats.org/presentationml/2006/main">
  <p:tag name="PLACEHOLDER" val="2"/>
</p:tagLst>
</file>

<file path=ppt/tags/tag123.xml><?xml version="1.0" encoding="utf-8"?>
<p:tagLst xmlns:a="http://schemas.openxmlformats.org/drawingml/2006/main" xmlns:r="http://schemas.openxmlformats.org/officeDocument/2006/relationships" xmlns:p="http://schemas.openxmlformats.org/presentationml/2006/main">
  <p:tag name="PLACEHOLDER" val="3"/>
</p:tagLst>
</file>

<file path=ppt/tags/tag124.xml><?xml version="1.0" encoding="utf-8"?>
<p:tagLst xmlns:a="http://schemas.openxmlformats.org/drawingml/2006/main" xmlns:r="http://schemas.openxmlformats.org/officeDocument/2006/relationships" xmlns:p="http://schemas.openxmlformats.org/presentationml/2006/main">
  <p:tag name="PLACEHOLDER" val="4"/>
</p:tagLst>
</file>

<file path=ppt/tags/tag125.xml><?xml version="1.0" encoding="utf-8"?>
<p:tagLst xmlns:a="http://schemas.openxmlformats.org/drawingml/2006/main" xmlns:r="http://schemas.openxmlformats.org/officeDocument/2006/relationships" xmlns:p="http://schemas.openxmlformats.org/presentationml/2006/main">
  <p:tag name="PLACEHOLDER" val="5"/>
</p:tagLst>
</file>

<file path=ppt/tags/tag126.xml><?xml version="1.0" encoding="utf-8"?>
<p:tagLst xmlns:a="http://schemas.openxmlformats.org/drawingml/2006/main" xmlns:r="http://schemas.openxmlformats.org/officeDocument/2006/relationships" xmlns:p="http://schemas.openxmlformats.org/presentationml/2006/main">
  <p:tag name="PLACEHOLDER" val="6"/>
</p:tagLst>
</file>

<file path=ppt/tags/tag127.xml><?xml version="1.0" encoding="utf-8"?>
<p:tagLst xmlns:a="http://schemas.openxmlformats.org/drawingml/2006/main" xmlns:r="http://schemas.openxmlformats.org/officeDocument/2006/relationships" xmlns:p="http://schemas.openxmlformats.org/presentationml/2006/main">
  <p:tag name="PLACEHOLDER" val="7"/>
</p:tagLst>
</file>

<file path=ppt/tags/tag128.xml><?xml version="1.0" encoding="utf-8"?>
<p:tagLst xmlns:a="http://schemas.openxmlformats.org/drawingml/2006/main" xmlns:r="http://schemas.openxmlformats.org/officeDocument/2006/relationships" xmlns:p="http://schemas.openxmlformats.org/presentationml/2006/main">
  <p:tag name="PLACEHOLDER" val="8"/>
</p:tagLst>
</file>

<file path=ppt/tags/tag129.xml><?xml version="1.0" encoding="utf-8"?>
<p:tagLst xmlns:a="http://schemas.openxmlformats.org/drawingml/2006/main" xmlns:r="http://schemas.openxmlformats.org/officeDocument/2006/relationships" xmlns:p="http://schemas.openxmlformats.org/presentationml/2006/main">
  <p:tag name="PLACEHOLDER" val="9"/>
</p:tagLst>
</file>

<file path=ppt/tags/tag13.xml><?xml version="1.0" encoding="utf-8"?>
<p:tagLst xmlns:a="http://schemas.openxmlformats.org/drawingml/2006/main" xmlns:r="http://schemas.openxmlformats.org/officeDocument/2006/relationships" xmlns:p="http://schemas.openxmlformats.org/presentationml/2006/main">
  <p:tag name="PLACEHOLDER" val="11"/>
</p:tagLst>
</file>

<file path=ppt/tags/tag130.xml><?xml version="1.0" encoding="utf-8"?>
<p:tagLst xmlns:a="http://schemas.openxmlformats.org/drawingml/2006/main" xmlns:r="http://schemas.openxmlformats.org/officeDocument/2006/relationships" xmlns:p="http://schemas.openxmlformats.org/presentationml/2006/main">
  <p:tag name="PLACEHOLDER" val="10"/>
</p:tagLst>
</file>

<file path=ppt/tags/tag131.xml><?xml version="1.0" encoding="utf-8"?>
<p:tagLst xmlns:a="http://schemas.openxmlformats.org/drawingml/2006/main" xmlns:r="http://schemas.openxmlformats.org/officeDocument/2006/relationships" xmlns:p="http://schemas.openxmlformats.org/presentationml/2006/main">
  <p:tag name="PLACEHOLDER" val="11"/>
</p:tagLst>
</file>

<file path=ppt/tags/tag132.xml><?xml version="1.0" encoding="utf-8"?>
<p:tagLst xmlns:a="http://schemas.openxmlformats.org/drawingml/2006/main" xmlns:r="http://schemas.openxmlformats.org/officeDocument/2006/relationships" xmlns:p="http://schemas.openxmlformats.org/presentationml/2006/main">
  <p:tag name="PLACEHOLDER" val="12"/>
</p:tagLst>
</file>

<file path=ppt/tags/tag133.xml><?xml version="1.0" encoding="utf-8"?>
<p:tagLst xmlns:a="http://schemas.openxmlformats.org/drawingml/2006/main" xmlns:r="http://schemas.openxmlformats.org/officeDocument/2006/relationships" xmlns:p="http://schemas.openxmlformats.org/presentationml/2006/main">
  <p:tag name="PLACEHOLDER" val="13"/>
</p:tagLst>
</file>

<file path=ppt/tags/tag134.xml><?xml version="1.0" encoding="utf-8"?>
<p:tagLst xmlns:a="http://schemas.openxmlformats.org/drawingml/2006/main" xmlns:r="http://schemas.openxmlformats.org/officeDocument/2006/relationships" xmlns:p="http://schemas.openxmlformats.org/presentationml/2006/main">
  <p:tag name="PLACEHOLDER" val="14"/>
</p:tagLst>
</file>

<file path=ppt/tags/tag135.xml><?xml version="1.0" encoding="utf-8"?>
<p:tagLst xmlns:a="http://schemas.openxmlformats.org/drawingml/2006/main" xmlns:r="http://schemas.openxmlformats.org/officeDocument/2006/relationships" xmlns:p="http://schemas.openxmlformats.org/presentationml/2006/main">
  <p:tag name="PLACEHOLDER" val="15"/>
</p:tagLst>
</file>

<file path=ppt/tags/tag136.xml><?xml version="1.0" encoding="utf-8"?>
<p:tagLst xmlns:a="http://schemas.openxmlformats.org/drawingml/2006/main" xmlns:r="http://schemas.openxmlformats.org/officeDocument/2006/relationships" xmlns:p="http://schemas.openxmlformats.org/presentationml/2006/main">
  <p:tag name="PLACEHOLDER" val="16"/>
</p:tagLst>
</file>

<file path=ppt/tags/tag137.xml><?xml version="1.0" encoding="utf-8"?>
<p:tagLst xmlns:a="http://schemas.openxmlformats.org/drawingml/2006/main" xmlns:r="http://schemas.openxmlformats.org/officeDocument/2006/relationships" xmlns:p="http://schemas.openxmlformats.org/presentationml/2006/main">
  <p:tag name="PLACEHOLDER" val="17"/>
</p:tagLst>
</file>

<file path=ppt/tags/tag138.xml><?xml version="1.0" encoding="utf-8"?>
<p:tagLst xmlns:a="http://schemas.openxmlformats.org/drawingml/2006/main" xmlns:r="http://schemas.openxmlformats.org/officeDocument/2006/relationships" xmlns:p="http://schemas.openxmlformats.org/presentationml/2006/main">
  <p:tag name="PLACEHOLDER" val="18"/>
</p:tagLst>
</file>

<file path=ppt/tags/tag139.xml><?xml version="1.0" encoding="utf-8"?>
<p:tagLst xmlns:a="http://schemas.openxmlformats.org/drawingml/2006/main" xmlns:r="http://schemas.openxmlformats.org/officeDocument/2006/relationships" xmlns:p="http://schemas.openxmlformats.org/presentationml/2006/main">
  <p:tag name="PLACEHOLDER" val="19"/>
</p:tagLst>
</file>

<file path=ppt/tags/tag14.xml><?xml version="1.0" encoding="utf-8"?>
<p:tagLst xmlns:a="http://schemas.openxmlformats.org/drawingml/2006/main" xmlns:r="http://schemas.openxmlformats.org/officeDocument/2006/relationships" xmlns:p="http://schemas.openxmlformats.org/presentationml/2006/main">
  <p:tag name="PLACEHOLDER" val="12"/>
</p:tagLst>
</file>

<file path=ppt/tags/tag140.xml><?xml version="1.0" encoding="utf-8"?>
<p:tagLst xmlns:a="http://schemas.openxmlformats.org/drawingml/2006/main" xmlns:r="http://schemas.openxmlformats.org/officeDocument/2006/relationships" xmlns:p="http://schemas.openxmlformats.org/presentationml/2006/main">
  <p:tag name="PLACEHOLDER" val="20"/>
</p:tagLst>
</file>

<file path=ppt/tags/tag141.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142.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143.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44.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45.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46.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147.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48.xml><?xml version="1.0" encoding="utf-8"?>
<p:tagLst xmlns:a="http://schemas.openxmlformats.org/drawingml/2006/main" xmlns:r="http://schemas.openxmlformats.org/officeDocument/2006/relationships" xmlns:p="http://schemas.openxmlformats.org/presentationml/2006/main">
  <p:tag name="PLACEHOLDER" val="2"/>
</p:tagLst>
</file>

<file path=ppt/tags/tag149.xml><?xml version="1.0" encoding="utf-8"?>
<p:tagLst xmlns:a="http://schemas.openxmlformats.org/drawingml/2006/main" xmlns:r="http://schemas.openxmlformats.org/officeDocument/2006/relationships" xmlns:p="http://schemas.openxmlformats.org/presentationml/2006/main">
  <p:tag name="PLACEHOLDER" val="2"/>
</p:tagLst>
</file>

<file path=ppt/tags/tag15.xml><?xml version="1.0" encoding="utf-8"?>
<p:tagLst xmlns:a="http://schemas.openxmlformats.org/drawingml/2006/main" xmlns:r="http://schemas.openxmlformats.org/officeDocument/2006/relationships" xmlns:p="http://schemas.openxmlformats.org/presentationml/2006/main">
  <p:tag name="PLACEHOLDER" val="13"/>
</p:tagLst>
</file>

<file path=ppt/tags/tag150.xml><?xml version="1.0" encoding="utf-8"?>
<p:tagLst xmlns:a="http://schemas.openxmlformats.org/drawingml/2006/main" xmlns:r="http://schemas.openxmlformats.org/officeDocument/2006/relationships" xmlns:p="http://schemas.openxmlformats.org/presentationml/2006/main">
  <p:tag name="PLACEHOLDER" val="3"/>
</p:tagLst>
</file>

<file path=ppt/tags/tag151.xml><?xml version="1.0" encoding="utf-8"?>
<p:tagLst xmlns:a="http://schemas.openxmlformats.org/drawingml/2006/main" xmlns:r="http://schemas.openxmlformats.org/officeDocument/2006/relationships" xmlns:p="http://schemas.openxmlformats.org/presentationml/2006/main">
  <p:tag name="PLACEHOLDER" val="4"/>
</p:tagLst>
</file>

<file path=ppt/tags/tag152.xml><?xml version="1.0" encoding="utf-8"?>
<p:tagLst xmlns:a="http://schemas.openxmlformats.org/drawingml/2006/main" xmlns:r="http://schemas.openxmlformats.org/officeDocument/2006/relationships" xmlns:p="http://schemas.openxmlformats.org/presentationml/2006/main">
  <p:tag name="PLACEHOLDER" val="5"/>
</p:tagLst>
</file>

<file path=ppt/tags/tag153.xml><?xml version="1.0" encoding="utf-8"?>
<p:tagLst xmlns:a="http://schemas.openxmlformats.org/drawingml/2006/main" xmlns:r="http://schemas.openxmlformats.org/officeDocument/2006/relationships" xmlns:p="http://schemas.openxmlformats.org/presentationml/2006/main">
  <p:tag name="PLACEHOLDER" val="6"/>
</p:tagLst>
</file>

<file path=ppt/tags/tag154.xml><?xml version="1.0" encoding="utf-8"?>
<p:tagLst xmlns:a="http://schemas.openxmlformats.org/drawingml/2006/main" xmlns:r="http://schemas.openxmlformats.org/officeDocument/2006/relationships" xmlns:p="http://schemas.openxmlformats.org/presentationml/2006/main">
  <p:tag name="PLACEHOLDER" val="7"/>
</p:tagLst>
</file>

<file path=ppt/tags/tag155.xml><?xml version="1.0" encoding="utf-8"?>
<p:tagLst xmlns:a="http://schemas.openxmlformats.org/drawingml/2006/main" xmlns:r="http://schemas.openxmlformats.org/officeDocument/2006/relationships" xmlns:p="http://schemas.openxmlformats.org/presentationml/2006/main">
  <p:tag name="PLACEHOLDER" val="8"/>
</p:tagLst>
</file>

<file path=ppt/tags/tag156.xml><?xml version="1.0" encoding="utf-8"?>
<p:tagLst xmlns:a="http://schemas.openxmlformats.org/drawingml/2006/main" xmlns:r="http://schemas.openxmlformats.org/officeDocument/2006/relationships" xmlns:p="http://schemas.openxmlformats.org/presentationml/2006/main">
  <p:tag name="PLACEHOLDER" val="9"/>
</p:tagLst>
</file>

<file path=ppt/tags/tag157.xml><?xml version="1.0" encoding="utf-8"?>
<p:tagLst xmlns:a="http://schemas.openxmlformats.org/drawingml/2006/main" xmlns:r="http://schemas.openxmlformats.org/officeDocument/2006/relationships" xmlns:p="http://schemas.openxmlformats.org/presentationml/2006/main">
  <p:tag name="PLACEHOLDER" val="10"/>
</p:tagLst>
</file>

<file path=ppt/tags/tag158.xml><?xml version="1.0" encoding="utf-8"?>
<p:tagLst xmlns:a="http://schemas.openxmlformats.org/drawingml/2006/main" xmlns:r="http://schemas.openxmlformats.org/officeDocument/2006/relationships" xmlns:p="http://schemas.openxmlformats.org/presentationml/2006/main">
  <p:tag name="PLACEHOLDER" val="11"/>
</p:tagLst>
</file>

<file path=ppt/tags/tag159.xml><?xml version="1.0" encoding="utf-8"?>
<p:tagLst xmlns:a="http://schemas.openxmlformats.org/drawingml/2006/main" xmlns:r="http://schemas.openxmlformats.org/officeDocument/2006/relationships" xmlns:p="http://schemas.openxmlformats.org/presentationml/2006/main">
  <p:tag name="PLACEHOLDER" val="12"/>
</p:tagLst>
</file>

<file path=ppt/tags/tag16.xml><?xml version="1.0" encoding="utf-8"?>
<p:tagLst xmlns:a="http://schemas.openxmlformats.org/drawingml/2006/main" xmlns:r="http://schemas.openxmlformats.org/officeDocument/2006/relationships" xmlns:p="http://schemas.openxmlformats.org/presentationml/2006/main">
  <p:tag name="PLACEHOLDER" val="14"/>
</p:tagLst>
</file>

<file path=ppt/tags/tag160.xml><?xml version="1.0" encoding="utf-8"?>
<p:tagLst xmlns:a="http://schemas.openxmlformats.org/drawingml/2006/main" xmlns:r="http://schemas.openxmlformats.org/officeDocument/2006/relationships" xmlns:p="http://schemas.openxmlformats.org/presentationml/2006/main">
  <p:tag name="PLACEHOLDER" val="13"/>
</p:tagLst>
</file>

<file path=ppt/tags/tag161.xml><?xml version="1.0" encoding="utf-8"?>
<p:tagLst xmlns:a="http://schemas.openxmlformats.org/drawingml/2006/main" xmlns:r="http://schemas.openxmlformats.org/officeDocument/2006/relationships" xmlns:p="http://schemas.openxmlformats.org/presentationml/2006/main">
  <p:tag name="PLACEHOLDER" val="14"/>
</p:tagLst>
</file>

<file path=ppt/tags/tag162.xml><?xml version="1.0" encoding="utf-8"?>
<p:tagLst xmlns:a="http://schemas.openxmlformats.org/drawingml/2006/main" xmlns:r="http://schemas.openxmlformats.org/officeDocument/2006/relationships" xmlns:p="http://schemas.openxmlformats.org/presentationml/2006/main">
  <p:tag name="PLACEHOLDER" val="15"/>
</p:tagLst>
</file>

<file path=ppt/tags/tag163.xml><?xml version="1.0" encoding="utf-8"?>
<p:tagLst xmlns:a="http://schemas.openxmlformats.org/drawingml/2006/main" xmlns:r="http://schemas.openxmlformats.org/officeDocument/2006/relationships" xmlns:p="http://schemas.openxmlformats.org/presentationml/2006/main">
  <p:tag name="PLACEHOLDER" val="16"/>
</p:tagLst>
</file>

<file path=ppt/tags/tag164.xml><?xml version="1.0" encoding="utf-8"?>
<p:tagLst xmlns:a="http://schemas.openxmlformats.org/drawingml/2006/main" xmlns:r="http://schemas.openxmlformats.org/officeDocument/2006/relationships" xmlns:p="http://schemas.openxmlformats.org/presentationml/2006/main">
  <p:tag name="PLACEHOLDER" val="17"/>
</p:tagLst>
</file>

<file path=ppt/tags/tag165.xml><?xml version="1.0" encoding="utf-8"?>
<p:tagLst xmlns:a="http://schemas.openxmlformats.org/drawingml/2006/main" xmlns:r="http://schemas.openxmlformats.org/officeDocument/2006/relationships" xmlns:p="http://schemas.openxmlformats.org/presentationml/2006/main">
  <p:tag name="PLACEHOLDER" val="18"/>
</p:tagLst>
</file>

<file path=ppt/tags/tag166.xml><?xml version="1.0" encoding="utf-8"?>
<p:tagLst xmlns:a="http://schemas.openxmlformats.org/drawingml/2006/main" xmlns:r="http://schemas.openxmlformats.org/officeDocument/2006/relationships" xmlns:p="http://schemas.openxmlformats.org/presentationml/2006/main">
  <p:tag name="PLACEHOLDER" val="19"/>
</p:tagLst>
</file>

<file path=ppt/tags/tag167.xml><?xml version="1.0" encoding="utf-8"?>
<p:tagLst xmlns:a="http://schemas.openxmlformats.org/drawingml/2006/main" xmlns:r="http://schemas.openxmlformats.org/officeDocument/2006/relationships" xmlns:p="http://schemas.openxmlformats.org/presentationml/2006/main">
  <p:tag name="PLACEHOLDER" val="20"/>
</p:tagLst>
</file>

<file path=ppt/tags/tag168.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169.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17.xml><?xml version="1.0" encoding="utf-8"?>
<p:tagLst xmlns:a="http://schemas.openxmlformats.org/drawingml/2006/main" xmlns:r="http://schemas.openxmlformats.org/officeDocument/2006/relationships" xmlns:p="http://schemas.openxmlformats.org/presentationml/2006/main">
  <p:tag name="PLACEHOLDER" val="15"/>
</p:tagLst>
</file>

<file path=ppt/tags/tag170.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71.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72.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73.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174.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75.xml><?xml version="1.0" encoding="utf-8"?>
<p:tagLst xmlns:a="http://schemas.openxmlformats.org/drawingml/2006/main" xmlns:r="http://schemas.openxmlformats.org/officeDocument/2006/relationships" xmlns:p="http://schemas.openxmlformats.org/presentationml/2006/main">
  <p:tag name="PLACEHOLDER" val="2"/>
</p:tagLst>
</file>

<file path=ppt/tags/tag176.xml><?xml version="1.0" encoding="utf-8"?>
<p:tagLst xmlns:a="http://schemas.openxmlformats.org/drawingml/2006/main" xmlns:r="http://schemas.openxmlformats.org/officeDocument/2006/relationships" xmlns:p="http://schemas.openxmlformats.org/presentationml/2006/main">
  <p:tag name="PLACEHOLDER" val="2"/>
</p:tagLst>
</file>

<file path=ppt/tags/tag177.xml><?xml version="1.0" encoding="utf-8"?>
<p:tagLst xmlns:a="http://schemas.openxmlformats.org/drawingml/2006/main" xmlns:r="http://schemas.openxmlformats.org/officeDocument/2006/relationships" xmlns:p="http://schemas.openxmlformats.org/presentationml/2006/main">
  <p:tag name="PLACEHOLDER" val="3"/>
</p:tagLst>
</file>

<file path=ppt/tags/tag178.xml><?xml version="1.0" encoding="utf-8"?>
<p:tagLst xmlns:a="http://schemas.openxmlformats.org/drawingml/2006/main" xmlns:r="http://schemas.openxmlformats.org/officeDocument/2006/relationships" xmlns:p="http://schemas.openxmlformats.org/presentationml/2006/main">
  <p:tag name="PLACEHOLDER" val="4"/>
</p:tagLst>
</file>

<file path=ppt/tags/tag179.xml><?xml version="1.0" encoding="utf-8"?>
<p:tagLst xmlns:a="http://schemas.openxmlformats.org/drawingml/2006/main" xmlns:r="http://schemas.openxmlformats.org/officeDocument/2006/relationships" xmlns:p="http://schemas.openxmlformats.org/presentationml/2006/main">
  <p:tag name="PLACEHOLDER" val="5"/>
</p:tagLst>
</file>

<file path=ppt/tags/tag18.xml><?xml version="1.0" encoding="utf-8"?>
<p:tagLst xmlns:a="http://schemas.openxmlformats.org/drawingml/2006/main" xmlns:r="http://schemas.openxmlformats.org/officeDocument/2006/relationships" xmlns:p="http://schemas.openxmlformats.org/presentationml/2006/main">
  <p:tag name="PLACEHOLDER" val="16"/>
</p:tagLst>
</file>

<file path=ppt/tags/tag180.xml><?xml version="1.0" encoding="utf-8"?>
<p:tagLst xmlns:a="http://schemas.openxmlformats.org/drawingml/2006/main" xmlns:r="http://schemas.openxmlformats.org/officeDocument/2006/relationships" xmlns:p="http://schemas.openxmlformats.org/presentationml/2006/main">
  <p:tag name="PLACEHOLDER" val="6"/>
</p:tagLst>
</file>

<file path=ppt/tags/tag181.xml><?xml version="1.0" encoding="utf-8"?>
<p:tagLst xmlns:a="http://schemas.openxmlformats.org/drawingml/2006/main" xmlns:r="http://schemas.openxmlformats.org/officeDocument/2006/relationships" xmlns:p="http://schemas.openxmlformats.org/presentationml/2006/main">
  <p:tag name="PLACEHOLDER" val="7"/>
</p:tagLst>
</file>

<file path=ppt/tags/tag182.xml><?xml version="1.0" encoding="utf-8"?>
<p:tagLst xmlns:a="http://schemas.openxmlformats.org/drawingml/2006/main" xmlns:r="http://schemas.openxmlformats.org/officeDocument/2006/relationships" xmlns:p="http://schemas.openxmlformats.org/presentationml/2006/main">
  <p:tag name="PLACEHOLDER" val="8"/>
</p:tagLst>
</file>

<file path=ppt/tags/tag183.xml><?xml version="1.0" encoding="utf-8"?>
<p:tagLst xmlns:a="http://schemas.openxmlformats.org/drawingml/2006/main" xmlns:r="http://schemas.openxmlformats.org/officeDocument/2006/relationships" xmlns:p="http://schemas.openxmlformats.org/presentationml/2006/main">
  <p:tag name="PLACEHOLDER" val="9"/>
</p:tagLst>
</file>

<file path=ppt/tags/tag184.xml><?xml version="1.0" encoding="utf-8"?>
<p:tagLst xmlns:a="http://schemas.openxmlformats.org/drawingml/2006/main" xmlns:r="http://schemas.openxmlformats.org/officeDocument/2006/relationships" xmlns:p="http://schemas.openxmlformats.org/presentationml/2006/main">
  <p:tag name="PLACEHOLDER" val="10"/>
</p:tagLst>
</file>

<file path=ppt/tags/tag185.xml><?xml version="1.0" encoding="utf-8"?>
<p:tagLst xmlns:a="http://schemas.openxmlformats.org/drawingml/2006/main" xmlns:r="http://schemas.openxmlformats.org/officeDocument/2006/relationships" xmlns:p="http://schemas.openxmlformats.org/presentationml/2006/main">
  <p:tag name="PLACEHOLDER" val="11"/>
</p:tagLst>
</file>

<file path=ppt/tags/tag186.xml><?xml version="1.0" encoding="utf-8"?>
<p:tagLst xmlns:a="http://schemas.openxmlformats.org/drawingml/2006/main" xmlns:r="http://schemas.openxmlformats.org/officeDocument/2006/relationships" xmlns:p="http://schemas.openxmlformats.org/presentationml/2006/main">
  <p:tag name="PLACEHOLDER" val="12"/>
</p:tagLst>
</file>

<file path=ppt/tags/tag187.xml><?xml version="1.0" encoding="utf-8"?>
<p:tagLst xmlns:a="http://schemas.openxmlformats.org/drawingml/2006/main" xmlns:r="http://schemas.openxmlformats.org/officeDocument/2006/relationships" xmlns:p="http://schemas.openxmlformats.org/presentationml/2006/main">
  <p:tag name="PLACEHOLDER" val="13"/>
</p:tagLst>
</file>

<file path=ppt/tags/tag188.xml><?xml version="1.0" encoding="utf-8"?>
<p:tagLst xmlns:a="http://schemas.openxmlformats.org/drawingml/2006/main" xmlns:r="http://schemas.openxmlformats.org/officeDocument/2006/relationships" xmlns:p="http://schemas.openxmlformats.org/presentationml/2006/main">
  <p:tag name="PLACEHOLDER" val="14"/>
</p:tagLst>
</file>

<file path=ppt/tags/tag189.xml><?xml version="1.0" encoding="utf-8"?>
<p:tagLst xmlns:a="http://schemas.openxmlformats.org/drawingml/2006/main" xmlns:r="http://schemas.openxmlformats.org/officeDocument/2006/relationships" xmlns:p="http://schemas.openxmlformats.org/presentationml/2006/main">
  <p:tag name="PLACEHOLDER" val="15"/>
</p:tagLst>
</file>

<file path=ppt/tags/tag19.xml><?xml version="1.0" encoding="utf-8"?>
<p:tagLst xmlns:a="http://schemas.openxmlformats.org/drawingml/2006/main" xmlns:r="http://schemas.openxmlformats.org/officeDocument/2006/relationships" xmlns:p="http://schemas.openxmlformats.org/presentationml/2006/main">
  <p:tag name="PLACEHOLDER" val="17"/>
</p:tagLst>
</file>

<file path=ppt/tags/tag190.xml><?xml version="1.0" encoding="utf-8"?>
<p:tagLst xmlns:a="http://schemas.openxmlformats.org/drawingml/2006/main" xmlns:r="http://schemas.openxmlformats.org/officeDocument/2006/relationships" xmlns:p="http://schemas.openxmlformats.org/presentationml/2006/main">
  <p:tag name="PLACEHOLDER" val="16"/>
</p:tagLst>
</file>

<file path=ppt/tags/tag191.xml><?xml version="1.0" encoding="utf-8"?>
<p:tagLst xmlns:a="http://schemas.openxmlformats.org/drawingml/2006/main" xmlns:r="http://schemas.openxmlformats.org/officeDocument/2006/relationships" xmlns:p="http://schemas.openxmlformats.org/presentationml/2006/main">
  <p:tag name="PLACEHOLDER" val="17"/>
</p:tagLst>
</file>

<file path=ppt/tags/tag192.xml><?xml version="1.0" encoding="utf-8"?>
<p:tagLst xmlns:a="http://schemas.openxmlformats.org/drawingml/2006/main" xmlns:r="http://schemas.openxmlformats.org/officeDocument/2006/relationships" xmlns:p="http://schemas.openxmlformats.org/presentationml/2006/main">
  <p:tag name="PLACEHOLDER" val="18"/>
</p:tagLst>
</file>

<file path=ppt/tags/tag193.xml><?xml version="1.0" encoding="utf-8"?>
<p:tagLst xmlns:a="http://schemas.openxmlformats.org/drawingml/2006/main" xmlns:r="http://schemas.openxmlformats.org/officeDocument/2006/relationships" xmlns:p="http://schemas.openxmlformats.org/presentationml/2006/main">
  <p:tag name="PLACEHOLDER" val="19"/>
</p:tagLst>
</file>

<file path=ppt/tags/tag194.xml><?xml version="1.0" encoding="utf-8"?>
<p:tagLst xmlns:a="http://schemas.openxmlformats.org/drawingml/2006/main" xmlns:r="http://schemas.openxmlformats.org/officeDocument/2006/relationships" xmlns:p="http://schemas.openxmlformats.org/presentationml/2006/main">
  <p:tag name="PLACEHOLDER" val="20"/>
</p:tagLst>
</file>

<file path=ppt/tags/tag195.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196.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197.xml><?xml version="1.0" encoding="utf-8"?>
<p:tagLst xmlns:a="http://schemas.openxmlformats.org/drawingml/2006/main" xmlns:r="http://schemas.openxmlformats.org/officeDocument/2006/relationships" xmlns:p="http://schemas.openxmlformats.org/presentationml/2006/main">
  <p:tag name="PS_COMPARE_SHAPE_ID" val="5e0816e8-3667-4aa5-b00c-f574a3045fb8"/>
</p:tagLst>
</file>

<file path=ppt/tags/tag198.xml><?xml version="1.0" encoding="utf-8"?>
<p:tagLst xmlns:a="http://schemas.openxmlformats.org/drawingml/2006/main" xmlns:r="http://schemas.openxmlformats.org/officeDocument/2006/relationships" xmlns:p="http://schemas.openxmlformats.org/presentationml/2006/main">
  <p:tag name="PS_COMPARE_SHAPE_ID" val="4bde129f-0255-4da9-a505-56f0d91f947e"/>
</p:tagLst>
</file>

<file path=ppt/tags/tag199.xml><?xml version="1.0" encoding="utf-8"?>
<p:tagLst xmlns:a="http://schemas.openxmlformats.org/drawingml/2006/main" xmlns:r="http://schemas.openxmlformats.org/officeDocument/2006/relationships" xmlns:p="http://schemas.openxmlformats.org/presentationml/2006/main">
  <p:tag name="PS_COMPARE_SHAPE_ID" val="8c94a835-90fd-4d49-96b4-2da031feae0a"/>
</p:tagLst>
</file>

<file path=ppt/tags/tag2.xml><?xml version="1.0" encoding="utf-8"?>
<p:tagLst xmlns:a="http://schemas.openxmlformats.org/drawingml/2006/main" xmlns:r="http://schemas.openxmlformats.org/officeDocument/2006/relationships" xmlns:p="http://schemas.openxmlformats.org/presentationml/2006/main">
  <p:tag name="FOOTER_ALIGNMENT" val="bottom"/>
  <p:tag name="FOOTER_INDEX" val="1"/>
  <p:tag name="ALIGN_TO_THIS" val="Disclaimer"/>
  <p:tag name="PS_COMPARE_SHAPE_ID" val="0bd5e0ea-5322-445d-88b6-7eb7b99babba"/>
</p:tagLst>
</file>

<file path=ppt/tags/tag20.xml><?xml version="1.0" encoding="utf-8"?>
<p:tagLst xmlns:a="http://schemas.openxmlformats.org/drawingml/2006/main" xmlns:r="http://schemas.openxmlformats.org/officeDocument/2006/relationships" xmlns:p="http://schemas.openxmlformats.org/presentationml/2006/main">
  <p:tag name="PLACEHOLDER" val="18"/>
</p:tagLst>
</file>

<file path=ppt/tags/tag200.xml><?xml version="1.0" encoding="utf-8"?>
<p:tagLst xmlns:a="http://schemas.openxmlformats.org/drawingml/2006/main" xmlns:r="http://schemas.openxmlformats.org/officeDocument/2006/relationships" xmlns:p="http://schemas.openxmlformats.org/presentationml/2006/main">
  <p:tag name="PS_COMPARE_SLIDE_ID" val="fe556de6-81ea-4489-8160-a1f531b12b28"/>
</p:tagLst>
</file>

<file path=ppt/tags/tag201.xml><?xml version="1.0" encoding="utf-8"?>
<p:tagLst xmlns:a="http://schemas.openxmlformats.org/drawingml/2006/main" xmlns:r="http://schemas.openxmlformats.org/officeDocument/2006/relationships" xmlns:p="http://schemas.openxmlformats.org/presentationml/2006/main">
  <p:tag name="PS_COMPARE_SHAPE_ID" val="2cdf3035-6d65-4f8e-8086-178ef501aab7"/>
</p:tagLst>
</file>

<file path=ppt/tags/tag202.xml><?xml version="1.0" encoding="utf-8"?>
<p:tagLst xmlns:a="http://schemas.openxmlformats.org/drawingml/2006/main" xmlns:r="http://schemas.openxmlformats.org/officeDocument/2006/relationships" xmlns:p="http://schemas.openxmlformats.org/presentationml/2006/main">
  <p:tag name="PS_COMPARE_SHAPE_ID" val="25d705ba-3550-4001-8dd7-ce04b97e1f49"/>
</p:tagLst>
</file>

<file path=ppt/tags/tag203.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204.xml><?xml version="1.0" encoding="utf-8"?>
<p:tagLst xmlns:a="http://schemas.openxmlformats.org/drawingml/2006/main" xmlns:r="http://schemas.openxmlformats.org/officeDocument/2006/relationships" xmlns:p="http://schemas.openxmlformats.org/presentationml/2006/main">
  <p:tag name="PS_COMPARE_SHAPE_ID" val="6c64757b-7a92-4514-ab6e-bd61243eeb23"/>
</p:tagLst>
</file>

<file path=ppt/tags/tag205.xml><?xml version="1.0" encoding="utf-8"?>
<p:tagLst xmlns:a="http://schemas.openxmlformats.org/drawingml/2006/main" xmlns:r="http://schemas.openxmlformats.org/officeDocument/2006/relationships" xmlns:p="http://schemas.openxmlformats.org/presentationml/2006/main">
  <p:tag name="PS_COMPARE_SHAPE_ID" val="2ac286d5-a430-4d3b-8ed7-ff878db0dc96"/>
</p:tagLst>
</file>

<file path=ppt/tags/tag206.xml><?xml version="1.0" encoding="utf-8"?>
<p:tagLst xmlns:a="http://schemas.openxmlformats.org/drawingml/2006/main" xmlns:r="http://schemas.openxmlformats.org/officeDocument/2006/relationships" xmlns:p="http://schemas.openxmlformats.org/presentationml/2006/main">
  <p:tag name="PS_COMPARE_SHAPE_ID" val="ceba6bd6-e4dc-4b3d-a464-b5ae014f2614"/>
</p:tagLst>
</file>

<file path=ppt/tags/tag207.xml><?xml version="1.0" encoding="utf-8"?>
<p:tagLst xmlns:a="http://schemas.openxmlformats.org/drawingml/2006/main" xmlns:r="http://schemas.openxmlformats.org/officeDocument/2006/relationships" xmlns:p="http://schemas.openxmlformats.org/presentationml/2006/main">
  <p:tag name="PS_COMPARE_SHAPE_ID" val="3ff65540-f4c7-4626-88ee-cd4763e9ba2b"/>
</p:tagLst>
</file>

<file path=ppt/tags/tag208.xml><?xml version="1.0" encoding="utf-8"?>
<p:tagLst xmlns:a="http://schemas.openxmlformats.org/drawingml/2006/main" xmlns:r="http://schemas.openxmlformats.org/officeDocument/2006/relationships" xmlns:p="http://schemas.openxmlformats.org/presentationml/2006/main">
  <p:tag name="PS_COMPARE_SHAPE_ID" val="84d052e7-190b-45b0-91f8-23c83e16cffa"/>
</p:tagLst>
</file>

<file path=ppt/tags/tag209.xml><?xml version="1.0" encoding="utf-8"?>
<p:tagLst xmlns:a="http://schemas.openxmlformats.org/drawingml/2006/main" xmlns:r="http://schemas.openxmlformats.org/officeDocument/2006/relationships" xmlns:p="http://schemas.openxmlformats.org/presentationml/2006/main">
  <p:tag name="PS_COMPARE_SHAPE_ID" val="f6273464-8e90-4e44-b900-209c54354d75"/>
</p:tagLst>
</file>

<file path=ppt/tags/tag21.xml><?xml version="1.0" encoding="utf-8"?>
<p:tagLst xmlns:a="http://schemas.openxmlformats.org/drawingml/2006/main" xmlns:r="http://schemas.openxmlformats.org/officeDocument/2006/relationships" xmlns:p="http://schemas.openxmlformats.org/presentationml/2006/main">
  <p:tag name="PLACEHOLDER" val="19"/>
</p:tagLst>
</file>

<file path=ppt/tags/tag210.xml><?xml version="1.0" encoding="utf-8"?>
<p:tagLst xmlns:a="http://schemas.openxmlformats.org/drawingml/2006/main" xmlns:r="http://schemas.openxmlformats.org/officeDocument/2006/relationships" xmlns:p="http://schemas.openxmlformats.org/presentationml/2006/main">
  <p:tag name="PS_COMPARE_SHAPE_ID" val="1bcce88d-ed84-4370-a6c5-46336c28a7dc"/>
</p:tagLst>
</file>

<file path=ppt/tags/tag211.xml><?xml version="1.0" encoding="utf-8"?>
<p:tagLst xmlns:a="http://schemas.openxmlformats.org/drawingml/2006/main" xmlns:r="http://schemas.openxmlformats.org/officeDocument/2006/relationships" xmlns:p="http://schemas.openxmlformats.org/presentationml/2006/main">
  <p:tag name="PS_COMPARE_SHAPE_ID" val="2ac286d5-a430-4d3b-8ed7-ff878db0dc96"/>
</p:tagLst>
</file>

<file path=ppt/tags/tag212.xml><?xml version="1.0" encoding="utf-8"?>
<p:tagLst xmlns:a="http://schemas.openxmlformats.org/drawingml/2006/main" xmlns:r="http://schemas.openxmlformats.org/officeDocument/2006/relationships" xmlns:p="http://schemas.openxmlformats.org/presentationml/2006/main">
  <p:tag name="PS_COMPARE_SLIDE_ID" val="99057031-7eb3-4816-bafe-9ca0495049a1"/>
</p:tagLst>
</file>

<file path=ppt/tags/tag213.xml><?xml version="1.0" encoding="utf-8"?>
<p:tagLst xmlns:a="http://schemas.openxmlformats.org/drawingml/2006/main" xmlns:r="http://schemas.openxmlformats.org/officeDocument/2006/relationships" xmlns:p="http://schemas.openxmlformats.org/presentationml/2006/main">
  <p:tag name="PS_COMPARE_SHAPE_ID" val="31cf1651-44ac-461b-b18b-4502383aeca3"/>
</p:tagLst>
</file>

<file path=ppt/tags/tag214.xml><?xml version="1.0" encoding="utf-8"?>
<p:tagLst xmlns:a="http://schemas.openxmlformats.org/drawingml/2006/main" xmlns:r="http://schemas.openxmlformats.org/officeDocument/2006/relationships" xmlns:p="http://schemas.openxmlformats.org/presentationml/2006/main">
  <p:tag name="PS_COMPARE_SHAPE_ID" val="46839f53-782d-429a-a03b-8592eb998405"/>
</p:tagLst>
</file>

<file path=ppt/tags/tag215.xml><?xml version="1.0" encoding="utf-8"?>
<p:tagLst xmlns:a="http://schemas.openxmlformats.org/drawingml/2006/main" xmlns:r="http://schemas.openxmlformats.org/officeDocument/2006/relationships" xmlns:p="http://schemas.openxmlformats.org/presentationml/2006/main">
  <p:tag name="PS_COMPARE_SHAPE_ID" val="8bcd72c6-a1e0-4578-ba0f-8ed00dd94278"/>
</p:tagLst>
</file>

<file path=ppt/tags/tag216.xml><?xml version="1.0" encoding="utf-8"?>
<p:tagLst xmlns:a="http://schemas.openxmlformats.org/drawingml/2006/main" xmlns:r="http://schemas.openxmlformats.org/officeDocument/2006/relationships" xmlns:p="http://schemas.openxmlformats.org/presentationml/2006/main">
  <p:tag name="PS_COMPARE_SHAPE_ID" val="d5350986-0400-4175-a4e0-4e3d8635721d"/>
</p:tagLst>
</file>

<file path=ppt/tags/tag217.xml><?xml version="1.0" encoding="utf-8"?>
<p:tagLst xmlns:a="http://schemas.openxmlformats.org/drawingml/2006/main" xmlns:r="http://schemas.openxmlformats.org/officeDocument/2006/relationships" xmlns:p="http://schemas.openxmlformats.org/presentationml/2006/main">
  <p:tag name="PS_COMPARE_SHAPE_ID" val="ae292cd9-2ee0-49c4-bad0-90c2ba8fd513"/>
</p:tagLst>
</file>

<file path=ppt/tags/tag218.xml><?xml version="1.0" encoding="utf-8"?>
<p:tagLst xmlns:a="http://schemas.openxmlformats.org/drawingml/2006/main" xmlns:r="http://schemas.openxmlformats.org/officeDocument/2006/relationships" xmlns:p="http://schemas.openxmlformats.org/presentationml/2006/main">
  <p:tag name="PS_COMPARE_SHAPE_ID" val="a23c6e01-dfc0-477a-9175-c4ba91a9baaa"/>
</p:tagLst>
</file>

<file path=ppt/tags/tag219.xml><?xml version="1.0" encoding="utf-8"?>
<p:tagLst xmlns:a="http://schemas.openxmlformats.org/drawingml/2006/main" xmlns:r="http://schemas.openxmlformats.org/officeDocument/2006/relationships" xmlns:p="http://schemas.openxmlformats.org/presentationml/2006/main">
  <p:tag name="PS_COMPARE_SHAPE_ID" val="a75c4e3c-8cfe-4b69-b18b-4447de31a7f3"/>
</p:tagLst>
</file>

<file path=ppt/tags/tag22.xml><?xml version="1.0" encoding="utf-8"?>
<p:tagLst xmlns:a="http://schemas.openxmlformats.org/drawingml/2006/main" xmlns:r="http://schemas.openxmlformats.org/officeDocument/2006/relationships" xmlns:p="http://schemas.openxmlformats.org/presentationml/2006/main">
  <p:tag name="PLACEHOLDER" val="2"/>
</p:tagLst>
</file>

<file path=ppt/tags/tag220.xml><?xml version="1.0" encoding="utf-8"?>
<p:tagLst xmlns:a="http://schemas.openxmlformats.org/drawingml/2006/main" xmlns:r="http://schemas.openxmlformats.org/officeDocument/2006/relationships" xmlns:p="http://schemas.openxmlformats.org/presentationml/2006/main">
  <p:tag name="PS_COMPARE_SHAPE_ID" val="2137e3d0-4d9b-4ee7-92da-e7dbd77da7cb"/>
</p:tagLst>
</file>

<file path=ppt/tags/tag221.xml><?xml version="1.0" encoding="utf-8"?>
<p:tagLst xmlns:a="http://schemas.openxmlformats.org/drawingml/2006/main" xmlns:r="http://schemas.openxmlformats.org/officeDocument/2006/relationships" xmlns:p="http://schemas.openxmlformats.org/presentationml/2006/main">
  <p:tag name="PS_COMPARE_SHAPE_ID" val="a24558b5-4a90-44d5-b735-d295d79d7bab"/>
</p:tagLst>
</file>

<file path=ppt/tags/tag222.xml><?xml version="1.0" encoding="utf-8"?>
<p:tagLst xmlns:a="http://schemas.openxmlformats.org/drawingml/2006/main" xmlns:r="http://schemas.openxmlformats.org/officeDocument/2006/relationships" xmlns:p="http://schemas.openxmlformats.org/presentationml/2006/main">
  <p:tag name="PS_COMPARE_SHAPE_ID" val="887a0b76-fcaa-448f-962b-f02e26131e1b"/>
</p:tagLst>
</file>

<file path=ppt/tags/tag223.xml><?xml version="1.0" encoding="utf-8"?>
<p:tagLst xmlns:a="http://schemas.openxmlformats.org/drawingml/2006/main" xmlns:r="http://schemas.openxmlformats.org/officeDocument/2006/relationships" xmlns:p="http://schemas.openxmlformats.org/presentationml/2006/main">
  <p:tag name="PS_COMPARE_SHAPE_ID" val="b76cb0e1-dd90-474c-b7b1-ca2207a31080"/>
</p:tagLst>
</file>

<file path=ppt/tags/tag224.xml><?xml version="1.0" encoding="utf-8"?>
<p:tagLst xmlns:a="http://schemas.openxmlformats.org/drawingml/2006/main" xmlns:r="http://schemas.openxmlformats.org/officeDocument/2006/relationships" xmlns:p="http://schemas.openxmlformats.org/presentationml/2006/main">
  <p:tag name="PS_COMPARE_SHAPE_ID" val="70e38ed5-41c1-4e8d-9bf4-07c46b881139"/>
</p:tagLst>
</file>

<file path=ppt/tags/tag225.xml><?xml version="1.0" encoding="utf-8"?>
<p:tagLst xmlns:a="http://schemas.openxmlformats.org/drawingml/2006/main" xmlns:r="http://schemas.openxmlformats.org/officeDocument/2006/relationships" xmlns:p="http://schemas.openxmlformats.org/presentationml/2006/main">
  <p:tag name="PS_COMPARE_SHAPE_ID" val="a94ffe50-e102-460c-8a6d-1d6df7bc6586"/>
</p:tagLst>
</file>

<file path=ppt/tags/tag226.xml><?xml version="1.0" encoding="utf-8"?>
<p:tagLst xmlns:a="http://schemas.openxmlformats.org/drawingml/2006/main" xmlns:r="http://schemas.openxmlformats.org/officeDocument/2006/relationships" xmlns:p="http://schemas.openxmlformats.org/presentationml/2006/main">
  <p:tag name="PS_COMPARE_SHAPE_ID" val="8d5db9d5-b5a1-4eb0-9a7c-ab9574022c03"/>
</p:tagLst>
</file>

<file path=ppt/tags/tag227.xml><?xml version="1.0" encoding="utf-8"?>
<p:tagLst xmlns:a="http://schemas.openxmlformats.org/drawingml/2006/main" xmlns:r="http://schemas.openxmlformats.org/officeDocument/2006/relationships" xmlns:p="http://schemas.openxmlformats.org/presentationml/2006/main">
  <p:tag name="PS_COMPARE_SHAPE_ID" val="41c23606-605c-474b-9a7c-0e105c608d23"/>
</p:tagLst>
</file>

<file path=ppt/tags/tag228.xml><?xml version="1.0" encoding="utf-8"?>
<p:tagLst xmlns:a="http://schemas.openxmlformats.org/drawingml/2006/main" xmlns:r="http://schemas.openxmlformats.org/officeDocument/2006/relationships" xmlns:p="http://schemas.openxmlformats.org/presentationml/2006/main">
  <p:tag name="PS_COMPARE_SHAPE_ID" val="88091222-e7e9-40f1-9795-906794ddd066"/>
</p:tagLst>
</file>

<file path=ppt/tags/tag229.xml><?xml version="1.0" encoding="utf-8"?>
<p:tagLst xmlns:a="http://schemas.openxmlformats.org/drawingml/2006/main" xmlns:r="http://schemas.openxmlformats.org/officeDocument/2006/relationships" xmlns:p="http://schemas.openxmlformats.org/presentationml/2006/main">
  <p:tag name="PS_COMPARE_SHAPE_ID" val="b90e47ff-2b64-4a58-b515-cee4a43ed4a3"/>
</p:tagLst>
</file>

<file path=ppt/tags/tag23.xml><?xml version="1.0" encoding="utf-8"?>
<p:tagLst xmlns:a="http://schemas.openxmlformats.org/drawingml/2006/main" xmlns:r="http://schemas.openxmlformats.org/officeDocument/2006/relationships" xmlns:p="http://schemas.openxmlformats.org/presentationml/2006/main">
  <p:tag name="PLACEHOLDER" val="20"/>
</p:tagLst>
</file>

<file path=ppt/tags/tag230.xml><?xml version="1.0" encoding="utf-8"?>
<p:tagLst xmlns:a="http://schemas.openxmlformats.org/drawingml/2006/main" xmlns:r="http://schemas.openxmlformats.org/officeDocument/2006/relationships" xmlns:p="http://schemas.openxmlformats.org/presentationml/2006/main">
  <p:tag name="PS_COMPARE_SHAPE_ID" val="2d5580c5-ab98-4c35-87f1-39c84c591b64"/>
</p:tagLst>
</file>

<file path=ppt/tags/tag231.xml><?xml version="1.0" encoding="utf-8"?>
<p:tagLst xmlns:a="http://schemas.openxmlformats.org/drawingml/2006/main" xmlns:r="http://schemas.openxmlformats.org/officeDocument/2006/relationships" xmlns:p="http://schemas.openxmlformats.org/presentationml/2006/main">
  <p:tag name="PS_COMPARE_SHAPE_ID" val="cad4ea97-3782-4758-803a-e2a4e3d85a04"/>
</p:tagLst>
</file>

<file path=ppt/tags/tag232.xml><?xml version="1.0" encoding="utf-8"?>
<p:tagLst xmlns:a="http://schemas.openxmlformats.org/drawingml/2006/main" xmlns:r="http://schemas.openxmlformats.org/officeDocument/2006/relationships" xmlns:p="http://schemas.openxmlformats.org/presentationml/2006/main">
  <p:tag name="PS_COMPARE_SHAPE_ID" val="082c8e53-bde7-4f15-b851-55a106672bf9"/>
</p:tagLst>
</file>

<file path=ppt/tags/tag233.xml><?xml version="1.0" encoding="utf-8"?>
<p:tagLst xmlns:a="http://schemas.openxmlformats.org/drawingml/2006/main" xmlns:r="http://schemas.openxmlformats.org/officeDocument/2006/relationships" xmlns:p="http://schemas.openxmlformats.org/presentationml/2006/main">
  <p:tag name="PS_COMPARE_SHAPE_ID" val="43a37b33-8245-49b2-ae1f-42aa3b222808"/>
</p:tagLst>
</file>

<file path=ppt/tags/tag234.xml><?xml version="1.0" encoding="utf-8"?>
<p:tagLst xmlns:a="http://schemas.openxmlformats.org/drawingml/2006/main" xmlns:r="http://schemas.openxmlformats.org/officeDocument/2006/relationships" xmlns:p="http://schemas.openxmlformats.org/presentationml/2006/main">
  <p:tag name="PS_COMPARE_SHAPE_ID" val="8a426795-1334-43c6-9f8c-6eed817e1bec"/>
</p:tagLst>
</file>

<file path=ppt/tags/tag235.xml><?xml version="1.0" encoding="utf-8"?>
<p:tagLst xmlns:a="http://schemas.openxmlformats.org/drawingml/2006/main" xmlns:r="http://schemas.openxmlformats.org/officeDocument/2006/relationships" xmlns:p="http://schemas.openxmlformats.org/presentationml/2006/main">
  <p:tag name="PS_COMPARE_SHAPE_ID" val="0acc3321-075d-4366-8e1c-96b02336ea07"/>
</p:tagLst>
</file>

<file path=ppt/tags/tag236.xml><?xml version="1.0" encoding="utf-8"?>
<p:tagLst xmlns:a="http://schemas.openxmlformats.org/drawingml/2006/main" xmlns:r="http://schemas.openxmlformats.org/officeDocument/2006/relationships" xmlns:p="http://schemas.openxmlformats.org/presentationml/2006/main">
  <p:tag name="PS_COMPARE_SHAPE_ID" val="795ae111-d93c-436b-ad00-9e6b005d83cb"/>
</p:tagLst>
</file>

<file path=ppt/tags/tag237.xml><?xml version="1.0" encoding="utf-8"?>
<p:tagLst xmlns:a="http://schemas.openxmlformats.org/drawingml/2006/main" xmlns:r="http://schemas.openxmlformats.org/officeDocument/2006/relationships" xmlns:p="http://schemas.openxmlformats.org/presentationml/2006/main">
  <p:tag name="PS_COMPARE_SHAPE_ID" val="4750a91c-cb9a-4af0-a2f1-3fa6549149a1"/>
</p:tagLst>
</file>

<file path=ppt/tags/tag238.xml><?xml version="1.0" encoding="utf-8"?>
<p:tagLst xmlns:a="http://schemas.openxmlformats.org/drawingml/2006/main" xmlns:r="http://schemas.openxmlformats.org/officeDocument/2006/relationships" xmlns:p="http://schemas.openxmlformats.org/presentationml/2006/main">
  <p:tag name="PS_COMPARE_SHAPE_ID" val="059f6515-53fb-4924-8ab5-09c4c786ece4"/>
</p:tagLst>
</file>

<file path=ppt/tags/tag239.xml><?xml version="1.0" encoding="utf-8"?>
<p:tagLst xmlns:a="http://schemas.openxmlformats.org/drawingml/2006/main" xmlns:r="http://schemas.openxmlformats.org/officeDocument/2006/relationships" xmlns:p="http://schemas.openxmlformats.org/presentationml/2006/main">
  <p:tag name="PS_COMPARE_SHAPE_ID" val="c74f1a82-0554-40ab-81b3-099826602ada"/>
</p:tagLst>
</file>

<file path=ppt/tags/tag24.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240.xml><?xml version="1.0" encoding="utf-8"?>
<p:tagLst xmlns:a="http://schemas.openxmlformats.org/drawingml/2006/main" xmlns:r="http://schemas.openxmlformats.org/officeDocument/2006/relationships" xmlns:p="http://schemas.openxmlformats.org/presentationml/2006/main">
  <p:tag name="PS_COMPARE_SHAPE_ID" val="e8617268-3382-48c8-bb85-76450b439fd7"/>
</p:tagLst>
</file>

<file path=ppt/tags/tag241.xml><?xml version="1.0" encoding="utf-8"?>
<p:tagLst xmlns:a="http://schemas.openxmlformats.org/drawingml/2006/main" xmlns:r="http://schemas.openxmlformats.org/officeDocument/2006/relationships" xmlns:p="http://schemas.openxmlformats.org/presentationml/2006/main">
  <p:tag name="PS_COMPARE_SHAPE_ID" val="a10ae126-95ab-49f5-b077-d5f3c8f112d8"/>
</p:tagLst>
</file>

<file path=ppt/tags/tag242.xml><?xml version="1.0" encoding="utf-8"?>
<p:tagLst xmlns:a="http://schemas.openxmlformats.org/drawingml/2006/main" xmlns:r="http://schemas.openxmlformats.org/officeDocument/2006/relationships" xmlns:p="http://schemas.openxmlformats.org/presentationml/2006/main">
  <p:tag name="PS_COMPARE_SHAPE_ID" val="928c8e89-b768-4dbd-8d82-96281a48158d"/>
</p:tagLst>
</file>

<file path=ppt/tags/tag243.xml><?xml version="1.0" encoding="utf-8"?>
<p:tagLst xmlns:a="http://schemas.openxmlformats.org/drawingml/2006/main" xmlns:r="http://schemas.openxmlformats.org/officeDocument/2006/relationships" xmlns:p="http://schemas.openxmlformats.org/presentationml/2006/main">
  <p:tag name="PS_COMPARE_SHAPE_ID" val="7c998aa2-922d-40d1-aa79-c3a98eba07ab"/>
</p:tagLst>
</file>

<file path=ppt/tags/tag244.xml><?xml version="1.0" encoding="utf-8"?>
<p:tagLst xmlns:a="http://schemas.openxmlformats.org/drawingml/2006/main" xmlns:r="http://schemas.openxmlformats.org/officeDocument/2006/relationships" xmlns:p="http://schemas.openxmlformats.org/presentationml/2006/main">
  <p:tag name="PS_COMPARE_SHAPE_ID" val="817f01e5-f5a8-445a-afc8-4f6c93fb6e4f"/>
</p:tagLst>
</file>

<file path=ppt/tags/tag245.xml><?xml version="1.0" encoding="utf-8"?>
<p:tagLst xmlns:a="http://schemas.openxmlformats.org/drawingml/2006/main" xmlns:r="http://schemas.openxmlformats.org/officeDocument/2006/relationships" xmlns:p="http://schemas.openxmlformats.org/presentationml/2006/main">
  <p:tag name="PS_COMPARE_SHAPE_ID" val="7f04ddae-966b-43b3-a4f1-67f9a73362b7"/>
</p:tagLst>
</file>

<file path=ppt/tags/tag246.xml><?xml version="1.0" encoding="utf-8"?>
<p:tagLst xmlns:a="http://schemas.openxmlformats.org/drawingml/2006/main" xmlns:r="http://schemas.openxmlformats.org/officeDocument/2006/relationships" xmlns:p="http://schemas.openxmlformats.org/presentationml/2006/main">
  <p:tag name="PS_COMPARE_SHAPE_ID" val="76599140-5a77-44ef-9a55-a69935bb6428"/>
</p:tagLst>
</file>

<file path=ppt/tags/tag247.xml><?xml version="1.0" encoding="utf-8"?>
<p:tagLst xmlns:a="http://schemas.openxmlformats.org/drawingml/2006/main" xmlns:r="http://schemas.openxmlformats.org/officeDocument/2006/relationships" xmlns:p="http://schemas.openxmlformats.org/presentationml/2006/main">
  <p:tag name="PS_COMPARE_SHAPE_ID" val="8f6df50f-666c-4800-9875-9ba40422fb27"/>
</p:tagLst>
</file>

<file path=ppt/tags/tag248.xml><?xml version="1.0" encoding="utf-8"?>
<p:tagLst xmlns:a="http://schemas.openxmlformats.org/drawingml/2006/main" xmlns:r="http://schemas.openxmlformats.org/officeDocument/2006/relationships" xmlns:p="http://schemas.openxmlformats.org/presentationml/2006/main">
  <p:tag name="PS_COMPARE_SHAPE_ID" val="2e775bc1-c0d0-4129-94b1-e264fdb67e48"/>
</p:tagLst>
</file>

<file path=ppt/tags/tag249.xml><?xml version="1.0" encoding="utf-8"?>
<p:tagLst xmlns:a="http://schemas.openxmlformats.org/drawingml/2006/main" xmlns:r="http://schemas.openxmlformats.org/officeDocument/2006/relationships" xmlns:p="http://schemas.openxmlformats.org/presentationml/2006/main">
  <p:tag name="PS_COMPARE_SHAPE_ID" val="9620b295-ee11-45ec-868f-5dacad703162"/>
</p:tagLst>
</file>

<file path=ppt/tags/tag25.xml><?xml version="1.0" encoding="utf-8"?>
<p:tagLst xmlns:a="http://schemas.openxmlformats.org/drawingml/2006/main" xmlns:r="http://schemas.openxmlformats.org/officeDocument/2006/relationships" xmlns:p="http://schemas.openxmlformats.org/presentationml/2006/main">
  <p:tag name="FOOTER_ALIGNMENT" val="bottom"/>
  <p:tag name="FOOTER_INDEX" val="1"/>
  <p:tag name="ALIGN_TO_THIS" val="Disclaimer"/>
  <p:tag name="PS_COMPARE_SHAPE_ID" val="0bd5e0ea-5322-445d-88b6-7eb7b99babba"/>
</p:tagLst>
</file>

<file path=ppt/tags/tag250.xml><?xml version="1.0" encoding="utf-8"?>
<p:tagLst xmlns:a="http://schemas.openxmlformats.org/drawingml/2006/main" xmlns:r="http://schemas.openxmlformats.org/officeDocument/2006/relationships" xmlns:p="http://schemas.openxmlformats.org/presentationml/2006/main">
  <p:tag name="PS_COMPARE_SHAPE_ID" val="58fcc07e-de60-40ef-9d31-af23e5432562"/>
</p:tagLst>
</file>

<file path=ppt/tags/tag251.xml><?xml version="1.0" encoding="utf-8"?>
<p:tagLst xmlns:a="http://schemas.openxmlformats.org/drawingml/2006/main" xmlns:r="http://schemas.openxmlformats.org/officeDocument/2006/relationships" xmlns:p="http://schemas.openxmlformats.org/presentationml/2006/main">
  <p:tag name="PS_COMPARE_SHAPE_ID" val="0f1d52da-0154-4798-b232-387573e48996"/>
</p:tagLst>
</file>

<file path=ppt/tags/tag252.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253.xml><?xml version="1.0" encoding="utf-8"?>
<p:tagLst xmlns:a="http://schemas.openxmlformats.org/drawingml/2006/main" xmlns:r="http://schemas.openxmlformats.org/officeDocument/2006/relationships" xmlns:p="http://schemas.openxmlformats.org/presentationml/2006/main">
  <p:tag name="PS_COMPARE_SLIDE_ID" val="d7b719c6-2337-4766-820d-d37b59915f5e"/>
</p:tagLst>
</file>

<file path=ppt/tags/tag254.xml><?xml version="1.0" encoding="utf-8"?>
<p:tagLst xmlns:a="http://schemas.openxmlformats.org/drawingml/2006/main" xmlns:r="http://schemas.openxmlformats.org/officeDocument/2006/relationships" xmlns:p="http://schemas.openxmlformats.org/presentationml/2006/main">
  <p:tag name="PS_COMPARE_SHAPE_ID" val="17b10dde-bf95-4d31-97e8-068522d46c9c"/>
</p:tagLst>
</file>

<file path=ppt/tags/tag255.xml><?xml version="1.0" encoding="utf-8"?>
<p:tagLst xmlns:a="http://schemas.openxmlformats.org/drawingml/2006/main" xmlns:r="http://schemas.openxmlformats.org/officeDocument/2006/relationships" xmlns:p="http://schemas.openxmlformats.org/presentationml/2006/main">
  <p:tag name="PS_COMPARE_SHAPE_ID" val="251a7398-2c18-4cce-94a6-31ef64dc9c96"/>
</p:tagLst>
</file>

<file path=ppt/tags/tag256.xml><?xml version="1.0" encoding="utf-8"?>
<p:tagLst xmlns:a="http://schemas.openxmlformats.org/drawingml/2006/main" xmlns:r="http://schemas.openxmlformats.org/officeDocument/2006/relationships" xmlns:p="http://schemas.openxmlformats.org/presentationml/2006/main">
  <p:tag name="PS_COMPARE_SHAPE_ID" val="ff1e9ae8-127a-4f57-ad35-35a210a323e4"/>
</p:tagLst>
</file>

<file path=ppt/tags/tag257.xml><?xml version="1.0" encoding="utf-8"?>
<p:tagLst xmlns:a="http://schemas.openxmlformats.org/drawingml/2006/main" xmlns:r="http://schemas.openxmlformats.org/officeDocument/2006/relationships" xmlns:p="http://schemas.openxmlformats.org/presentationml/2006/main">
  <p:tag name="PS_COMPARE_SHAPE_ID" val="1a21b8ba-e617-4da8-a1b0-dda85d9cabec"/>
</p:tagLst>
</file>

<file path=ppt/tags/tag258.xml><?xml version="1.0" encoding="utf-8"?>
<p:tagLst xmlns:a="http://schemas.openxmlformats.org/drawingml/2006/main" xmlns:r="http://schemas.openxmlformats.org/officeDocument/2006/relationships" xmlns:p="http://schemas.openxmlformats.org/presentationml/2006/main">
  <p:tag name="PS_COMPARE_SHAPE_ID" val="bd49cc64-e795-493a-b417-1b73f3aec40d"/>
</p:tagLst>
</file>

<file path=ppt/tags/tag259.xml><?xml version="1.0" encoding="utf-8"?>
<p:tagLst xmlns:a="http://schemas.openxmlformats.org/drawingml/2006/main" xmlns:r="http://schemas.openxmlformats.org/officeDocument/2006/relationships" xmlns:p="http://schemas.openxmlformats.org/presentationml/2006/main">
  <p:tag name="PS_COMPARE_SHAPE_ID" val="82cd1ca2-7f7c-44ea-8ded-37af0b4a14a3"/>
</p:tagLst>
</file>

<file path=ppt/tags/tag26.xml><?xml version="1.0" encoding="utf-8"?>
<p:tagLst xmlns:a="http://schemas.openxmlformats.org/drawingml/2006/main" xmlns:r="http://schemas.openxmlformats.org/officeDocument/2006/relationships" xmlns:p="http://schemas.openxmlformats.org/presentationml/2006/main">
  <p:tag name="PLACEHOLDER" val="2"/>
</p:tagLst>
</file>

<file path=ppt/tags/tag260.xml><?xml version="1.0" encoding="utf-8"?>
<p:tagLst xmlns:a="http://schemas.openxmlformats.org/drawingml/2006/main" xmlns:r="http://schemas.openxmlformats.org/officeDocument/2006/relationships" xmlns:p="http://schemas.openxmlformats.org/presentationml/2006/main">
  <p:tag name="PS_COMPARE_SHAPE_ID" val="c76b0a59-f3bd-46d8-ac1b-bc178d7f71ac"/>
</p:tagLst>
</file>

<file path=ppt/tags/tag261.xml><?xml version="1.0" encoding="utf-8"?>
<p:tagLst xmlns:a="http://schemas.openxmlformats.org/drawingml/2006/main" xmlns:r="http://schemas.openxmlformats.org/officeDocument/2006/relationships" xmlns:p="http://schemas.openxmlformats.org/presentationml/2006/main">
  <p:tag name="PS_COMPARE_SHAPE_ID" val="cc542d41-2e16-4cd1-b4a1-5e4f8676afe5"/>
</p:tagLst>
</file>

<file path=ppt/tags/tag262.xml><?xml version="1.0" encoding="utf-8"?>
<p:tagLst xmlns:a="http://schemas.openxmlformats.org/drawingml/2006/main" xmlns:r="http://schemas.openxmlformats.org/officeDocument/2006/relationships" xmlns:p="http://schemas.openxmlformats.org/presentationml/2006/main">
  <p:tag name="PS_COMPARE_SLIDE_ID" val="6442ec73-1704-4ae7-869c-e941108408ff"/>
</p:tagLst>
</file>

<file path=ppt/tags/tag263.xml><?xml version="1.0" encoding="utf-8"?>
<p:tagLst xmlns:a="http://schemas.openxmlformats.org/drawingml/2006/main" xmlns:r="http://schemas.openxmlformats.org/officeDocument/2006/relationships" xmlns:p="http://schemas.openxmlformats.org/presentationml/2006/main">
  <p:tag name="PS_COMPARE_SHAPE_ID" val="0a072412-ebcd-47b8-9f43-e076241889d7"/>
</p:tagLst>
</file>

<file path=ppt/tags/tag264.xml><?xml version="1.0" encoding="utf-8"?>
<p:tagLst xmlns:a="http://schemas.openxmlformats.org/drawingml/2006/main" xmlns:r="http://schemas.openxmlformats.org/officeDocument/2006/relationships" xmlns:p="http://schemas.openxmlformats.org/presentationml/2006/main">
  <p:tag name="PS_COMPARE_SHAPE_ID" val="4b3cdafb-c0e0-484e-a447-16682b89b63c"/>
</p:tagLst>
</file>

<file path=ppt/tags/tag265.xml><?xml version="1.0" encoding="utf-8"?>
<p:tagLst xmlns:a="http://schemas.openxmlformats.org/drawingml/2006/main" xmlns:r="http://schemas.openxmlformats.org/officeDocument/2006/relationships" xmlns:p="http://schemas.openxmlformats.org/presentationml/2006/main">
  <p:tag name="PS_COMPARE_SHAPE_ID" val="9b841f46-149b-4c91-a85f-a8b4c55c17bc"/>
</p:tagLst>
</file>

<file path=ppt/tags/tag266.xml><?xml version="1.0" encoding="utf-8"?>
<p:tagLst xmlns:a="http://schemas.openxmlformats.org/drawingml/2006/main" xmlns:r="http://schemas.openxmlformats.org/officeDocument/2006/relationships" xmlns:p="http://schemas.openxmlformats.org/presentationml/2006/main">
  <p:tag name="PS_COMPARE_SHAPE_ID" val="02420762-be80-454a-99cd-fdbc367a02f0"/>
</p:tagLst>
</file>

<file path=ppt/tags/tag267.xml><?xml version="1.0" encoding="utf-8"?>
<p:tagLst xmlns:a="http://schemas.openxmlformats.org/drawingml/2006/main" xmlns:r="http://schemas.openxmlformats.org/officeDocument/2006/relationships" xmlns:p="http://schemas.openxmlformats.org/presentationml/2006/main">
  <p:tag name="PS_COMPARE_SHAPE_ID" val="32d06c49-1726-4e7d-ba04-a59192c65e38"/>
</p:tagLst>
</file>

<file path=ppt/tags/tag268.xml><?xml version="1.0" encoding="utf-8"?>
<p:tagLst xmlns:a="http://schemas.openxmlformats.org/drawingml/2006/main" xmlns:r="http://schemas.openxmlformats.org/officeDocument/2006/relationships" xmlns:p="http://schemas.openxmlformats.org/presentationml/2006/main">
  <p:tag name="PS_COMPARE_SHAPE_ID" val="63ff30d2-4db3-4e9c-bf71-f513eefa7f00"/>
</p:tagLst>
</file>

<file path=ppt/tags/tag269.xml><?xml version="1.0" encoding="utf-8"?>
<p:tagLst xmlns:a="http://schemas.openxmlformats.org/drawingml/2006/main" xmlns:r="http://schemas.openxmlformats.org/officeDocument/2006/relationships" xmlns:p="http://schemas.openxmlformats.org/presentationml/2006/main">
  <p:tag name="PS_COMPARE_SHAPE_ID" val="ec4c457f-2bbb-4284-89c0-94d5746bba05"/>
</p:tagLst>
</file>

<file path=ppt/tags/tag27.xml><?xml version="1.0" encoding="utf-8"?>
<p:tagLst xmlns:a="http://schemas.openxmlformats.org/drawingml/2006/main" xmlns:r="http://schemas.openxmlformats.org/officeDocument/2006/relationships" xmlns:p="http://schemas.openxmlformats.org/presentationml/2006/main">
  <p:tag name="PLACEHOLDER" val="2"/>
</p:tagLst>
</file>

<file path=ppt/tags/tag270.xml><?xml version="1.0" encoding="utf-8"?>
<p:tagLst xmlns:a="http://schemas.openxmlformats.org/drawingml/2006/main" xmlns:r="http://schemas.openxmlformats.org/officeDocument/2006/relationships" xmlns:p="http://schemas.openxmlformats.org/presentationml/2006/main">
  <p:tag name="PS_COMPARE_SHAPE_ID" val="5644c83e-8785-4f28-bf37-9533946d2dde"/>
</p:tagLst>
</file>

<file path=ppt/tags/tag271.xml><?xml version="1.0" encoding="utf-8"?>
<p:tagLst xmlns:a="http://schemas.openxmlformats.org/drawingml/2006/main" xmlns:r="http://schemas.openxmlformats.org/officeDocument/2006/relationships" xmlns:p="http://schemas.openxmlformats.org/presentationml/2006/main">
  <p:tag name="PS_COMPARE_SHAPE_ID" val="8daad54a-f094-4e2b-9234-83bf5948b156"/>
</p:tagLst>
</file>

<file path=ppt/tags/tag272.xml><?xml version="1.0" encoding="utf-8"?>
<p:tagLst xmlns:a="http://schemas.openxmlformats.org/drawingml/2006/main" xmlns:r="http://schemas.openxmlformats.org/officeDocument/2006/relationships" xmlns:p="http://schemas.openxmlformats.org/presentationml/2006/main">
  <p:tag name="PS_COMPARE_SHAPE_ID" val="8ba05f22-629e-4917-ad58-12ffff897151"/>
</p:tagLst>
</file>

<file path=ppt/tags/tag273.xml><?xml version="1.0" encoding="utf-8"?>
<p:tagLst xmlns:a="http://schemas.openxmlformats.org/drawingml/2006/main" xmlns:r="http://schemas.openxmlformats.org/officeDocument/2006/relationships" xmlns:p="http://schemas.openxmlformats.org/presentationml/2006/main">
  <p:tag name="PS_COMPARE_SHAPE_ID" val="2b281674-0641-4b36-94e1-266c0ae8b487"/>
</p:tagLst>
</file>

<file path=ppt/tags/tag274.xml><?xml version="1.0" encoding="utf-8"?>
<p:tagLst xmlns:a="http://schemas.openxmlformats.org/drawingml/2006/main" xmlns:r="http://schemas.openxmlformats.org/officeDocument/2006/relationships" xmlns:p="http://schemas.openxmlformats.org/presentationml/2006/main">
  <p:tag name="PS_COMPARE_SHAPE_ID" val="a4640f05-74b3-43f6-8396-1ac110faebf7"/>
</p:tagLst>
</file>

<file path=ppt/tags/tag275.xml><?xml version="1.0" encoding="utf-8"?>
<p:tagLst xmlns:a="http://schemas.openxmlformats.org/drawingml/2006/main" xmlns:r="http://schemas.openxmlformats.org/officeDocument/2006/relationships" xmlns:p="http://schemas.openxmlformats.org/presentationml/2006/main">
  <p:tag name="PS_COMPARE_SLIDE_ID" val="59ade012-32b6-41dc-b615-e4d3edcacab4"/>
</p:tagLst>
</file>

<file path=ppt/tags/tag276.xml><?xml version="1.0" encoding="utf-8"?>
<p:tagLst xmlns:a="http://schemas.openxmlformats.org/drawingml/2006/main" xmlns:r="http://schemas.openxmlformats.org/officeDocument/2006/relationships" xmlns:p="http://schemas.openxmlformats.org/presentationml/2006/main">
  <p:tag name="PS_COMPARE_SHAPE_ID" val="25957955-040e-4381-8107-71a5d03f76f0"/>
</p:tagLst>
</file>

<file path=ppt/tags/tag277.xml><?xml version="1.0" encoding="utf-8"?>
<p:tagLst xmlns:a="http://schemas.openxmlformats.org/drawingml/2006/main" xmlns:r="http://schemas.openxmlformats.org/officeDocument/2006/relationships" xmlns:p="http://schemas.openxmlformats.org/presentationml/2006/main">
  <p:tag name="PS_COMPARE_SHAPE_ID" val="85241e7a-1c7c-4fde-b19a-65d8d96207f0"/>
</p:tagLst>
</file>

<file path=ppt/tags/tag278.xml><?xml version="1.0" encoding="utf-8"?>
<p:tagLst xmlns:a="http://schemas.openxmlformats.org/drawingml/2006/main" xmlns:r="http://schemas.openxmlformats.org/officeDocument/2006/relationships" xmlns:p="http://schemas.openxmlformats.org/presentationml/2006/main">
  <p:tag name="PS_COMPARE_SHAPE_ID" val="07396b3b-21c2-4ea8-993d-164bb0ce8577"/>
</p:tagLst>
</file>

<file path=ppt/tags/tag279.xml><?xml version="1.0" encoding="utf-8"?>
<p:tagLst xmlns:a="http://schemas.openxmlformats.org/drawingml/2006/main" xmlns:r="http://schemas.openxmlformats.org/officeDocument/2006/relationships" xmlns:p="http://schemas.openxmlformats.org/presentationml/2006/main">
  <p:tag name="PS_COMPARE_SHAPE_ID" val="1db57ce3-9943-42af-863c-aecb27d183b5"/>
</p:tagLst>
</file>

<file path=ppt/tags/tag28.xml><?xml version="1.0" encoding="utf-8"?>
<p:tagLst xmlns:a="http://schemas.openxmlformats.org/drawingml/2006/main" xmlns:r="http://schemas.openxmlformats.org/officeDocument/2006/relationships" xmlns:p="http://schemas.openxmlformats.org/presentationml/2006/main">
  <p:tag name="PLACEHOLDER" val="3"/>
</p:tagLst>
</file>

<file path=ppt/tags/tag280.xml><?xml version="1.0" encoding="utf-8"?>
<p:tagLst xmlns:a="http://schemas.openxmlformats.org/drawingml/2006/main" xmlns:r="http://schemas.openxmlformats.org/officeDocument/2006/relationships" xmlns:p="http://schemas.openxmlformats.org/presentationml/2006/main">
  <p:tag name="PS_COMPARE_SHAPE_ID" val="f744df79-6f78-46e8-ae21-339b72a73e8a"/>
</p:tagLst>
</file>

<file path=ppt/tags/tag281.xml><?xml version="1.0" encoding="utf-8"?>
<p:tagLst xmlns:a="http://schemas.openxmlformats.org/drawingml/2006/main" xmlns:r="http://schemas.openxmlformats.org/officeDocument/2006/relationships" xmlns:p="http://schemas.openxmlformats.org/presentationml/2006/main">
  <p:tag name="PS_COMPARE_SHAPE_ID" val="0930e942-c9a9-4e65-b589-60274be1fe65"/>
</p:tagLst>
</file>

<file path=ppt/tags/tag282.xml><?xml version="1.0" encoding="utf-8"?>
<p:tagLst xmlns:a="http://schemas.openxmlformats.org/drawingml/2006/main" xmlns:r="http://schemas.openxmlformats.org/officeDocument/2006/relationships" xmlns:p="http://schemas.openxmlformats.org/presentationml/2006/main">
  <p:tag name="PS_COMPARE_SHAPE_ID" val="d8ea23d3-533b-4035-ba33-4e682935505f"/>
</p:tagLst>
</file>

<file path=ppt/tags/tag283.xml><?xml version="1.0" encoding="utf-8"?>
<p:tagLst xmlns:a="http://schemas.openxmlformats.org/drawingml/2006/main" xmlns:r="http://schemas.openxmlformats.org/officeDocument/2006/relationships" xmlns:p="http://schemas.openxmlformats.org/presentationml/2006/main">
  <p:tag name="PS_COMPARE_SHAPE_ID" val="581343a3-c7bc-4461-9c94-f9198d7cd32e"/>
</p:tagLst>
</file>

<file path=ppt/tags/tag284.xml><?xml version="1.0" encoding="utf-8"?>
<p:tagLst xmlns:a="http://schemas.openxmlformats.org/drawingml/2006/main" xmlns:r="http://schemas.openxmlformats.org/officeDocument/2006/relationships" xmlns:p="http://schemas.openxmlformats.org/presentationml/2006/main">
  <p:tag name="PS_COMPARE_SHAPE_ID" val="9df00705-64b3-4d87-b159-19b91129d12b"/>
</p:tagLst>
</file>

<file path=ppt/tags/tag285.xml><?xml version="1.0" encoding="utf-8"?>
<p:tagLst xmlns:a="http://schemas.openxmlformats.org/drawingml/2006/main" xmlns:r="http://schemas.openxmlformats.org/officeDocument/2006/relationships" xmlns:p="http://schemas.openxmlformats.org/presentationml/2006/main">
  <p:tag name="PS_COMPARE_SHAPE_ID" val="5d9c9129-0072-43fa-99a7-d469b354f0dc"/>
</p:tagLst>
</file>

<file path=ppt/tags/tag286.xml><?xml version="1.0" encoding="utf-8"?>
<p:tagLst xmlns:a="http://schemas.openxmlformats.org/drawingml/2006/main" xmlns:r="http://schemas.openxmlformats.org/officeDocument/2006/relationships" xmlns:p="http://schemas.openxmlformats.org/presentationml/2006/main">
  <p:tag name="PS_COMPARE_SHAPE_ID" val="50082349-f5ff-40c3-8257-5daad9c1356a"/>
</p:tagLst>
</file>

<file path=ppt/tags/tag287.xml><?xml version="1.0" encoding="utf-8"?>
<p:tagLst xmlns:a="http://schemas.openxmlformats.org/drawingml/2006/main" xmlns:r="http://schemas.openxmlformats.org/officeDocument/2006/relationships" xmlns:p="http://schemas.openxmlformats.org/presentationml/2006/main">
  <p:tag name="PS_COMPARE_SHAPE_ID" val="2b44af20-b257-496c-9b29-12614bb4a973"/>
</p:tagLst>
</file>

<file path=ppt/tags/tag288.xml><?xml version="1.0" encoding="utf-8"?>
<p:tagLst xmlns:a="http://schemas.openxmlformats.org/drawingml/2006/main" xmlns:r="http://schemas.openxmlformats.org/officeDocument/2006/relationships" xmlns:p="http://schemas.openxmlformats.org/presentationml/2006/main">
  <p:tag name="PS_COMPARE_SHAPE_ID" val="002af0df-d995-49bf-ba45-b254204d9e67"/>
</p:tagLst>
</file>

<file path=ppt/tags/tag289.xml><?xml version="1.0" encoding="utf-8"?>
<p:tagLst xmlns:a="http://schemas.openxmlformats.org/drawingml/2006/main" xmlns:r="http://schemas.openxmlformats.org/officeDocument/2006/relationships" xmlns:p="http://schemas.openxmlformats.org/presentationml/2006/main">
  <p:tag name="PS_COMPARE_SHAPE_ID" val="39eddd4b-23b9-4ec3-a344-da4eb0e7e3b5"/>
</p:tagLst>
</file>

<file path=ppt/tags/tag29.xml><?xml version="1.0" encoding="utf-8"?>
<p:tagLst xmlns:a="http://schemas.openxmlformats.org/drawingml/2006/main" xmlns:r="http://schemas.openxmlformats.org/officeDocument/2006/relationships" xmlns:p="http://schemas.openxmlformats.org/presentationml/2006/main">
  <p:tag name="PLACEHOLDER" val="4"/>
</p:tagLst>
</file>

<file path=ppt/tags/tag290.xml><?xml version="1.0" encoding="utf-8"?>
<p:tagLst xmlns:a="http://schemas.openxmlformats.org/drawingml/2006/main" xmlns:r="http://schemas.openxmlformats.org/officeDocument/2006/relationships" xmlns:p="http://schemas.openxmlformats.org/presentationml/2006/main">
  <p:tag name="PS_COMPARE_SHAPE_ID" val="8ea41021-64da-41c8-bfc2-91b483380fb4"/>
</p:tagLst>
</file>

<file path=ppt/tags/tag291.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3.xml><?xml version="1.0" encoding="utf-8"?>
<p:tagLst xmlns:a="http://schemas.openxmlformats.org/drawingml/2006/main" xmlns:r="http://schemas.openxmlformats.org/officeDocument/2006/relationships" xmlns:p="http://schemas.openxmlformats.org/presentationml/2006/main">
  <p:tag name="PLACEHOLDER" val="2"/>
</p:tagLst>
</file>

<file path=ppt/tags/tag30.xml><?xml version="1.0" encoding="utf-8"?>
<p:tagLst xmlns:a="http://schemas.openxmlformats.org/drawingml/2006/main" xmlns:r="http://schemas.openxmlformats.org/officeDocument/2006/relationships" xmlns:p="http://schemas.openxmlformats.org/presentationml/2006/main">
  <p:tag name="PLACEHOLDER" val="5"/>
</p:tagLst>
</file>

<file path=ppt/tags/tag31.xml><?xml version="1.0" encoding="utf-8"?>
<p:tagLst xmlns:a="http://schemas.openxmlformats.org/drawingml/2006/main" xmlns:r="http://schemas.openxmlformats.org/officeDocument/2006/relationships" xmlns:p="http://schemas.openxmlformats.org/presentationml/2006/main">
  <p:tag name="PLACEHOLDER" val="6"/>
</p:tagLst>
</file>

<file path=ppt/tags/tag32.xml><?xml version="1.0" encoding="utf-8"?>
<p:tagLst xmlns:a="http://schemas.openxmlformats.org/drawingml/2006/main" xmlns:r="http://schemas.openxmlformats.org/officeDocument/2006/relationships" xmlns:p="http://schemas.openxmlformats.org/presentationml/2006/main">
  <p:tag name="PLACEHOLDER" val="7"/>
</p:tagLst>
</file>

<file path=ppt/tags/tag33.xml><?xml version="1.0" encoding="utf-8"?>
<p:tagLst xmlns:a="http://schemas.openxmlformats.org/drawingml/2006/main" xmlns:r="http://schemas.openxmlformats.org/officeDocument/2006/relationships" xmlns:p="http://schemas.openxmlformats.org/presentationml/2006/main">
  <p:tag name="PLACEHOLDER" val="8"/>
</p:tagLst>
</file>

<file path=ppt/tags/tag34.xml><?xml version="1.0" encoding="utf-8"?>
<p:tagLst xmlns:a="http://schemas.openxmlformats.org/drawingml/2006/main" xmlns:r="http://schemas.openxmlformats.org/officeDocument/2006/relationships" xmlns:p="http://schemas.openxmlformats.org/presentationml/2006/main">
  <p:tag name="PLACEHOLDER" val="9"/>
</p:tagLst>
</file>

<file path=ppt/tags/tag35.xml><?xml version="1.0" encoding="utf-8"?>
<p:tagLst xmlns:a="http://schemas.openxmlformats.org/drawingml/2006/main" xmlns:r="http://schemas.openxmlformats.org/officeDocument/2006/relationships" xmlns:p="http://schemas.openxmlformats.org/presentationml/2006/main">
  <p:tag name="PLACEHOLDER" val="10"/>
</p:tagLst>
</file>

<file path=ppt/tags/tag36.xml><?xml version="1.0" encoding="utf-8"?>
<p:tagLst xmlns:a="http://schemas.openxmlformats.org/drawingml/2006/main" xmlns:r="http://schemas.openxmlformats.org/officeDocument/2006/relationships" xmlns:p="http://schemas.openxmlformats.org/presentationml/2006/main">
  <p:tag name="PLACEHOLDER" val="11"/>
</p:tagLst>
</file>

<file path=ppt/tags/tag37.xml><?xml version="1.0" encoding="utf-8"?>
<p:tagLst xmlns:a="http://schemas.openxmlformats.org/drawingml/2006/main" xmlns:r="http://schemas.openxmlformats.org/officeDocument/2006/relationships" xmlns:p="http://schemas.openxmlformats.org/presentationml/2006/main">
  <p:tag name="PLACEHOLDER" val="12"/>
</p:tagLst>
</file>

<file path=ppt/tags/tag38.xml><?xml version="1.0" encoding="utf-8"?>
<p:tagLst xmlns:a="http://schemas.openxmlformats.org/drawingml/2006/main" xmlns:r="http://schemas.openxmlformats.org/officeDocument/2006/relationships" xmlns:p="http://schemas.openxmlformats.org/presentationml/2006/main">
  <p:tag name="PLACEHOLDER" val="13"/>
</p:tagLst>
</file>

<file path=ppt/tags/tag39.xml><?xml version="1.0" encoding="utf-8"?>
<p:tagLst xmlns:a="http://schemas.openxmlformats.org/drawingml/2006/main" xmlns:r="http://schemas.openxmlformats.org/officeDocument/2006/relationships" xmlns:p="http://schemas.openxmlformats.org/presentationml/2006/main">
  <p:tag name="PLACEHOLDER" val="14"/>
</p:tagLst>
</file>

<file path=ppt/tags/tag4.xml><?xml version="1.0" encoding="utf-8"?>
<p:tagLst xmlns:a="http://schemas.openxmlformats.org/drawingml/2006/main" xmlns:r="http://schemas.openxmlformats.org/officeDocument/2006/relationships" xmlns:p="http://schemas.openxmlformats.org/presentationml/2006/main">
  <p:tag name="PLACEHOLDER" val="2"/>
</p:tagLst>
</file>

<file path=ppt/tags/tag40.xml><?xml version="1.0" encoding="utf-8"?>
<p:tagLst xmlns:a="http://schemas.openxmlformats.org/drawingml/2006/main" xmlns:r="http://schemas.openxmlformats.org/officeDocument/2006/relationships" xmlns:p="http://schemas.openxmlformats.org/presentationml/2006/main">
  <p:tag name="PLACEHOLDER" val="15"/>
</p:tagLst>
</file>

<file path=ppt/tags/tag41.xml><?xml version="1.0" encoding="utf-8"?>
<p:tagLst xmlns:a="http://schemas.openxmlformats.org/drawingml/2006/main" xmlns:r="http://schemas.openxmlformats.org/officeDocument/2006/relationships" xmlns:p="http://schemas.openxmlformats.org/presentationml/2006/main">
  <p:tag name="PLACEHOLDER" val="16"/>
</p:tagLst>
</file>

<file path=ppt/tags/tag42.xml><?xml version="1.0" encoding="utf-8"?>
<p:tagLst xmlns:a="http://schemas.openxmlformats.org/drawingml/2006/main" xmlns:r="http://schemas.openxmlformats.org/officeDocument/2006/relationships" xmlns:p="http://schemas.openxmlformats.org/presentationml/2006/main">
  <p:tag name="PLACEHOLDER" val="17"/>
</p:tagLst>
</file>

<file path=ppt/tags/tag43.xml><?xml version="1.0" encoding="utf-8"?>
<p:tagLst xmlns:a="http://schemas.openxmlformats.org/drawingml/2006/main" xmlns:r="http://schemas.openxmlformats.org/officeDocument/2006/relationships" xmlns:p="http://schemas.openxmlformats.org/presentationml/2006/main">
  <p:tag name="PLACEHOLDER" val="18"/>
</p:tagLst>
</file>

<file path=ppt/tags/tag44.xml><?xml version="1.0" encoding="utf-8"?>
<p:tagLst xmlns:a="http://schemas.openxmlformats.org/drawingml/2006/main" xmlns:r="http://schemas.openxmlformats.org/officeDocument/2006/relationships" xmlns:p="http://schemas.openxmlformats.org/presentationml/2006/main">
  <p:tag name="PLACEHOLDER" val="19"/>
</p:tagLst>
</file>

<file path=ppt/tags/tag45.xml><?xml version="1.0" encoding="utf-8"?>
<p:tagLst xmlns:a="http://schemas.openxmlformats.org/drawingml/2006/main" xmlns:r="http://schemas.openxmlformats.org/officeDocument/2006/relationships" xmlns:p="http://schemas.openxmlformats.org/presentationml/2006/main">
  <p:tag name="PLACEHOLDER" val="2"/>
</p:tagLst>
</file>

<file path=ppt/tags/tag46.xml><?xml version="1.0" encoding="utf-8"?>
<p:tagLst xmlns:a="http://schemas.openxmlformats.org/drawingml/2006/main" xmlns:r="http://schemas.openxmlformats.org/officeDocument/2006/relationships" xmlns:p="http://schemas.openxmlformats.org/presentationml/2006/main">
  <p:tag name="PLACEHOLDER" val="20"/>
</p:tagLst>
</file>

<file path=ppt/tags/tag47.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48.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49.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5.xml><?xml version="1.0" encoding="utf-8"?>
<p:tagLst xmlns:a="http://schemas.openxmlformats.org/drawingml/2006/main" xmlns:r="http://schemas.openxmlformats.org/officeDocument/2006/relationships" xmlns:p="http://schemas.openxmlformats.org/presentationml/2006/main">
  <p:tag name="PLACEHOLDER" val="3"/>
</p:tagLst>
</file>

<file path=ppt/tags/tag50.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51.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52.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53.xml><?xml version="1.0" encoding="utf-8"?>
<p:tagLst xmlns:a="http://schemas.openxmlformats.org/drawingml/2006/main" xmlns:r="http://schemas.openxmlformats.org/officeDocument/2006/relationships" xmlns:p="http://schemas.openxmlformats.org/presentationml/2006/main">
  <p:tag name="PLACEHOLDER" val="2"/>
</p:tagLst>
</file>

<file path=ppt/tags/tag54.xml><?xml version="1.0" encoding="utf-8"?>
<p:tagLst xmlns:a="http://schemas.openxmlformats.org/drawingml/2006/main" xmlns:r="http://schemas.openxmlformats.org/officeDocument/2006/relationships" xmlns:p="http://schemas.openxmlformats.org/presentationml/2006/main">
  <p:tag name="PLACEHOLDER" val="2"/>
</p:tagLst>
</file>

<file path=ppt/tags/tag55.xml><?xml version="1.0" encoding="utf-8"?>
<p:tagLst xmlns:a="http://schemas.openxmlformats.org/drawingml/2006/main" xmlns:r="http://schemas.openxmlformats.org/officeDocument/2006/relationships" xmlns:p="http://schemas.openxmlformats.org/presentationml/2006/main">
  <p:tag name="PLACEHOLDER" val="3"/>
</p:tagLst>
</file>

<file path=ppt/tags/tag56.xml><?xml version="1.0" encoding="utf-8"?>
<p:tagLst xmlns:a="http://schemas.openxmlformats.org/drawingml/2006/main" xmlns:r="http://schemas.openxmlformats.org/officeDocument/2006/relationships" xmlns:p="http://schemas.openxmlformats.org/presentationml/2006/main">
  <p:tag name="PLACEHOLDER" val="4"/>
</p:tagLst>
</file>

<file path=ppt/tags/tag57.xml><?xml version="1.0" encoding="utf-8"?>
<p:tagLst xmlns:a="http://schemas.openxmlformats.org/drawingml/2006/main" xmlns:r="http://schemas.openxmlformats.org/officeDocument/2006/relationships" xmlns:p="http://schemas.openxmlformats.org/presentationml/2006/main">
  <p:tag name="PLACEHOLDER" val="5"/>
</p:tagLst>
</file>

<file path=ppt/tags/tag58.xml><?xml version="1.0" encoding="utf-8"?>
<p:tagLst xmlns:a="http://schemas.openxmlformats.org/drawingml/2006/main" xmlns:r="http://schemas.openxmlformats.org/officeDocument/2006/relationships" xmlns:p="http://schemas.openxmlformats.org/presentationml/2006/main">
  <p:tag name="PLACEHOLDER" val="6"/>
</p:tagLst>
</file>

<file path=ppt/tags/tag59.xml><?xml version="1.0" encoding="utf-8"?>
<p:tagLst xmlns:a="http://schemas.openxmlformats.org/drawingml/2006/main" xmlns:r="http://schemas.openxmlformats.org/officeDocument/2006/relationships" xmlns:p="http://schemas.openxmlformats.org/presentationml/2006/main">
  <p:tag name="PLACEHOLDER" val="7"/>
</p:tagLst>
</file>

<file path=ppt/tags/tag6.xml><?xml version="1.0" encoding="utf-8"?>
<p:tagLst xmlns:a="http://schemas.openxmlformats.org/drawingml/2006/main" xmlns:r="http://schemas.openxmlformats.org/officeDocument/2006/relationships" xmlns:p="http://schemas.openxmlformats.org/presentationml/2006/main">
  <p:tag name="PLACEHOLDER" val="4"/>
</p:tagLst>
</file>

<file path=ppt/tags/tag60.xml><?xml version="1.0" encoding="utf-8"?>
<p:tagLst xmlns:a="http://schemas.openxmlformats.org/drawingml/2006/main" xmlns:r="http://schemas.openxmlformats.org/officeDocument/2006/relationships" xmlns:p="http://schemas.openxmlformats.org/presentationml/2006/main">
  <p:tag name="PLACEHOLDER" val="8"/>
</p:tagLst>
</file>

<file path=ppt/tags/tag61.xml><?xml version="1.0" encoding="utf-8"?>
<p:tagLst xmlns:a="http://schemas.openxmlformats.org/drawingml/2006/main" xmlns:r="http://schemas.openxmlformats.org/officeDocument/2006/relationships" xmlns:p="http://schemas.openxmlformats.org/presentationml/2006/main">
  <p:tag name="PLACEHOLDER" val="9"/>
</p:tagLst>
</file>

<file path=ppt/tags/tag62.xml><?xml version="1.0" encoding="utf-8"?>
<p:tagLst xmlns:a="http://schemas.openxmlformats.org/drawingml/2006/main" xmlns:r="http://schemas.openxmlformats.org/officeDocument/2006/relationships" xmlns:p="http://schemas.openxmlformats.org/presentationml/2006/main">
  <p:tag name="PLACEHOLDER" val="10"/>
</p:tagLst>
</file>

<file path=ppt/tags/tag63.xml><?xml version="1.0" encoding="utf-8"?>
<p:tagLst xmlns:a="http://schemas.openxmlformats.org/drawingml/2006/main" xmlns:r="http://schemas.openxmlformats.org/officeDocument/2006/relationships" xmlns:p="http://schemas.openxmlformats.org/presentationml/2006/main">
  <p:tag name="PLACEHOLDER" val="11"/>
</p:tagLst>
</file>

<file path=ppt/tags/tag64.xml><?xml version="1.0" encoding="utf-8"?>
<p:tagLst xmlns:a="http://schemas.openxmlformats.org/drawingml/2006/main" xmlns:r="http://schemas.openxmlformats.org/officeDocument/2006/relationships" xmlns:p="http://schemas.openxmlformats.org/presentationml/2006/main">
  <p:tag name="PLACEHOLDER" val="12"/>
</p:tagLst>
</file>

<file path=ppt/tags/tag65.xml><?xml version="1.0" encoding="utf-8"?>
<p:tagLst xmlns:a="http://schemas.openxmlformats.org/drawingml/2006/main" xmlns:r="http://schemas.openxmlformats.org/officeDocument/2006/relationships" xmlns:p="http://schemas.openxmlformats.org/presentationml/2006/main">
  <p:tag name="PLACEHOLDER" val="13"/>
</p:tagLst>
</file>

<file path=ppt/tags/tag66.xml><?xml version="1.0" encoding="utf-8"?>
<p:tagLst xmlns:a="http://schemas.openxmlformats.org/drawingml/2006/main" xmlns:r="http://schemas.openxmlformats.org/officeDocument/2006/relationships" xmlns:p="http://schemas.openxmlformats.org/presentationml/2006/main">
  <p:tag name="PLACEHOLDER" val="14"/>
</p:tagLst>
</file>

<file path=ppt/tags/tag67.xml><?xml version="1.0" encoding="utf-8"?>
<p:tagLst xmlns:a="http://schemas.openxmlformats.org/drawingml/2006/main" xmlns:r="http://schemas.openxmlformats.org/officeDocument/2006/relationships" xmlns:p="http://schemas.openxmlformats.org/presentationml/2006/main">
  <p:tag name="PLACEHOLDER" val="15"/>
</p:tagLst>
</file>

<file path=ppt/tags/tag68.xml><?xml version="1.0" encoding="utf-8"?>
<p:tagLst xmlns:a="http://schemas.openxmlformats.org/drawingml/2006/main" xmlns:r="http://schemas.openxmlformats.org/officeDocument/2006/relationships" xmlns:p="http://schemas.openxmlformats.org/presentationml/2006/main">
  <p:tag name="PLACEHOLDER" val="16"/>
</p:tagLst>
</file>

<file path=ppt/tags/tag69.xml><?xml version="1.0" encoding="utf-8"?>
<p:tagLst xmlns:a="http://schemas.openxmlformats.org/drawingml/2006/main" xmlns:r="http://schemas.openxmlformats.org/officeDocument/2006/relationships" xmlns:p="http://schemas.openxmlformats.org/presentationml/2006/main">
  <p:tag name="PLACEHOLDER" val="17"/>
</p:tagLst>
</file>

<file path=ppt/tags/tag7.xml><?xml version="1.0" encoding="utf-8"?>
<p:tagLst xmlns:a="http://schemas.openxmlformats.org/drawingml/2006/main" xmlns:r="http://schemas.openxmlformats.org/officeDocument/2006/relationships" xmlns:p="http://schemas.openxmlformats.org/presentationml/2006/main">
  <p:tag name="PLACEHOLDER" val="5"/>
</p:tagLst>
</file>

<file path=ppt/tags/tag70.xml><?xml version="1.0" encoding="utf-8"?>
<p:tagLst xmlns:a="http://schemas.openxmlformats.org/drawingml/2006/main" xmlns:r="http://schemas.openxmlformats.org/officeDocument/2006/relationships" xmlns:p="http://schemas.openxmlformats.org/presentationml/2006/main">
  <p:tag name="PLACEHOLDER" val="18"/>
</p:tagLst>
</file>

<file path=ppt/tags/tag71.xml><?xml version="1.0" encoding="utf-8"?>
<p:tagLst xmlns:a="http://schemas.openxmlformats.org/drawingml/2006/main" xmlns:r="http://schemas.openxmlformats.org/officeDocument/2006/relationships" xmlns:p="http://schemas.openxmlformats.org/presentationml/2006/main">
  <p:tag name="PLACEHOLDER" val="19"/>
</p:tagLst>
</file>

<file path=ppt/tags/tag72.xml><?xml version="1.0" encoding="utf-8"?>
<p:tagLst xmlns:a="http://schemas.openxmlformats.org/drawingml/2006/main" xmlns:r="http://schemas.openxmlformats.org/officeDocument/2006/relationships" xmlns:p="http://schemas.openxmlformats.org/presentationml/2006/main">
  <p:tag name="PLACEHOLDER" val="20"/>
</p:tagLst>
</file>

<file path=ppt/tags/tag73.xml><?xml version="1.0" encoding="utf-8"?>
<p:tagLst xmlns:a="http://schemas.openxmlformats.org/drawingml/2006/main" xmlns:r="http://schemas.openxmlformats.org/officeDocument/2006/relationships" xmlns:p="http://schemas.openxmlformats.org/presentationml/2006/main">
  <p:tag name="PS_COMPARE_SHAPE_ID" val="47ae03e7-ccd0-4d64-a2e1-733d5ae1ec2e"/>
</p:tagLst>
</file>

<file path=ppt/tags/tag74.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PRINTWIDTH" val="792"/>
  <p:tag name="PRINTHEIGHT" val="3.6"/>
</p:tagLst>
</file>

<file path=ppt/tags/tag75.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76.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77.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78.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79.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8.xml><?xml version="1.0" encoding="utf-8"?>
<p:tagLst xmlns:a="http://schemas.openxmlformats.org/drawingml/2006/main" xmlns:r="http://schemas.openxmlformats.org/officeDocument/2006/relationships" xmlns:p="http://schemas.openxmlformats.org/presentationml/2006/main">
  <p:tag name="PLACEHOLDER" val="6"/>
</p:tagLst>
</file>

<file path=ppt/tags/tag80.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81.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82.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83.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84.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85.xml><?xml version="1.0" encoding="utf-8"?>
<p:tagLst xmlns:a="http://schemas.openxmlformats.org/drawingml/2006/main" xmlns:r="http://schemas.openxmlformats.org/officeDocument/2006/relationships" xmlns:p="http://schemas.openxmlformats.org/presentationml/2006/main">
  <p:tag name="PS_COMPARE_SHAPE_ID" val="673002f4-8191-41b0-8750-70ff93914202"/>
</p:tagLst>
</file>

<file path=ppt/tags/tag86.xml><?xml version="1.0" encoding="utf-8"?>
<p:tagLst xmlns:a="http://schemas.openxmlformats.org/drawingml/2006/main" xmlns:r="http://schemas.openxmlformats.org/officeDocument/2006/relationships" xmlns:p="http://schemas.openxmlformats.org/presentationml/2006/main">
  <p:tag name="PS_COMPARE_SHAPE_ID" val="5137e8c9-d4b7-4b4e-a708-62c217304a59"/>
</p:tagLst>
</file>

<file path=ppt/tags/tag87.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88.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89.xml><?xml version="1.0" encoding="utf-8"?>
<p:tagLst xmlns:a="http://schemas.openxmlformats.org/drawingml/2006/main" xmlns:r="http://schemas.openxmlformats.org/officeDocument/2006/relationships" xmlns:p="http://schemas.openxmlformats.org/presentationml/2006/main">
  <p:tag name="PS_COMPARE_SHAPE_ID" val="ea8f3350-72ad-499c-88ab-5f75bfdefb2a"/>
</p:tagLst>
</file>

<file path=ppt/tags/tag9.xml><?xml version="1.0" encoding="utf-8"?>
<p:tagLst xmlns:a="http://schemas.openxmlformats.org/drawingml/2006/main" xmlns:r="http://schemas.openxmlformats.org/officeDocument/2006/relationships" xmlns:p="http://schemas.openxmlformats.org/presentationml/2006/main">
  <p:tag name="PLACEHOLDER" val="7"/>
</p:tagLst>
</file>

<file path=ppt/tags/tag90.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91.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92.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93.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94.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95.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96.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97.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98.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99.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heme/theme1.xml><?xml version="1.0" encoding="utf-8"?>
<a:theme xmlns:a="http://schemas.openxmlformats.org/drawingml/2006/main" name="Template Printbook">
  <a:themeElements>
    <a:clrScheme name="RSM">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fontScheme name="RS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lIns="66118" tIns="66118" rIns="66118" bIns="66118" rtlCol="0" anchor="ctr">
        <a:noAutofit/>
      </a:bodyP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200" dirty="0" smtClean="0"/>
        </a:defPPr>
      </a:lstStyle>
    </a:txDef>
  </a:objectDefaults>
  <a:extraClrSchemeLst>
    <a:extraClrScheme>
      <a:clrScheme name="RSM">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US Widescreen Option 1_Main.potx" id="{6619430D-0EBF-463F-982F-BD5D22604D6C}" vid="{24105426-77CB-4448-A5F0-553C216A3DB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 Printbook">
  <a:themeElements>
    <a:clrScheme name="RSM">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fontScheme name="RS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lIns="66118" tIns="66118" rIns="66118" bIns="66118" rtlCol="0" anchor="ctr">
        <a:noAutofit/>
      </a:bodyP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200" dirty="0" smtClean="0"/>
        </a:defPPr>
      </a:lstStyle>
    </a:txDef>
  </a:objectDefaults>
  <a:extraClrSchemeLst>
    <a:extraClrScheme>
      <a:clrScheme name="RSM">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US Widescreen Option 1_Main.potx" id="{6619430D-0EBF-463F-982F-BD5D22604D6C}" vid="{24105426-77CB-4448-A5F0-553C216A3DBC}"/>
    </a:ext>
  </a:extLst>
</a:theme>
</file>

<file path=ppt/theme/theme3.xml><?xml version="1.0" encoding="utf-8"?>
<a:theme xmlns:a="http://schemas.openxmlformats.org/drawingml/2006/main" name="1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47141DA5-6E48-4BE2-BAF9-F0401B775142}" vid="{A0780358-FB18-4592-B3FF-0478639EEDEC}"/>
    </a:ext>
  </a:extLst>
</a:theme>
</file>

<file path=ppt/theme/theme4.xml><?xml version="1.0" encoding="utf-8"?>
<a:theme xmlns:a="http://schemas.openxmlformats.org/drawingml/2006/main" name="2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105F037C-FEB4-4F60-BABA-B468D68BEC1C}" vid="{41B9AF61-62DC-49F3-A2BF-31134E24BDD3}"/>
    </a:ext>
  </a:extLst>
</a:theme>
</file>

<file path=ppt/theme/theme5.xml><?xml version="1.0" encoding="utf-8"?>
<a:theme xmlns:a="http://schemas.openxmlformats.org/drawingml/2006/main" name="18_Template Printbook">
  <a:themeElements>
    <a:clrScheme name="Custom 61">
      <a:dk1>
        <a:srgbClr val="00153D"/>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105F037C-FEB4-4F60-BABA-B468D68BEC1C}" vid="{41B9AF61-62DC-49F3-A2BF-31134E24BDD3}"/>
    </a:ext>
  </a:extLst>
</a:theme>
</file>

<file path=ppt/theme/theme6.xml><?xml version="1.0" encoding="utf-8"?>
<a:theme xmlns:a="http://schemas.openxmlformats.org/drawingml/2006/main" name="3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47141DA5-6E48-4BE2-BAF9-F0401B775142}" vid="{A0780358-FB18-4592-B3FF-0478639EEDEC}"/>
    </a:ext>
  </a:extLst>
</a:theme>
</file>

<file path=ppt/theme/theme7.xml><?xml version="1.0" encoding="utf-8"?>
<a:theme xmlns:a="http://schemas.openxmlformats.org/drawingml/2006/main" name="4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47141DA5-6E48-4BE2-BAF9-F0401B775142}" vid="{A0780358-FB18-4592-B3FF-0478639EEDEC}"/>
    </a:ext>
  </a:extLst>
</a:theme>
</file>

<file path=ppt/theme/theme8.xml><?xml version="1.0" encoding="utf-8"?>
<a:theme xmlns:a="http://schemas.openxmlformats.org/drawingml/2006/main" name="5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47141DA5-6E48-4BE2-BAF9-F0401B775142}" vid="{A0780358-FB18-4592-B3FF-0478639EEDE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DcR_SlideID>34c64548-f550-4811-9e4d-74998d3872e1</DcR_SlideID>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f416c11-336e-4501-be9d-05d48a5a3a7a" xsi:nil="true"/>
    <lcf76f155ced4ddcb4097134ff3c332f xmlns="85ac1701-89bf-4a11-87c1-7e78a434bd76">
      <Terms xmlns="http://schemas.microsoft.com/office/infopath/2007/PartnerControls"/>
    </lcf76f155ced4ddcb4097134ff3c332f>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CE92026B69173746A1FC0EA432F80BA0" ma:contentTypeVersion="17" ma:contentTypeDescription="Create a new document." ma:contentTypeScope="" ma:versionID="9c22d1826161c8ea1627eb3f848a0f81">
  <xsd:schema xmlns:xsd="http://www.w3.org/2001/XMLSchema" xmlns:xs="http://www.w3.org/2001/XMLSchema" xmlns:p="http://schemas.microsoft.com/office/2006/metadata/properties" xmlns:ns2="85ac1701-89bf-4a11-87c1-7e78a434bd76" xmlns:ns3="4f416c11-336e-4501-be9d-05d48a5a3a7a" targetNamespace="http://schemas.microsoft.com/office/2006/metadata/properties" ma:root="true" ma:fieldsID="05c192bf4236ea8c961ca04051981900" ns2:_="" ns3:_="">
    <xsd:import namespace="85ac1701-89bf-4a11-87c1-7e78a434bd76"/>
    <xsd:import namespace="4f416c11-336e-4501-be9d-05d48a5a3a7a"/>
    <xsd:element name="properties">
      <xsd:complexType>
        <xsd:sequence>
          <xsd:element name="documentManagement">
            <xsd:complexType>
              <xsd:all>
                <xsd:element ref="ns2:MediaServiceMetadata" minOccurs="0"/>
                <xsd:element ref="ns2:MediaServiceFastMetadata" minOccurs="0"/>
                <xsd:element ref="ns3:TaxCatchAll" minOccurs="0"/>
                <xsd:element ref="ns2:MediaServiceGenerationTime" minOccurs="0"/>
                <xsd:element ref="ns2:MediaServiceEventHashCode" minOccurs="0"/>
                <xsd:element ref="ns2:lcf76f155ced4ddcb4097134ff3c332f"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ac1701-89bf-4a11-87c1-7e78a434bd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723509f2-f580-4555-85b3-7fe791ef440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416c11-336e-4501-be9d-05d48a5a3a7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bc3cee0-230a-4db1-ac32-a84b09eece40}" ma:internalName="TaxCatchAll" ma:showField="CatchAllData" ma:web="4f416c11-336e-4501-be9d-05d48a5a3a7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customXsn xmlns="http://schemas.microsoft.com/office/2006/metadata/customXsn">
  <xsnLocation/>
  <cached>True</cached>
  <openByDefault>False</openByDefault>
  <xsnScope/>
</customXsn>
</file>

<file path=customXml/itemProps1.xml><?xml version="1.0" encoding="utf-8"?>
<ds:datastoreItem xmlns:ds="http://schemas.openxmlformats.org/officeDocument/2006/customXml" ds:itemID="{7DF204A8-D41A-4AE2-90AA-B1126337EE93}">
  <ds:schemaRefs/>
</ds:datastoreItem>
</file>

<file path=customXml/itemProps2.xml><?xml version="1.0" encoding="utf-8"?>
<ds:datastoreItem xmlns:ds="http://schemas.openxmlformats.org/officeDocument/2006/customXml" ds:itemID="{468D7FD9-9CCB-46FC-B476-0B3AFDA2E882}">
  <ds:schemaRefs>
    <ds:schemaRef ds:uri="http://schemas.microsoft.com/sharepoint/v3/contenttype/forms"/>
  </ds:schemaRefs>
</ds:datastoreItem>
</file>

<file path=customXml/itemProps3.xml><?xml version="1.0" encoding="utf-8"?>
<ds:datastoreItem xmlns:ds="http://schemas.openxmlformats.org/officeDocument/2006/customXml" ds:itemID="{2614644E-B25F-4647-978A-CC5CEDD2F922}">
  <ds:schemaRefs>
    <ds:schemaRef ds:uri="4f416c11-336e-4501-be9d-05d48a5a3a7a"/>
    <ds:schemaRef ds:uri="85ac1701-89bf-4a11-87c1-7e78a434bd7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4901F12A-83F5-4F09-99E5-87CAAF2607BA}">
  <ds:schemaRefs>
    <ds:schemaRef ds:uri="4f416c11-336e-4501-be9d-05d48a5a3a7a"/>
    <ds:schemaRef ds:uri="85ac1701-89bf-4a11-87c1-7e78a434bd7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2BF58B5A-21DF-4A42-9A54-2D7969049AD6}">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tmp4BCD</Template>
  <Application>Microsoft Office PowerPoint</Application>
  <PresentationFormat>Widescreen</PresentationFormat>
  <Slides>55</Slides>
  <Notes>21</Notes>
  <HiddenSlides>4</HiddenSlides>
  <ScaleCrop>false</ScaleCrop>
  <HeadingPairs>
    <vt:vector size="4" baseType="variant">
      <vt:variant>
        <vt:lpstr>Theme</vt:lpstr>
      </vt:variant>
      <vt:variant>
        <vt:i4>8</vt:i4>
      </vt:variant>
      <vt:variant>
        <vt:lpstr>Slide Titles</vt:lpstr>
      </vt:variant>
      <vt:variant>
        <vt:i4>55</vt:i4>
      </vt:variant>
    </vt:vector>
  </HeadingPairs>
  <TitlesOfParts>
    <vt:vector size="63" baseType="lpstr">
      <vt:lpstr>Template Printbook</vt:lpstr>
      <vt:lpstr>Template Printbook</vt:lpstr>
      <vt:lpstr>1_Template Printbook</vt:lpstr>
      <vt:lpstr>2_Template Printbook</vt:lpstr>
      <vt:lpstr>18_Template Printbook</vt:lpstr>
      <vt:lpstr>3_Template Printbook</vt:lpstr>
      <vt:lpstr>4_Template Printbook</vt:lpstr>
      <vt:lpstr>5_Template Printbook</vt:lpstr>
      <vt:lpstr>ASCEND NATIONAL COHORT PROGRAM</vt:lpstr>
      <vt:lpstr>RSM’s collaboration for ASCEND</vt:lpstr>
      <vt:lpstr>PowerPoint Presentation</vt:lpstr>
      <vt:lpstr>RSM business applications overview </vt:lpstr>
      <vt:lpstr>PowerPoint Presentation</vt:lpstr>
      <vt:lpstr>AACE Ascend Program Mentors</vt:lpstr>
      <vt:lpstr>Ascend Businesses and RSM Mentors </vt:lpstr>
      <vt:lpstr>Agenda</vt:lpstr>
      <vt:lpstr>Today’s learning objectives</vt:lpstr>
      <vt:lpstr>INTRODUCTION</vt:lpstr>
      <vt:lpstr>PowerPoint Presentation</vt:lpstr>
      <vt:lpstr>Financial Systems Landscape</vt:lpstr>
      <vt:lpstr>The Alphabet Soup of Financial Systems </vt:lpstr>
      <vt:lpstr>Why modern ERP has the power to transform</vt:lpstr>
      <vt:lpstr>Business Applications beyond ERP</vt:lpstr>
      <vt:lpstr>PowerPoint Presentation</vt:lpstr>
      <vt:lpstr>Business Applications Enterprise Architecture</vt:lpstr>
      <vt:lpstr>Growing Through Enterprise Resource Planning</vt:lpstr>
      <vt:lpstr>ERP &amp; CRM Tiers</vt:lpstr>
      <vt:lpstr>Breakout Session</vt:lpstr>
      <vt:lpstr>Breakout Session</vt:lpstr>
      <vt:lpstr>Financial systems assessment tool overview </vt:lpstr>
      <vt:lpstr>Purpose of assessment tool</vt:lpstr>
      <vt:lpstr>Why is this important?</vt:lpstr>
      <vt:lpstr>Financial management systems</vt:lpstr>
      <vt:lpstr>Additional information</vt:lpstr>
      <vt:lpstr>Group session</vt:lpstr>
      <vt:lpstr>PowerPoint Presentation</vt:lpstr>
      <vt:lpstr>OTHER TECHNOLOGY TOPICS</vt:lpstr>
      <vt:lpstr>CLOUD, INFRASTRUCTURE, and SECURITY</vt:lpstr>
      <vt:lpstr>Digital vs.Technology</vt:lpstr>
      <vt:lpstr>Key Triggers &amp; Drivers </vt:lpstr>
      <vt:lpstr>Transformation Guiding Principles</vt:lpstr>
      <vt:lpstr>Key Benefits &amp; Outcomes</vt:lpstr>
      <vt:lpstr>Securing Your Business  </vt:lpstr>
      <vt:lpstr>Security Focus Areas</vt:lpstr>
      <vt:lpstr>PowerPoint Presentation</vt:lpstr>
      <vt:lpstr>Intro to Generative AI</vt:lpstr>
      <vt:lpstr>AI and the Middle Market</vt:lpstr>
      <vt:lpstr>PowerPoint Presentation</vt:lpstr>
      <vt:lpstr>PowerPoint Presentation</vt:lpstr>
      <vt:lpstr>The AI Advantage: Run, Grow, Protect Your Business</vt:lpstr>
      <vt:lpstr>Path to Enterprise AI Maturity</vt:lpstr>
      <vt:lpstr>Breakout Session</vt:lpstr>
      <vt:lpstr>SELF- Select Break Out Instructions</vt:lpstr>
      <vt:lpstr>Breakout Session</vt:lpstr>
      <vt:lpstr>QUESTIONS &amp; ANSWERS</vt:lpstr>
      <vt:lpstr>Expectations for next meeting</vt:lpstr>
      <vt:lpstr>Closing remarks</vt:lpstr>
      <vt:lpstr>PowerPoint Presentation</vt:lpstr>
      <vt:lpstr>PowerPoint Presentation</vt:lpstr>
      <vt:lpstr>AI Resources and Information</vt:lpstr>
      <vt:lpstr>PowerPoint Presentation</vt:lpstr>
      <vt:lpstr>Government contract advisory</vt:lpstr>
      <vt:lpstr>PowerPoint Presentation</vt:lpstr>
    </vt:vector>
  </TitlesOfParts>
  <Company>McGladr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CEND NATIONAL COHORT PROGRAM</dc:title>
  <dc:creator>Coker-Fergusson, Tanya</dc:creator>
  <cp:revision>1</cp:revision>
  <cp:lastPrinted>2019-02-08T11:38:58Z</cp:lastPrinted>
  <dcterms:created xsi:type="dcterms:W3CDTF">2023-08-23T18:02:13Z</dcterms:created>
  <dcterms:modified xsi:type="dcterms:W3CDTF">2025-11-21T15: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92026B69173746A1FC0EA432F80BA0</vt:lpwstr>
  </property>
  <property fmtid="{D5CDD505-2E9C-101B-9397-08002B2CF9AE}" pid="3" name="PSLTemplateName">
    <vt:lpwstr>Widescreen_Main.potx</vt:lpwstr>
  </property>
  <property fmtid="{D5CDD505-2E9C-101B-9397-08002B2CF9AE}" pid="4" name="PS Create Template Name">
    <vt:lpwstr>US Widescreen Option 1</vt:lpwstr>
  </property>
  <property fmtid="{D5CDD505-2E9C-101B-9397-08002B2CF9AE}" pid="5" name="PS Create Alternate Numbering">
    <vt:bool>false</vt:bool>
  </property>
  <property fmtid="{D5CDD505-2E9C-101B-9397-08002B2CF9AE}" pid="6" name="PS Create Section Nos">
    <vt:bool>true</vt:bool>
  </property>
  <property fmtid="{D5CDD505-2E9C-101B-9397-08002B2CF9AE}" pid="7" name="PS Create Appendix Nos">
    <vt:bool>true</vt:bool>
  </property>
  <property fmtid="{D5CDD505-2E9C-101B-9397-08002B2CF9AE}" pid="8" name="PS Create Divider Background">
    <vt:bool>false</vt:bool>
  </property>
  <property fmtid="{D5CDD505-2E9C-101B-9397-08002B2CF9AE}" pid="9" name="PS Create Divider Background Picture">
    <vt:lpwstr/>
  </property>
  <property fmtid="{D5CDD505-2E9C-101B-9397-08002B2CF9AE}" pid="10" name="PS Create Office Location">
    <vt:lpwstr>RSM US LLP Boston, City Square</vt:lpwstr>
  </property>
</Properties>
</file>